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gif" ContentType="image/gif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10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drawings/drawing2.xml" ContentType="application/vnd.openxmlformats-officedocument.drawingml.chartshapes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1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charts/chart12.xml" ContentType="application/vnd.openxmlformats-officedocument.drawingml.chart+xml"/>
  <Override PartName="/ppt/theme/themeOverride1.xml" ContentType="application/vnd.openxmlformats-officedocument.themeOverride+xml"/>
  <Override PartName="/ppt/charts/chart13.xml" ContentType="application/vnd.openxmlformats-officedocument.drawingml.chart+xml"/>
  <Override PartName="/ppt/drawings/drawing3.xml" ContentType="application/vnd.openxmlformats-officedocument.drawingml.chartshapes+xml"/>
  <Override PartName="/ppt/charts/chart14.xml" ContentType="application/vnd.openxmlformats-officedocument.drawingml.chart+xml"/>
  <Override PartName="/ppt/charts/chart15.xml" ContentType="application/vnd.openxmlformats-officedocument.drawingml.chart+xml"/>
  <Override PartName="/ppt/theme/themeOverride2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bookmarkIdSeed="2">
  <p:sldMasterIdLst>
    <p:sldMasterId id="2147483672" r:id="rId1"/>
  </p:sldMasterIdLst>
  <p:notesMasterIdLst>
    <p:notesMasterId r:id="rId29"/>
  </p:notesMasterIdLst>
  <p:handoutMasterIdLst>
    <p:handoutMasterId r:id="rId30"/>
  </p:handoutMasterIdLst>
  <p:sldIdLst>
    <p:sldId id="278" r:id="rId2"/>
    <p:sldId id="520" r:id="rId3"/>
    <p:sldId id="1571" r:id="rId4"/>
    <p:sldId id="513" r:id="rId5"/>
    <p:sldId id="959" r:id="rId6"/>
    <p:sldId id="1451" r:id="rId7"/>
    <p:sldId id="1185" r:id="rId8"/>
    <p:sldId id="1376" r:id="rId9"/>
    <p:sldId id="1235" r:id="rId10"/>
    <p:sldId id="1236" r:id="rId11"/>
    <p:sldId id="1564" r:id="rId12"/>
    <p:sldId id="1567" r:id="rId13"/>
    <p:sldId id="1393" r:id="rId14"/>
    <p:sldId id="1562" r:id="rId15"/>
    <p:sldId id="1574" r:id="rId16"/>
    <p:sldId id="1575" r:id="rId17"/>
    <p:sldId id="1568" r:id="rId18"/>
    <p:sldId id="1569" r:id="rId19"/>
    <p:sldId id="1563" r:id="rId20"/>
    <p:sldId id="1565" r:id="rId21"/>
    <p:sldId id="1566" r:id="rId22"/>
    <p:sldId id="1520" r:id="rId23"/>
    <p:sldId id="1570" r:id="rId24"/>
    <p:sldId id="1573" r:id="rId25"/>
    <p:sldId id="1572" r:id="rId26"/>
    <p:sldId id="1576" r:id="rId27"/>
    <p:sldId id="1577" r:id="rId28"/>
  </p:sldIdLst>
  <p:sldSz cx="12599988" cy="8640763"/>
  <p:notesSz cx="6797675" cy="9926638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12" userDrawn="1">
          <p15:clr>
            <a:srgbClr val="A4A3A4"/>
          </p15:clr>
        </p15:guide>
        <p15:guide id="2" pos="2426" userDrawn="1">
          <p15:clr>
            <a:srgbClr val="A4A3A4"/>
          </p15:clr>
        </p15:guide>
        <p15:guide id="3" orient="horz" pos="5218">
          <p15:clr>
            <a:srgbClr val="A4A3A4"/>
          </p15:clr>
        </p15:guide>
        <p15:guide id="4" orient="horz" pos="317" userDrawn="1">
          <p15:clr>
            <a:srgbClr val="A4A3A4"/>
          </p15:clr>
        </p15:guide>
        <p15:guide id="5" orient="horz" pos="4559" userDrawn="1">
          <p15:clr>
            <a:srgbClr val="A4A3A4"/>
          </p15:clr>
        </p15:guide>
        <p15:guide id="6" pos="7756" userDrawn="1">
          <p15:clr>
            <a:srgbClr val="A4A3A4"/>
          </p15:clr>
        </p15:guide>
        <p15:guide id="7" pos="178">
          <p15:clr>
            <a:srgbClr val="A4A3A4"/>
          </p15:clr>
        </p15:guide>
        <p15:guide id="8" pos="4432" userDrawn="1">
          <p15:clr>
            <a:srgbClr val="A4A3A4"/>
          </p15:clr>
        </p15:guide>
        <p15:guide id="9" orient="horz" pos="64" userDrawn="1">
          <p15:clr>
            <a:srgbClr val="A4A3A4"/>
          </p15:clr>
        </p15:guide>
        <p15:guide id="10" pos="7779" userDrawn="1">
          <p15:clr>
            <a:srgbClr val="A4A3A4"/>
          </p15:clr>
        </p15:guide>
        <p15:guide id="11" orient="horz" pos="4695" userDrawn="1">
          <p15:clr>
            <a:srgbClr val="A4A3A4"/>
          </p15:clr>
        </p15:guide>
        <p15:guide id="12" orient="horz" pos="159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2C9F4"/>
    <a:srgbClr val="E5581F"/>
    <a:srgbClr val="E7F5FE"/>
    <a:srgbClr val="253917"/>
    <a:srgbClr val="1888B9"/>
    <a:srgbClr val="F8E9FB"/>
    <a:srgbClr val="AE4828"/>
    <a:srgbClr val="CE087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140" autoAdjust="0"/>
    <p:restoredTop sz="97292" autoAdjust="0"/>
  </p:normalViewPr>
  <p:slideViewPr>
    <p:cSldViewPr snapToGrid="0">
      <p:cViewPr varScale="1">
        <p:scale>
          <a:sx n="92" d="100"/>
          <a:sy n="92" d="100"/>
        </p:scale>
        <p:origin x="1470" y="84"/>
      </p:cViewPr>
      <p:guideLst>
        <p:guide orient="horz" pos="612"/>
        <p:guide pos="2426"/>
        <p:guide orient="horz" pos="5218"/>
        <p:guide orient="horz" pos="317"/>
        <p:guide orient="horz" pos="4559"/>
        <p:guide pos="7756"/>
        <p:guide pos="178"/>
        <p:guide pos="4432"/>
        <p:guide orient="horz" pos="64"/>
        <p:guide pos="7779"/>
        <p:guide orient="horz" pos="4695"/>
        <p:guide orient="horz" pos="159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handoutMaster" Target="handoutMasters/handoutMaster1.xml"/><Relationship Id="rId8" Type="http://schemas.openxmlformats.org/officeDocument/2006/relationships/slide" Target="slides/slide7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Petrunin\Desktop\&#1055;&#1088;&#1077;&#1079;&#1077;&#1085;&#1090;&#1072;&#1094;&#1080;&#1103;\&#1050;&#1086;&#1087;&#1080;&#1103;%202019-01-17%20&#1042;&#1099;&#1075;&#1088;&#1091;&#1079;&#1082;&#1072;%20(0.065%20&#1090;&#1088;&#1083;&#1085;).xlsx" TargetMode="Externa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6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7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Excel8.xlsx"/><Relationship Id="rId1" Type="http://schemas.openxmlformats.org/officeDocument/2006/relationships/themeOverride" Target="../theme/themeOverride1.xml"/></Relationships>
</file>

<file path=ppt/charts/_rels/chart1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3.xml"/><Relationship Id="rId1" Type="http://schemas.openxmlformats.org/officeDocument/2006/relationships/oleObject" Target="&#1044;&#1080;&#1072;&#1075;&#1088;&#1072;&#1084;&#1084;&#1072;%20&#1074;%20Microsoft%20PowerPoint" TargetMode="External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oleObject" Target="&#1044;&#1080;&#1072;&#1075;&#1088;&#1072;&#1084;&#1084;&#1072;%20&#1074;%20Microsoft%20PowerPoint" TargetMode="External"/></Relationships>
</file>

<file path=ppt/charts/_rels/chart15.xml.rels><?xml version="1.0" encoding="UTF-8" standalone="yes"?>
<Relationships xmlns="http://schemas.openxmlformats.org/package/2006/relationships"><Relationship Id="rId2" Type="http://schemas.openxmlformats.org/officeDocument/2006/relationships/oleObject" Target="&#1044;&#1080;&#1072;&#1075;&#1088;&#1072;&#1084;&#1084;&#1072;%20&#1074;%20Microsoft%20PowerPoint" TargetMode="External"/><Relationship Id="rId1" Type="http://schemas.openxmlformats.org/officeDocument/2006/relationships/themeOverride" Target="../theme/themeOverride2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F:\&#1044;&#1050;&#1052;&#1054;\&#1054;&#1058;&#1063;&#1045;&#1058;&#1067;%20&#1086;&#1090;&#1076;&#1077;&#1083;&#1072;%20&#1040;&#1055;%20&#1086;&#1087;&#1077;&#1088;&#1072;&#1094;&#1080;&#1081;%20&#1044;&#1050;&#1055;\&#1077;&#1078;&#1077;&#1085;&#1077;&#1076;&#1077;&#1083;&#1100;&#1085;&#1099;&#1077;%20&#1082;%20&#1086;&#1087;&#1077;&#1088;&#1072;&#1090;&#1080;&#1074;&#1082;&#1077;\2019\05%20&#1085;&#1077;&#1076;&#1077;&#1083;&#1103;\&#1082;%20&#1089;&#1083;&#1072;&#1081;&#1076;&#1091;%2012%20&#1050;&#1054;&#1060;&#1055;%20&#1085;&#1072;%2004.02.2019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.xlsx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chartUserShapes" Target="../drawings/drawing2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2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3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4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5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SUzifovich\Desktop\&#1056;&#1072;&#1073;&#1086;&#1095;&#1077;&#1077;\&#1055;&#1056;&#1054;&#1045;&#1050;&#1058;&#1067;\&#1048;&#1085;&#1074;&#1077;&#1089;&#1090;&#1080;&#1094;&#1080;&#1086;&#1085;&#1085;&#1099;&#1081;%20&#1083;&#1080;&#1092;&#1090;\&#1079;&#1072;&#1087;&#1088;&#1086;&#1089;%20&#1056;&#1060;&#1055;&#1048;%20&#1080;&#1102;&#1085;&#1100;\18.09.17%20&#1058;&#1072;&#1073;&#1083;&#1080;&#1094;&#1072;%20&#1048;&#1051;.xlsx" TargetMode="External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8585138913173932"/>
          <c:y val="4.8970497816483674E-2"/>
          <c:w val="0.67730911735837807"/>
          <c:h val="0.75166428333134949"/>
        </c:manualLayout>
      </c:layout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4EA5-42C7-A041-114BA4C9E2FF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4EA5-42C7-A041-114BA4C9E2FF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4EA5-42C7-A041-114BA4C9E2FF}"/>
              </c:ext>
            </c:extLst>
          </c:dPt>
          <c:cat>
            <c:strRef>
              <c:f>Лист2!$A$24:$A$26</c:f>
              <c:strCache>
                <c:ptCount val="3"/>
                <c:pt idx="0">
                  <c:v>Производственный сектор</c:v>
                </c:pt>
                <c:pt idx="1">
                  <c:v>Массовый сектор</c:v>
                </c:pt>
                <c:pt idx="2">
                  <c:v>Высокотехнологичный сектор</c:v>
                </c:pt>
              </c:strCache>
            </c:strRef>
          </c:cat>
          <c:val>
            <c:numRef>
              <c:f>Лист2!$B$24:$B$26</c:f>
              <c:numCache>
                <c:formatCode>#,##0</c:formatCode>
                <c:ptCount val="3"/>
                <c:pt idx="0">
                  <c:v>640</c:v>
                </c:pt>
                <c:pt idx="1">
                  <c:v>194</c:v>
                </c:pt>
                <c:pt idx="2">
                  <c:v>1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4EA5-42C7-A041-114BA4C9E2FF}"/>
            </c:ext>
          </c:extLst>
        </c:ser>
        <c:ser>
          <c:idx val="1"/>
          <c:order val="1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8-4EA5-42C7-A041-114BA4C9E2FF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A-4EA5-42C7-A041-114BA4C9E2FF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C-4EA5-42C7-A041-114BA4C9E2FF}"/>
              </c:ext>
            </c:extLst>
          </c:dPt>
          <c:cat>
            <c:strRef>
              <c:f>Лист2!$A$24:$A$26</c:f>
              <c:strCache>
                <c:ptCount val="3"/>
                <c:pt idx="0">
                  <c:v>Производственный сектор</c:v>
                </c:pt>
                <c:pt idx="1">
                  <c:v>Массовый сектор</c:v>
                </c:pt>
                <c:pt idx="2">
                  <c:v>Высокотехнологичный сектор</c:v>
                </c:pt>
              </c:strCache>
            </c:strRef>
          </c:cat>
          <c:val>
            <c:numRef>
              <c:f>Лист2!$C$24:$C$26</c:f>
              <c:numCache>
                <c:formatCode>General</c:formatCode>
                <c:ptCount val="3"/>
              </c:numCache>
            </c:numRef>
          </c:val>
          <c:extLst>
            <c:ext xmlns:c16="http://schemas.microsoft.com/office/drawing/2014/chart" uri="{C3380CC4-5D6E-409C-BE32-E72D297353CC}">
              <c16:uniqueId val="{0000000D-4EA5-42C7-A041-114BA4C9E2F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12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1331094420113914"/>
          <c:y val="0.76224878417217401"/>
          <c:w val="0.72528360629302158"/>
          <c:h val="0.237751528491893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  <c:userShapes r:id="rId4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.17879837277864916"/>
                  <c:y val="-4.6540956426928516E-3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13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BD90-434E-8991-9D6346F623CD}"/>
                </c:ext>
              </c:extLst>
            </c:dLbl>
            <c:dLbl>
              <c:idx val="1"/>
              <c:layout>
                <c:manualLayout>
                  <c:x val="0.19753117142983787"/>
                  <c:y val="0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14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BD90-434E-8991-9D6346F623CD}"/>
                </c:ext>
              </c:extLst>
            </c:dLbl>
            <c:dLbl>
              <c:idx val="2"/>
              <c:layout>
                <c:manualLayout>
                  <c:x val="0.20640763123574399"/>
                  <c:y val="0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22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BD90-434E-8991-9D6346F623CD}"/>
                </c:ext>
              </c:extLst>
            </c:dLbl>
            <c:dLbl>
              <c:idx val="3"/>
              <c:layout>
                <c:manualLayout>
                  <c:x val="0.41597841259236523"/>
                  <c:y val="-4.2659960880737058E-17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51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BD90-434E-8991-9D6346F623C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kumimoji="0" lang="ru-RU" sz="1400" b="1" i="0" u="none" strike="noStrike" kern="1200" cap="none" spc="0" normalizeH="0" baseline="0">
                    <a:ln cmpd="dbl">
                      <a:noFill/>
                    </a:ln>
                    <a:solidFill>
                      <a:srgbClr val="ED7D31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B$90:$B$93</c:f>
              <c:strCache>
                <c:ptCount val="4"/>
                <c:pt idx="0">
                  <c:v>РФПИ</c:v>
                </c:pt>
                <c:pt idx="1">
                  <c:v>РЭЦ</c:v>
                </c:pt>
                <c:pt idx="2">
                  <c:v>ФРП</c:v>
                </c:pt>
                <c:pt idx="3">
                  <c:v>Корпорация </c:v>
                </c:pt>
              </c:strCache>
            </c:strRef>
          </c:cat>
          <c:val>
            <c:numRef>
              <c:f>Лист1!$C$90:$C$93</c:f>
              <c:numCache>
                <c:formatCode>0%</c:formatCode>
                <c:ptCount val="4"/>
                <c:pt idx="0">
                  <c:v>0.12260267974428583</c:v>
                </c:pt>
                <c:pt idx="1">
                  <c:v>0.13214817409580523</c:v>
                </c:pt>
                <c:pt idx="2">
                  <c:v>0.20798668885191346</c:v>
                </c:pt>
                <c:pt idx="3">
                  <c:v>0.537262457307995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D90-434E-8991-9D6346F623C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76758368"/>
        <c:axId val="176758928"/>
      </c:barChart>
      <c:catAx>
        <c:axId val="17675836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76758928"/>
        <c:crosses val="autoZero"/>
        <c:auto val="1"/>
        <c:lblAlgn val="ctr"/>
        <c:lblOffset val="100"/>
        <c:noMultiLvlLbl val="0"/>
      </c:catAx>
      <c:valAx>
        <c:axId val="176758928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extTo"/>
        <c:crossAx val="17675836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/>
      </a:pPr>
      <a:endParaRPr lang="ru-RU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chemeClr val="accent5">
                <a:lumMod val="75000"/>
              </a:schemeClr>
            </a:solidFill>
            <a:ln>
              <a:solidFill>
                <a:schemeClr val="accent5">
                  <a:lumMod val="60000"/>
                  <a:lumOff val="40000"/>
                </a:schemeClr>
              </a:solidFill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16%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40F1-45CD-BE8A-1B46BC010E75}"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37%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40F1-45CD-BE8A-1B46BC010E75}"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47%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40F1-45CD-BE8A-1B46BC010E7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kumimoji="0" lang="ru-RU" sz="1400" b="1" i="0" u="none" strike="noStrike" kern="1200" cap="none" spc="0" normalizeH="0" baseline="0">
                    <a:ln cmpd="dbl">
                      <a:noFill/>
                    </a:ln>
                    <a:solidFill>
                      <a:srgbClr val="ED7D31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B$99:$B$101</c:f>
              <c:strCache>
                <c:ptCount val="3"/>
                <c:pt idx="0">
                  <c:v>РФПИ</c:v>
                </c:pt>
                <c:pt idx="1">
                  <c:v>Корпорация </c:v>
                </c:pt>
                <c:pt idx="2">
                  <c:v>ФРП</c:v>
                </c:pt>
              </c:strCache>
            </c:strRef>
          </c:cat>
          <c:val>
            <c:numRef>
              <c:f>Лист1!$C$99:$C$101</c:f>
              <c:numCache>
                <c:formatCode>0%</c:formatCode>
                <c:ptCount val="3"/>
                <c:pt idx="0">
                  <c:v>0.14800974321039179</c:v>
                </c:pt>
                <c:pt idx="1">
                  <c:v>0.41359905182040002</c:v>
                </c:pt>
                <c:pt idx="2">
                  <c:v>0.43839120496920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40F1-45CD-BE8A-1B46BC010E7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175859312"/>
        <c:axId val="175859872"/>
      </c:barChart>
      <c:catAx>
        <c:axId val="17585931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75859872"/>
        <c:crosses val="autoZero"/>
        <c:auto val="1"/>
        <c:lblAlgn val="ctr"/>
        <c:lblOffset val="100"/>
        <c:noMultiLvlLbl val="0"/>
      </c:catAx>
      <c:valAx>
        <c:axId val="175859872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extTo"/>
        <c:crossAx val="1758593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 sz="1400"/>
            </a:pPr>
            <a:r>
              <a:rPr lang="ru-RU" sz="1400" dirty="0"/>
              <a:t>Объем кредитно-гарантийной </a:t>
            </a:r>
            <a:r>
              <a:rPr lang="ru-RU" sz="1400" dirty="0" smtClean="0"/>
              <a:t>поддержки МСП, </a:t>
            </a:r>
            <a:endParaRPr lang="ru-RU" sz="1400" dirty="0"/>
          </a:p>
          <a:p>
            <a:pPr>
              <a:defRPr sz="1400"/>
            </a:pPr>
            <a:r>
              <a:rPr lang="ru-RU" sz="1400" dirty="0"/>
              <a:t>млрд рублей</a:t>
            </a:r>
          </a:p>
        </c:rich>
      </c:tx>
      <c:layout/>
      <c:overlay val="1"/>
    </c:title>
    <c:autoTitleDeleted val="0"/>
    <c:plotArea>
      <c:layout>
        <c:manualLayout>
          <c:layoutTarget val="inner"/>
          <c:xMode val="edge"/>
          <c:yMode val="edge"/>
          <c:x val="7.1185132402473747E-2"/>
          <c:y val="0.13425925925925927"/>
          <c:w val="0.90173501051404048"/>
          <c:h val="0.75476086322543012"/>
        </c:manualLayout>
      </c:layout>
      <c:barChart>
        <c:barDir val="col"/>
        <c:grouping val="stacked"/>
        <c:varyColors val="0"/>
        <c:ser>
          <c:idx val="1"/>
          <c:order val="0"/>
          <c:spPr>
            <a:solidFill>
              <a:schemeClr val="accent1"/>
            </a:solidFill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Лист3!$C$40:$C$42</c:f>
              <c:numCache>
                <c:formatCode>General</c:formatCode>
                <c:ptCount val="3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</c:numCache>
            </c:numRef>
          </c:cat>
          <c:val>
            <c:numRef>
              <c:f>Лист3!$D$40:$D$42</c:f>
              <c:numCache>
                <c:formatCode>General</c:formatCode>
                <c:ptCount val="3"/>
                <c:pt idx="0">
                  <c:v>116.7</c:v>
                </c:pt>
                <c:pt idx="1">
                  <c:v>122.4</c:v>
                </c:pt>
                <c:pt idx="2" formatCode="0.0">
                  <c:v>146.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7D0-480D-ACEC-92BB6E63C9B3}"/>
            </c:ext>
          </c:extLst>
        </c:ser>
        <c:ser>
          <c:idx val="2"/>
          <c:order val="1"/>
          <c:spPr>
            <a:solidFill>
              <a:srgbClr val="ED7D31"/>
            </a:solidFill>
          </c:spPr>
          <c:invertIfNegative val="0"/>
          <c:cat>
            <c:numRef>
              <c:f>Лист3!$C$40:$C$42</c:f>
              <c:numCache>
                <c:formatCode>General</c:formatCode>
                <c:ptCount val="3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</c:numCache>
            </c:numRef>
          </c:cat>
          <c:val>
            <c:numRef>
              <c:f>Лист3!$E$40:$E$42</c:f>
              <c:numCache>
                <c:formatCode>General</c:formatCode>
                <c:ptCount val="3"/>
                <c:pt idx="0">
                  <c:v>0</c:v>
                </c:pt>
                <c:pt idx="1">
                  <c:v>0</c:v>
                </c:pt>
                <c:pt idx="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7D0-480D-ACEC-92BB6E63C9B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32795008"/>
        <c:axId val="132813184"/>
      </c:barChart>
      <c:catAx>
        <c:axId val="13279500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132813184"/>
        <c:crosses val="autoZero"/>
        <c:auto val="1"/>
        <c:lblAlgn val="ctr"/>
        <c:lblOffset val="100"/>
        <c:noMultiLvlLbl val="0"/>
      </c:catAx>
      <c:valAx>
        <c:axId val="132813184"/>
        <c:scaling>
          <c:orientation val="minMax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extTo"/>
        <c:crossAx val="132795008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>
          <a:latin typeface="Arial Narrow" panose="020B0606020202030204" pitchFamily="34" charset="0"/>
        </a:defRPr>
      </a:pPr>
      <a:endParaRPr lang="ru-RU"/>
    </a:p>
  </c:txPr>
  <c:externalData r:id="rId2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200">
                <a:latin typeface="Times New Roman" panose="02020603050405020304" pitchFamily="18" charset="0"/>
                <a:cs typeface="Times New Roman" panose="02020603050405020304" pitchFamily="18" charset="0"/>
              </a:defRPr>
            </a:pPr>
            <a:r>
              <a:rPr lang="ru-RU" sz="1200">
                <a:latin typeface="Times New Roman" panose="02020603050405020304" pitchFamily="18" charset="0"/>
                <a:cs typeface="Times New Roman" panose="02020603050405020304" pitchFamily="18" charset="0"/>
              </a:rPr>
              <a:t>Объем выдач по прямым кредитам МСП,</a:t>
            </a:r>
          </a:p>
          <a:p>
            <a:pPr>
              <a:defRPr sz="1200">
                <a:latin typeface="Times New Roman" panose="02020603050405020304" pitchFamily="18" charset="0"/>
                <a:cs typeface="Times New Roman" panose="02020603050405020304" pitchFamily="18" charset="0"/>
              </a:defRPr>
            </a:pPr>
            <a:r>
              <a:rPr lang="ru-RU" sz="1200" b="0">
                <a:latin typeface="Times New Roman" panose="02020603050405020304" pitchFamily="18" charset="0"/>
                <a:cs typeface="Times New Roman" panose="02020603050405020304" pitchFamily="18" charset="0"/>
              </a:rPr>
              <a:t>млрд</a:t>
            </a:r>
            <a:r>
              <a:rPr lang="ru-RU" sz="1200" b="0" baseline="0">
                <a:latin typeface="Times New Roman" panose="02020603050405020304" pitchFamily="18" charset="0"/>
                <a:cs typeface="Times New Roman" panose="02020603050405020304" pitchFamily="18" charset="0"/>
              </a:rPr>
              <a:t> рублей</a:t>
            </a:r>
          </a:p>
        </c:rich>
      </c:tx>
      <c:layout/>
      <c:overlay val="1"/>
    </c:title>
    <c:autoTitleDeleted val="0"/>
    <c:plotArea>
      <c:layout>
        <c:manualLayout>
          <c:layoutTarget val="inner"/>
          <c:xMode val="edge"/>
          <c:yMode val="edge"/>
          <c:x val="8.0321741032370955E-2"/>
          <c:y val="0.15788203557888597"/>
          <c:w val="0.83634492563429574"/>
          <c:h val="0.7261380869058033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[Диаграмма в Microsoft PowerPoint]Лист3'!$D$6</c:f>
              <c:strCache>
                <c:ptCount val="1"/>
                <c:pt idx="0">
                  <c:v>Объем выдач по прямым кредитам МСП</c:v>
                </c:pt>
              </c:strCache>
            </c:strRef>
          </c:tx>
          <c:invertIfNegative val="0"/>
          <c:dLbls>
            <c:dLbl>
              <c:idx val="0"/>
              <c:layout>
                <c:manualLayout>
                  <c:x val="0"/>
                  <c:y val="-4.629629629629629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6A20-445C-951D-65F85F1F9271}"/>
                </c:ext>
              </c:extLst>
            </c:dLbl>
            <c:dLbl>
              <c:idx val="3"/>
              <c:layout>
                <c:manualLayout>
                  <c:x val="-2.1872265966754156E-7"/>
                  <c:y val="-9.259623797025372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6A20-445C-951D-65F85F1F927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'[Диаграмма в Microsoft PowerPoint]Лист3'!$C$7:$C$10</c:f>
              <c:numCache>
                <c:formatCode>General</c:formatCode>
                <c:ptCount val="4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'[Диаграмма в Microsoft PowerPoint]Лист3'!$D$7:$D$10</c:f>
              <c:numCache>
                <c:formatCode>General</c:formatCode>
                <c:ptCount val="4"/>
                <c:pt idx="0">
                  <c:v>0.01</c:v>
                </c:pt>
                <c:pt idx="1">
                  <c:v>29.1</c:v>
                </c:pt>
                <c:pt idx="2" formatCode="#,##0.00">
                  <c:v>49.145986371620026</c:v>
                </c:pt>
                <c:pt idx="3" formatCode="#,##0.00">
                  <c:v>13.13850949929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A20-445C-951D-65F85F1F9271}"/>
            </c:ext>
          </c:extLst>
        </c:ser>
        <c:ser>
          <c:idx val="1"/>
          <c:order val="1"/>
          <c:tx>
            <c:strRef>
              <c:f>'[Диаграмма в Microsoft PowerPoint]Лист3'!$E$6</c:f>
              <c:strCache>
                <c:ptCount val="1"/>
              </c:strCache>
            </c:strRef>
          </c:tx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6A20-445C-951D-65F85F1F9271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6A20-445C-951D-65F85F1F9271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6A20-445C-951D-65F85F1F927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latin typeface="Times New Roman" panose="02020603050405020304" pitchFamily="18" charset="0"/>
                    <a:cs typeface="Times New Roman" panose="02020603050405020304" pitchFamily="18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'[Диаграмма в Microsoft PowerPoint]Лист3'!$C$7:$C$10</c:f>
              <c:numCache>
                <c:formatCode>General</c:formatCode>
                <c:ptCount val="4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'[Диаграмма в Microsoft PowerPoint]Лист3'!$E$7:$E$10</c:f>
              <c:numCache>
                <c:formatCode>General</c:formatCode>
                <c:ptCount val="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 formatCode="#,##0.00">
                  <c:v>36.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6A20-445C-951D-65F85F1F92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32494848"/>
        <c:axId val="132496384"/>
      </c:barChart>
      <c:catAx>
        <c:axId val="13249484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>
                <a:latin typeface="Times New Roman" panose="02020603050405020304" pitchFamily="18" charset="0"/>
                <a:cs typeface="Times New Roman" panose="02020603050405020304" pitchFamily="18" charset="0"/>
              </a:defRPr>
            </a:pPr>
            <a:endParaRPr lang="ru-RU"/>
          </a:p>
        </c:txPr>
        <c:crossAx val="132496384"/>
        <c:crosses val="autoZero"/>
        <c:auto val="1"/>
        <c:lblAlgn val="ctr"/>
        <c:lblOffset val="100"/>
        <c:noMultiLvlLbl val="0"/>
      </c:catAx>
      <c:valAx>
        <c:axId val="132496384"/>
        <c:scaling>
          <c:orientation val="minMax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>
                <a:latin typeface="Times New Roman" panose="02020603050405020304" pitchFamily="18" charset="0"/>
                <a:cs typeface="Times New Roman" panose="02020603050405020304" pitchFamily="18" charset="0"/>
              </a:defRPr>
            </a:pPr>
            <a:endParaRPr lang="ru-RU"/>
          </a:p>
        </c:txPr>
        <c:crossAx val="132494848"/>
        <c:crosses val="autoZero"/>
        <c:crossBetween val="between"/>
        <c:majorUnit val="10"/>
      </c:valAx>
    </c:plotArea>
    <c:plotVisOnly val="1"/>
    <c:dispBlanksAs val="gap"/>
    <c:showDLblsOverMax val="0"/>
  </c:chart>
  <c:externalData r:id="rId1">
    <c:autoUpdate val="0"/>
  </c:externalData>
  <c:userShapes r:id="rId2"/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200"/>
            </a:pPr>
            <a:r>
              <a:rPr lang="ru-RU" sz="1600"/>
              <a:t>Объем выдач по гарантий в рамках НГС (включая 223-ФЗ и 44-ФЗ),</a:t>
            </a:r>
          </a:p>
          <a:p>
            <a:pPr>
              <a:defRPr sz="1200"/>
            </a:pPr>
            <a:r>
              <a:rPr lang="ru-RU" sz="1600"/>
              <a:t> </a:t>
            </a:r>
            <a:r>
              <a:rPr lang="ru-RU" sz="1200" b="0"/>
              <a:t>млрд рублей</a:t>
            </a:r>
          </a:p>
        </c:rich>
      </c:tx>
      <c:layout>
        <c:manualLayout>
          <c:xMode val="edge"/>
          <c:yMode val="edge"/>
          <c:x val="8.1555555555555562E-2"/>
          <c:y val="0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7.1988407699037624E-2"/>
          <c:y val="0.22542833187518227"/>
          <c:w val="0.89745603674540686"/>
          <c:h val="0.65859179060950712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[Диаграмма в Microsoft PowerPoint]Лист3'!$D$31</c:f>
              <c:strCache>
                <c:ptCount val="1"/>
                <c:pt idx="0">
                  <c:v>Объем выдач по гарантий в рамках НГС (включая 223-ФЗ и 44-ФЗ), млрд рублей</c:v>
                </c:pt>
              </c:strCache>
            </c:strRef>
          </c:tx>
          <c:invertIfNegative val="0"/>
          <c:dLbls>
            <c:dLbl>
              <c:idx val="0"/>
              <c:layout>
                <c:manualLayout>
                  <c:x val="-2.7779965004374454E-3"/>
                  <c:y val="5.305774278215231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5FBF-4920-BD44-B9D6BD03245C}"/>
                </c:ext>
              </c:extLst>
            </c:dLbl>
            <c:dLbl>
              <c:idx val="1"/>
              <c:layout>
                <c:manualLayout>
                  <c:x val="2.7777777777777779E-3"/>
                  <c:y val="4.166666666666675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5FBF-4920-BD44-B9D6BD03245C}"/>
                </c:ext>
              </c:extLst>
            </c:dLbl>
            <c:dLbl>
              <c:idx val="2"/>
              <c:layout>
                <c:manualLayout>
                  <c:x val="-2.7777777777777779E-3"/>
                  <c:y val="-4.6296296296296294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5FBF-4920-BD44-B9D6BD03245C}"/>
                </c:ext>
              </c:extLst>
            </c:dLbl>
            <c:dLbl>
              <c:idx val="3"/>
              <c:layout>
                <c:manualLayout>
                  <c:x val="-2.1872265966754156E-7"/>
                  <c:y val="-2.314851268591426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5FBF-4920-BD44-B9D6BD03245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[Диаграмма в Microsoft PowerPoint]Лист3'!$C$32:$C$35</c:f>
              <c:numCache>
                <c:formatCode>General</c:formatCode>
                <c:ptCount val="4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'[Диаграмма в Microsoft PowerPoint]Лист3'!$D$32:$D$35</c:f>
              <c:numCache>
                <c:formatCode>General</c:formatCode>
                <c:ptCount val="4"/>
                <c:pt idx="0">
                  <c:v>13.5</c:v>
                </c:pt>
                <c:pt idx="1">
                  <c:v>11.6</c:v>
                </c:pt>
                <c:pt idx="2" formatCode="0.0">
                  <c:v>19.210768465880001</c:v>
                </c:pt>
                <c:pt idx="3" formatCode="0.0">
                  <c:v>7.40217403367999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FBF-4920-BD44-B9D6BD03245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32542464"/>
        <c:axId val="132544000"/>
      </c:barChart>
      <c:catAx>
        <c:axId val="1325424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132544000"/>
        <c:crosses val="autoZero"/>
        <c:auto val="1"/>
        <c:lblAlgn val="ctr"/>
        <c:lblOffset val="100"/>
        <c:noMultiLvlLbl val="0"/>
      </c:catAx>
      <c:valAx>
        <c:axId val="132544000"/>
        <c:scaling>
          <c:orientation val="minMax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extTo"/>
        <c:crossAx val="132542464"/>
        <c:crosses val="autoZero"/>
        <c:crossBetween val="between"/>
        <c:majorUnit val="5"/>
      </c:valAx>
    </c:plotArea>
    <c:plotVisOnly val="1"/>
    <c:dispBlanksAs val="gap"/>
    <c:showDLblsOverMax val="0"/>
  </c:chart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 sz="1400"/>
            </a:pPr>
            <a:r>
              <a:rPr lang="ru-RU" sz="1400" dirty="0" smtClean="0"/>
              <a:t>Средние процентные ставки по кредитам, предоставленным субъектам МСП</a:t>
            </a:r>
            <a:endParaRPr lang="ru-RU" sz="1400" dirty="0"/>
          </a:p>
        </c:rich>
      </c:tx>
      <c:layout>
        <c:manualLayout>
          <c:xMode val="edge"/>
          <c:yMode val="edge"/>
          <c:x val="0.21971720447530818"/>
          <c:y val="4.7574523430640092E-3"/>
        </c:manualLayout>
      </c:layout>
      <c:overlay val="1"/>
    </c:title>
    <c:autoTitleDeleted val="0"/>
    <c:plotArea>
      <c:layout>
        <c:manualLayout>
          <c:layoutTarget val="inner"/>
          <c:xMode val="edge"/>
          <c:yMode val="edge"/>
          <c:x val="9.8974628171478563E-2"/>
          <c:y val="0.15788203557888597"/>
          <c:w val="0.90102537182852138"/>
          <c:h val="0.72613808690580339"/>
        </c:manualLayout>
      </c:layout>
      <c:lineChart>
        <c:grouping val="standard"/>
        <c:varyColors val="0"/>
        <c:ser>
          <c:idx val="1"/>
          <c:order val="0"/>
          <c:spPr>
            <a:ln w="38100">
              <a:solidFill>
                <a:srgbClr val="ED7D31"/>
              </a:solidFill>
            </a:ln>
          </c:spPr>
          <c:marker>
            <c:symbol val="none"/>
          </c:marker>
          <c:dLbls>
            <c:dLbl>
              <c:idx val="0"/>
              <c:layout>
                <c:manualLayout>
                  <c:x val="0"/>
                  <c:y val="-3.703703703703703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B04C-409C-BC28-BA165AB7E84B}"/>
                </c:ext>
              </c:extLst>
            </c:dLbl>
            <c:dLbl>
              <c:idx val="1"/>
              <c:layout>
                <c:manualLayout>
                  <c:x val="5.5555555555555558E-3"/>
                  <c:y val="-4.629629629629625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B04C-409C-BC28-BA165AB7E84B}"/>
                </c:ext>
              </c:extLst>
            </c:dLbl>
            <c:dLbl>
              <c:idx val="2"/>
              <c:layout>
                <c:manualLayout>
                  <c:x val="0"/>
                  <c:y val="-4.281707108757608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FE1C-4AD0-BD32-C227F33111F2}"/>
                </c:ext>
              </c:extLst>
            </c:dLbl>
            <c:dLbl>
              <c:idx val="3"/>
              <c:layout>
                <c:manualLayout>
                  <c:x val="-4.9172403285723219E-2"/>
                  <c:y val="4.757452343064009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FE1C-4AD0-BD32-C227F33111F2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[Диаграмма в Microsoft PowerPoint]Лист1'!$L$41:$L$44</c:f>
              <c:numCache>
                <c:formatCode>General</c:formatCode>
                <c:ptCount val="4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'[Диаграмма в Microsoft PowerPoint]Лист1'!$M$41:$M$44</c:f>
              <c:numCache>
                <c:formatCode>0.0%</c:formatCode>
                <c:ptCount val="4"/>
                <c:pt idx="0">
                  <c:v>0.158</c:v>
                </c:pt>
                <c:pt idx="1">
                  <c:v>0.13600000000000001</c:v>
                </c:pt>
                <c:pt idx="2">
                  <c:v>0.113</c:v>
                </c:pt>
                <c:pt idx="3">
                  <c:v>8.9200000000000002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04C-409C-BC28-BA165AB7E84B}"/>
            </c:ext>
          </c:extLst>
        </c:ser>
        <c:ser>
          <c:idx val="2"/>
          <c:order val="1"/>
          <c:spPr>
            <a:ln w="38100">
              <a:solidFill>
                <a:srgbClr val="5B9BD5"/>
              </a:solidFill>
            </a:ln>
          </c:spPr>
          <c:marker>
            <c:symbol val="none"/>
          </c:marker>
          <c:dLbls>
            <c:dLbl>
              <c:idx val="0"/>
              <c:layout>
                <c:manualLayout>
                  <c:x val="-1.3888888888888888E-2"/>
                  <c:y val="4.166666666666666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B04C-409C-BC28-BA165AB7E84B}"/>
                </c:ext>
              </c:extLst>
            </c:dLbl>
            <c:dLbl>
              <c:idx val="1"/>
              <c:layout>
                <c:manualLayout>
                  <c:x val="-1.9444444444444445E-2"/>
                  <c:y val="5.555555555555555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FE1C-4AD0-BD32-C227F33111F2}"/>
                </c:ext>
              </c:extLst>
            </c:dLbl>
            <c:dLbl>
              <c:idx val="2"/>
              <c:layout>
                <c:manualLayout>
                  <c:x val="0"/>
                  <c:y val="3.330216640144806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FE1C-4AD0-BD32-C227F33111F2}"/>
                </c:ext>
              </c:extLst>
            </c:dLbl>
            <c:dLbl>
              <c:idx val="3"/>
              <c:layout>
                <c:manualLayout>
                  <c:x val="-3.6879302464292413E-2"/>
                  <c:y val="-5.708942811676810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4-FE1C-4AD0-BD32-C227F33111F2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[Диаграмма в Microsoft PowerPoint]Лист1'!$L$41:$L$44</c:f>
              <c:numCache>
                <c:formatCode>General</c:formatCode>
                <c:ptCount val="4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'[Диаграмма в Microsoft PowerPoint]Лист1'!$N$41:$N$44</c:f>
              <c:numCache>
                <c:formatCode>0.0%</c:formatCode>
                <c:ptCount val="4"/>
                <c:pt idx="0">
                  <c:v>9.6000000000000002E-2</c:v>
                </c:pt>
                <c:pt idx="1">
                  <c:v>0.105</c:v>
                </c:pt>
                <c:pt idx="2">
                  <c:v>8.7207656235741601E-2</c:v>
                </c:pt>
                <c:pt idx="3">
                  <c:v>9.9116972987245699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B04C-409C-BC28-BA165AB7E84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32662784"/>
        <c:axId val="132664320"/>
      </c:lineChart>
      <c:catAx>
        <c:axId val="13266278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132664320"/>
        <c:crosses val="autoZero"/>
        <c:auto val="1"/>
        <c:lblAlgn val="ctr"/>
        <c:lblOffset val="100"/>
        <c:noMultiLvlLbl val="0"/>
      </c:catAx>
      <c:valAx>
        <c:axId val="132664320"/>
        <c:scaling>
          <c:orientation val="minMax"/>
        </c:scaling>
        <c:delete val="0"/>
        <c:axPos val="l"/>
        <c:numFmt formatCode="0.0%" sourceLinked="0"/>
        <c:majorTickMark val="out"/>
        <c:minorTickMark val="none"/>
        <c:tickLblPos val="nextTo"/>
        <c:crossAx val="132662784"/>
        <c:crosses val="autoZero"/>
        <c:crossBetween val="between"/>
        <c:majorUnit val="5.000000000000001E-2"/>
      </c:valAx>
    </c:plotArea>
    <c:plotVisOnly val="1"/>
    <c:dispBlanksAs val="gap"/>
    <c:showDLblsOverMax val="0"/>
  </c:chart>
  <c:txPr>
    <a:bodyPr/>
    <a:lstStyle/>
    <a:p>
      <a:pPr>
        <a:defRPr>
          <a:latin typeface="Arial Narrow" panose="020B0606020202030204" pitchFamily="34" charset="0"/>
        </a:defRPr>
      </a:pPr>
      <a:endParaRPr lang="ru-RU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gradFill>
              <a:gsLst>
                <a:gs pos="0">
                  <a:schemeClr val="accent1"/>
                </a:gs>
                <a:gs pos="100000">
                  <a:schemeClr val="accent1">
                    <a:lumMod val="84000"/>
                  </a:schemeClr>
                </a:gs>
              </a:gsLst>
              <a:lin ang="5400000" scaled="1"/>
            </a:gradFill>
            <a:ln>
              <a:noFill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c:spPr>
          <c:invertIfNegative val="0"/>
          <c:dLbls>
            <c:dLbl>
              <c:idx val="0"/>
              <c:layout>
                <c:manualLayout>
                  <c:x val="-2.7777777777777779E-3"/>
                  <c:y val="8.9607814416533718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4A44-4ED7-8636-99FF4135E01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dk1">
                          <a:lumMod val="50000"/>
                          <a:lumOff val="50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д!$C$13:$G$13</c:f>
              <c:strCache>
                <c:ptCount val="5"/>
                <c:pt idx="0">
                  <c:v>2015 г.</c:v>
                </c:pt>
                <c:pt idx="1">
                  <c:v>2016 г.</c:v>
                </c:pt>
                <c:pt idx="2">
                  <c:v>2017 г.</c:v>
                </c:pt>
                <c:pt idx="3">
                  <c:v>2018 г. </c:v>
                </c:pt>
                <c:pt idx="4">
                  <c:v>2019 г. </c:v>
                </c:pt>
              </c:strCache>
            </c:strRef>
          </c:cat>
          <c:val>
            <c:numRef>
              <c:f>д!$C$12:$G$12</c:f>
              <c:numCache>
                <c:formatCode>0</c:formatCode>
                <c:ptCount val="5"/>
                <c:pt idx="0">
                  <c:v>93</c:v>
                </c:pt>
                <c:pt idx="1">
                  <c:v>165</c:v>
                </c:pt>
                <c:pt idx="2">
                  <c:v>253</c:v>
                </c:pt>
                <c:pt idx="3">
                  <c:v>361</c:v>
                </c:pt>
                <c:pt idx="4">
                  <c:v>11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A44-4ED7-8636-99FF4135E010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41"/>
        <c:axId val="1155250144"/>
        <c:axId val="1155250688"/>
      </c:barChart>
      <c:catAx>
        <c:axId val="11552501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dk1">
                    <a:lumMod val="65000"/>
                    <a:lumOff val="35000"/>
                  </a:schemeClr>
                </a:solidFill>
                <a:effectLst/>
                <a:latin typeface="+mn-lt"/>
                <a:ea typeface="+mn-ea"/>
                <a:cs typeface="+mn-cs"/>
              </a:defRPr>
            </a:pPr>
            <a:endParaRPr lang="ru-RU"/>
          </a:p>
        </c:txPr>
        <c:crossAx val="1155250688"/>
        <c:crosses val="autoZero"/>
        <c:auto val="1"/>
        <c:lblAlgn val="ctr"/>
        <c:lblOffset val="100"/>
        <c:noMultiLvlLbl val="0"/>
      </c:catAx>
      <c:valAx>
        <c:axId val="1155250688"/>
        <c:scaling>
          <c:orientation val="minMax"/>
        </c:scaling>
        <c:delete val="1"/>
        <c:axPos val="l"/>
        <c:numFmt formatCode="0" sourceLinked="1"/>
        <c:majorTickMark val="none"/>
        <c:minorTickMark val="none"/>
        <c:tickLblPos val="nextTo"/>
        <c:crossAx val="1155250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gradFill flip="none" rotWithShape="1">
      <a:gsLst>
        <a:gs pos="0">
          <a:schemeClr val="lt1"/>
        </a:gs>
        <a:gs pos="68000">
          <a:schemeClr val="lt1">
            <a:lumMod val="85000"/>
          </a:schemeClr>
        </a:gs>
        <a:gs pos="100000">
          <a:schemeClr val="lt1"/>
        </a:gs>
      </a:gsLst>
      <a:lin ang="5400000" scaled="1"/>
      <a:tileRect/>
    </a:gradFill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53176244909430082"/>
          <c:y val="5.8838765724073348E-3"/>
          <c:w val="0.31439669253151031"/>
          <c:h val="0.94450660031822309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50" b="0" i="0" u="none" strike="noStrike" kern="1200" baseline="0">
                    <a:solidFill>
                      <a:schemeClr val="tx1"/>
                    </a:solidFill>
                    <a:latin typeface="Arial Narrow" panose="020B060602020203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20</c:f>
              <c:strCache>
                <c:ptCount val="19"/>
                <c:pt idx="0">
                  <c:v>Обрабатывающие производства</c:v>
                </c:pt>
                <c:pt idx="1">
                  <c:v>Химическая промышленность</c:v>
                </c:pt>
                <c:pt idx="2">
                  <c:v>Сельское, лесное хозяйство, охота, рыболовство</c:v>
                </c:pt>
                <c:pt idx="3">
                  <c:v>Машиностроение</c:v>
                </c:pt>
                <c:pt idx="4">
                  <c:v>Научная деятельность</c:v>
                </c:pt>
                <c:pt idx="5">
                  <c:v>Добыча полезных ископаемых</c:v>
                </c:pt>
                <c:pt idx="6">
                  <c:v>Металлургия</c:v>
                </c:pt>
                <c:pt idx="7">
                  <c:v>Строительство</c:v>
                </c:pt>
                <c:pt idx="8">
                  <c:v>Легкая промышленность</c:v>
                </c:pt>
                <c:pt idx="9">
                  <c:v>Текстильная промышленность</c:v>
                </c:pt>
                <c:pt idx="10">
                  <c:v>Пищевая промышленность</c:v>
                </c:pt>
                <c:pt idx="11">
                  <c:v>Медицина, здравоохранение, спорт</c:v>
                </c:pt>
                <c:pt idx="12">
                  <c:v>Информационные технологии, электроника</c:v>
                </c:pt>
                <c:pt idx="13">
                  <c:v>Автомобилестроение</c:v>
                </c:pt>
                <c:pt idx="14">
                  <c:v>Водоснабжение, утилизация отходов и пр.</c:v>
                </c:pt>
                <c:pt idx="15">
                  <c:v>Нефтяная и газовая промышленность</c:v>
                </c:pt>
                <c:pt idx="16">
                  <c:v>Деревообрабатывающая промышленность</c:v>
                </c:pt>
                <c:pt idx="17">
                  <c:v>Угольная промышленность (услуги)</c:v>
                </c:pt>
                <c:pt idx="18">
                  <c:v>Сервис и услуги</c:v>
                </c:pt>
              </c:strCache>
            </c:strRef>
          </c:cat>
          <c:val>
            <c:numRef>
              <c:f>Лист1!$B$2:$B$20</c:f>
              <c:numCache>
                <c:formatCode>0.0%</c:formatCode>
                <c:ptCount val="19"/>
                <c:pt idx="0">
                  <c:v>0.3850323424449057</c:v>
                </c:pt>
                <c:pt idx="1">
                  <c:v>0.15277151050584636</c:v>
                </c:pt>
                <c:pt idx="2">
                  <c:v>7.6950399472952236E-2</c:v>
                </c:pt>
                <c:pt idx="3">
                  <c:v>6.4197652755990486E-2</c:v>
                </c:pt>
                <c:pt idx="4">
                  <c:v>5.1757262569306531E-2</c:v>
                </c:pt>
                <c:pt idx="5">
                  <c:v>4.6510690278229766E-2</c:v>
                </c:pt>
                <c:pt idx="6">
                  <c:v>3.5175788787692959E-2</c:v>
                </c:pt>
                <c:pt idx="7">
                  <c:v>3.4290325485550374E-2</c:v>
                </c:pt>
                <c:pt idx="8">
                  <c:v>3.3965759503221518E-2</c:v>
                </c:pt>
                <c:pt idx="9">
                  <c:v>2.9143764833355297E-2</c:v>
                </c:pt>
                <c:pt idx="10">
                  <c:v>2.0336530519620002E-2</c:v>
                </c:pt>
                <c:pt idx="11">
                  <c:v>1.8792094188256198E-2</c:v>
                </c:pt>
                <c:pt idx="12">
                  <c:v>1.8392919267457942E-2</c:v>
                </c:pt>
                <c:pt idx="13">
                  <c:v>1.2894231050174581E-2</c:v>
                </c:pt>
                <c:pt idx="14">
                  <c:v>9.4460720260992857E-3</c:v>
                </c:pt>
                <c:pt idx="15">
                  <c:v>3.9873189408292636E-3</c:v>
                </c:pt>
                <c:pt idx="16">
                  <c:v>3.2442622739664142E-3</c:v>
                </c:pt>
                <c:pt idx="17">
                  <c:v>1.682525775613821E-3</c:v>
                </c:pt>
                <c:pt idx="18">
                  <c:v>1.4285493209311793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2F9-4718-87C0-2BF12FC3EC5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6"/>
        <c:axId val="188909008"/>
        <c:axId val="188909568"/>
      </c:barChart>
      <c:catAx>
        <c:axId val="188909008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ru-RU"/>
          </a:p>
        </c:txPr>
        <c:crossAx val="188909568"/>
        <c:crosses val="autoZero"/>
        <c:auto val="1"/>
        <c:lblAlgn val="ctr"/>
        <c:lblOffset val="100"/>
        <c:noMultiLvlLbl val="0"/>
      </c:catAx>
      <c:valAx>
        <c:axId val="188909568"/>
        <c:scaling>
          <c:orientation val="minMax"/>
        </c:scaling>
        <c:delete val="1"/>
        <c:axPos val="t"/>
        <c:numFmt formatCode="0.0%" sourceLinked="1"/>
        <c:majorTickMark val="none"/>
        <c:minorTickMark val="none"/>
        <c:tickLblPos val="nextTo"/>
        <c:crossAx val="1889090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  <a:latin typeface="Arial Narrow" panose="020B0606020202030204" pitchFamily="34" charset="0"/>
        </a:defRPr>
      </a:pPr>
      <a:endParaRPr lang="ru-RU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ДФО!$A$2:$A$6</c:f>
              <c:strCache>
                <c:ptCount val="5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13.05.2019</c:v>
                </c:pt>
                <c:pt idx="4">
                  <c:v>План на 2019</c:v>
                </c:pt>
              </c:strCache>
            </c:strRef>
          </c:cat>
          <c:val>
            <c:numRef>
              <c:f>ДФО!$B$2:$B$6</c:f>
              <c:numCache>
                <c:formatCode>General</c:formatCode>
                <c:ptCount val="5"/>
                <c:pt idx="0">
                  <c:v>8.23</c:v>
                </c:pt>
                <c:pt idx="1">
                  <c:v>8.23</c:v>
                </c:pt>
                <c:pt idx="2">
                  <c:v>13.7</c:v>
                </c:pt>
                <c:pt idx="3">
                  <c:v>8.25</c:v>
                </c:pt>
                <c:pt idx="4" formatCode="#\ ##0.0_ ;[Red]\-#\ ##0.0\ ">
                  <c:v>37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298-4A1A-9DEA-7EB90EEB6128}"/>
            </c:ext>
          </c:extLst>
        </c:ser>
        <c:ser>
          <c:idx val="1"/>
          <c:order val="1"/>
          <c:spPr>
            <a:solidFill>
              <a:srgbClr val="33CC33"/>
            </a:solidFill>
            <a:ln>
              <a:noFill/>
            </a:ln>
            <a:effectLst/>
          </c:spPr>
          <c:invertIfNegative val="0"/>
          <c:cat>
            <c:strRef>
              <c:f>ДФО!$A$2:$A$6</c:f>
              <c:strCache>
                <c:ptCount val="5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13.05.2019</c:v>
                </c:pt>
                <c:pt idx="4">
                  <c:v>План на 2019</c:v>
                </c:pt>
              </c:strCache>
            </c:strRef>
          </c:cat>
          <c:val>
            <c:numRef>
              <c:f>ДФО!$C$2:$C$6</c:f>
              <c:numCache>
                <c:formatCode>General</c:formatCode>
                <c:ptCount val="5"/>
                <c:pt idx="0">
                  <c:v>0</c:v>
                </c:pt>
                <c:pt idx="1">
                  <c:v>5.4699999999999989</c:v>
                </c:pt>
                <c:pt idx="2" formatCode="0.00">
                  <c:v>26.900000000000002</c:v>
                </c:pt>
                <c:pt idx="3">
                  <c:v>0</c:v>
                </c:pt>
                <c:pt idx="4" formatCode="#\ ##0.0_ ;[Red]\-#\ ##0.0\ 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298-4A1A-9DEA-7EB90EEB612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5"/>
        <c:overlap val="100"/>
        <c:axId val="1261032096"/>
        <c:axId val="1261044608"/>
      </c:barChart>
      <c:lineChart>
        <c:grouping val="standard"/>
        <c:varyColors val="0"/>
        <c:ser>
          <c:idx val="2"/>
          <c:order val="2"/>
          <c:spPr>
            <a:ln w="28575" cap="rnd">
              <a:noFill/>
              <a:round/>
            </a:ln>
            <a:effectLst/>
          </c:spPr>
          <c:marker>
            <c:symbol val="none"/>
          </c:marker>
          <c:dLbls>
            <c:dLbl>
              <c:idx val="0"/>
              <c:layout/>
              <c:tx>
                <c:rich>
                  <a:bodyPr/>
                  <a:lstStyle/>
                  <a:p>
                    <a:fld id="{97986741-D6A8-49D1-A00C-C30520C3FFF2}" type="VALUE">
                      <a:rPr lang="en-US" sz="1050" b="1" baseline="0"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pPr/>
                      <a:t>[ЗНАЧЕНИЕ]</a:t>
                    </a:fld>
                    <a:endParaRPr lang="ru-RU"/>
                  </a:p>
                </c:rich>
              </c:tx>
              <c:dLblPos val="r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0298-4A1A-9DEA-7EB90EEB6128}"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fld id="{812B5863-F4C4-42DB-8D5D-D91E6E8FBF8F}" type="VALUE">
                      <a:rPr lang="en-US" sz="1050" b="1" baseline="0"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pPr/>
                      <a:t>[ЗНАЧЕНИЕ]</a:t>
                    </a:fld>
                    <a:endParaRPr lang="ru-RU"/>
                  </a:p>
                </c:rich>
              </c:tx>
              <c:dLblPos val="r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0298-4A1A-9DEA-7EB90EEB6128}"/>
                </c:ext>
              </c:extLst>
            </c:dLbl>
            <c:dLbl>
              <c:idx val="2"/>
              <c:layout/>
              <c:tx>
                <c:rich>
                  <a:bodyPr rot="0" spcFirstLastPara="1" vertOverflow="clip" horzOverflow="clip" vert="horz" wrap="square" lIns="216000" tIns="108000" rIns="39600" bIns="18000" anchor="b" anchorCtr="1">
                    <a:spAutoFit/>
                  </a:bodyPr>
                  <a:lstStyle/>
                  <a:p>
                    <a:pPr>
                      <a:defRPr sz="1200" b="1" i="0" u="none" strike="noStrike" kern="1200" baseline="0">
                        <a:solidFill>
                          <a:schemeClr val="dk1">
                            <a:lumMod val="65000"/>
                            <a:lumOff val="35000"/>
                          </a:schemeClr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defRPr>
                    </a:pPr>
                    <a:fld id="{5FF4E45C-DDB7-447E-B626-C432D8C62C97}" type="VALUE">
                      <a:rPr lang="en-US" sz="1050" b="1" baseline="0"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pPr>
                        <a:defRPr sz="1200" b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defRPr>
                      </a:pPr>
                      <a:t>[ЗНАЧЕНИЕ]</a:t>
                    </a:fld>
                    <a:endParaRPr lang="ru-RU"/>
                  </a:p>
                </c:rich>
              </c:tx>
              <c:spPr>
                <a:noFill/>
                <a:ln>
                  <a:solidFill>
                    <a:sysClr val="windowText" lastClr="000000">
                      <a:lumMod val="25000"/>
                      <a:lumOff val="75000"/>
                      <a:alpha val="0"/>
                    </a:sysClr>
                  </a:solidFill>
                </a:ln>
                <a:effectLst/>
              </c:spPr>
              <c:txPr>
                <a:bodyPr rot="0" spcFirstLastPara="1" vertOverflow="clip" horzOverflow="clip" vert="horz" wrap="square" lIns="216000" tIns="108000" rIns="39600" bIns="18000" anchor="b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dk1">
                          <a:lumMod val="65000"/>
                          <a:lumOff val="35000"/>
                        </a:schemeClr>
                      </a:solidFill>
                      <a:effectLst/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lang="ru-RU"/>
                </a:p>
              </c:txPr>
              <c:dLblPos val="r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  <c15:layout/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4-0298-4A1A-9DEA-7EB90EEB6128}"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fld id="{F40EEF3F-090E-4479-AF28-DC88EC0E4C5B}" type="VALUE">
                      <a:rPr lang="en-US" sz="1050" b="1" baseline="0"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pPr/>
                      <a:t>[ЗНАЧЕНИЕ]</a:t>
                    </a:fld>
                    <a:endParaRPr lang="ru-RU"/>
                  </a:p>
                </c:rich>
              </c:tx>
              <c:dLblPos val="r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0298-4A1A-9DEA-7EB90EEB6128}"/>
                </c:ext>
              </c:extLst>
            </c:dLbl>
            <c:dLbl>
              <c:idx val="4"/>
              <c:layout/>
              <c:tx>
                <c:rich>
                  <a:bodyPr/>
                  <a:lstStyle/>
                  <a:p>
                    <a:fld id="{6CBD26D2-14D9-4459-89A9-AC1583A82E8F}" type="VALUE">
                      <a:rPr lang="en-US" sz="1050" b="1" baseline="0"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pPr/>
                      <a:t>[ЗНАЧЕНИЕ]</a:t>
                    </a:fld>
                    <a:endParaRPr lang="ru-RU"/>
                  </a:p>
                </c:rich>
              </c:tx>
              <c:dLblPos val="r"/>
              <c:showLegendKey val="0"/>
              <c:showVal val="1"/>
              <c:showCatName val="1"/>
              <c:showSerName val="0"/>
              <c:showPercent val="0"/>
              <c:showBubbleSize val="0"/>
              <c:extLst xmlns:c15="http://schemas.microsoft.com/office/drawing/2012/chart"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6-0298-4A1A-9DEA-7EB90EEB6128}"/>
                </c:ext>
              </c:extLst>
            </c:dLbl>
            <c:spPr>
              <a:noFill/>
              <a:ln>
                <a:solidFill>
                  <a:sysClr val="windowText" lastClr="000000">
                    <a:lumMod val="25000"/>
                    <a:lumOff val="75000"/>
                    <a:alpha val="0"/>
                  </a:sysClr>
                </a:solidFill>
              </a:ln>
              <a:effectLst/>
            </c:spPr>
            <c:txPr>
              <a:bodyPr rot="0" spcFirstLastPara="1" vertOverflow="clip" horzOverflow="clip" vert="horz" wrap="square" lIns="216000" tIns="108000" rIns="39600" bIns="18000" anchor="b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dk1">
                        <a:lumMod val="65000"/>
                        <a:lumOff val="35000"/>
                      </a:schemeClr>
                    </a:solidFill>
                    <a:effectLst/>
                    <a:latin typeface="Arial Narrow" panose="020B060602020203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dLblPos val="r"/>
            <c:showLegendKey val="0"/>
            <c:showVal val="1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  <a:noFill/>
                  <a:ln>
                    <a:noFill/>
                  </a:ln>
                </c15:spPr>
                <c15:showLeaderLines val="0"/>
              </c:ext>
            </c:extLst>
          </c:dLbls>
          <c:cat>
            <c:strRef>
              <c:f>ДФО!$A$2:$A$6</c:f>
              <c:strCache>
                <c:ptCount val="5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13.05.2019</c:v>
                </c:pt>
                <c:pt idx="4">
                  <c:v>План на 2019</c:v>
                </c:pt>
              </c:strCache>
            </c:strRef>
          </c:cat>
          <c:val>
            <c:numRef>
              <c:f>ДФО!$D$2:$D$6</c:f>
              <c:numCache>
                <c:formatCode>#,##0.00</c:formatCode>
                <c:ptCount val="5"/>
                <c:pt idx="0" formatCode="General">
                  <c:v>8.23</c:v>
                </c:pt>
                <c:pt idx="1">
                  <c:v>13.7</c:v>
                </c:pt>
                <c:pt idx="2" formatCode="0.00">
                  <c:v>40.6</c:v>
                </c:pt>
                <c:pt idx="3" formatCode="General">
                  <c:v>8.25</c:v>
                </c:pt>
                <c:pt idx="4" formatCode="#\ ##0.0_ ;[Red]\-#\ ##0.0\ ">
                  <c:v>37.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0298-4A1A-9DEA-7EB90EEB612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261032096"/>
        <c:axId val="1261044608"/>
      </c:lineChart>
      <c:catAx>
        <c:axId val="126103209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ru-RU"/>
          </a:p>
        </c:txPr>
        <c:crossAx val="1261044608"/>
        <c:crosses val="autoZero"/>
        <c:auto val="1"/>
        <c:lblAlgn val="ctr"/>
        <c:lblOffset val="100"/>
        <c:noMultiLvlLbl val="0"/>
      </c:catAx>
      <c:valAx>
        <c:axId val="12610446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 Narrow" panose="020B0606020202030204" pitchFamily="34" charset="0"/>
                    <a:ea typeface="+mn-ea"/>
                    <a:cs typeface="+mn-cs"/>
                  </a:defRPr>
                </a:pPr>
                <a:r>
                  <a:rPr lang="ru-RU" baseline="0" dirty="0" smtClean="0">
                    <a:latin typeface="Arial Narrow" panose="020B0606020202030204" pitchFamily="34" charset="0"/>
                  </a:rPr>
                  <a:t>млрд </a:t>
                </a:r>
                <a:r>
                  <a:rPr lang="ru-RU" baseline="0" dirty="0">
                    <a:latin typeface="Arial Narrow" panose="020B0606020202030204" pitchFamily="34" charset="0"/>
                  </a:rPr>
                  <a:t>руб.</a:t>
                </a:r>
                <a:endParaRPr lang="ru-RU" dirty="0">
                  <a:latin typeface="Arial Narrow" panose="020B0606020202030204" pitchFamily="34" charset="0"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 Narrow" panose="020B0606020202030204" pitchFamily="34" charset="0"/>
                  <a:ea typeface="+mn-ea"/>
                  <a:cs typeface="+mn-cs"/>
                </a:defRPr>
              </a:pPr>
              <a:endParaRPr lang="ru-RU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ru-RU"/>
          </a:p>
        </c:txPr>
        <c:crossAx val="12610320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  <c:userShapes r:id="rId4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ДФО!$A$2:$A$6</c:f>
              <c:strCache>
                <c:ptCount val="5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13.05.2019</c:v>
                </c:pt>
                <c:pt idx="4">
                  <c:v>План на 2019</c:v>
                </c:pt>
              </c:strCache>
            </c:strRef>
          </c:cat>
          <c:val>
            <c:numRef>
              <c:f>ДФО!$B$2:$B$6</c:f>
              <c:numCache>
                <c:formatCode>General</c:formatCode>
                <c:ptCount val="5"/>
                <c:pt idx="0">
                  <c:v>39.799999999999997</c:v>
                </c:pt>
                <c:pt idx="1">
                  <c:v>39.799999999999997</c:v>
                </c:pt>
                <c:pt idx="2">
                  <c:v>57.9</c:v>
                </c:pt>
                <c:pt idx="3">
                  <c:v>37.979999999999997</c:v>
                </c:pt>
                <c:pt idx="4">
                  <c:v>103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75A-49B9-89AE-989C192BC7B2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ДФО!$A$2:$A$6</c:f>
              <c:strCache>
                <c:ptCount val="5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13.05.2019</c:v>
                </c:pt>
                <c:pt idx="4">
                  <c:v>План на 2019</c:v>
                </c:pt>
              </c:strCache>
            </c:strRef>
          </c:cat>
          <c:val>
            <c:numRef>
              <c:f>ДФО!$C$2:$C$6</c:f>
              <c:numCache>
                <c:formatCode>General</c:formatCode>
                <c:ptCount val="5"/>
                <c:pt idx="0">
                  <c:v>0</c:v>
                </c:pt>
                <c:pt idx="1">
                  <c:v>18.100000000000001</c:v>
                </c:pt>
                <c:pt idx="2">
                  <c:v>45.4</c:v>
                </c:pt>
                <c:pt idx="3">
                  <c:v>0</c:v>
                </c:pt>
                <c:pt idx="4">
                  <c:v>34.3999999999999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75A-49B9-89AE-989C192BC7B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7"/>
        <c:overlap val="100"/>
        <c:axId val="-1042801520"/>
        <c:axId val="-1042800976"/>
      </c:barChart>
      <c:lineChart>
        <c:grouping val="standard"/>
        <c:varyColors val="0"/>
        <c:ser>
          <c:idx val="2"/>
          <c:order val="2"/>
          <c:spPr>
            <a:ln w="28575" cap="rnd">
              <a:noFill/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1.8904351878743701E-4"/>
                  <c:y val="-6.8692946992029852E-2"/>
                </c:manualLayout>
              </c:layout>
              <c:tx>
                <c:rich>
                  <a:bodyPr/>
                  <a:lstStyle/>
                  <a:p>
                    <a:fld id="{97986741-D6A8-49D1-A00C-C30520C3FFF2}" type="VALUE">
                      <a:rPr lang="en-US" sz="1050" b="1" baseline="0"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pPr/>
                      <a:t>[ЗНАЧЕНИЕ]</a:t>
                    </a:fld>
                    <a:endParaRPr lang="ru-RU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175A-49B9-89AE-989C192BC7B2}"/>
                </c:ext>
              </c:extLst>
            </c:dLbl>
            <c:dLbl>
              <c:idx val="1"/>
              <c:layout>
                <c:manualLayout>
                  <c:x val="5.127334184777203E-3"/>
                  <c:y val="-6.1655877060539092E-2"/>
                </c:manualLayout>
              </c:layout>
              <c:tx>
                <c:rich>
                  <a:bodyPr/>
                  <a:lstStyle/>
                  <a:p>
                    <a:fld id="{812B5863-F4C4-42DB-8D5D-D91E6E8FBF8F}" type="VALUE">
                      <a:rPr lang="en-US" sz="1050" b="1" baseline="0"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pPr/>
                      <a:t>[ЗНАЧЕНИЕ]</a:t>
                    </a:fld>
                    <a:endParaRPr lang="ru-RU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175A-49B9-89AE-989C192BC7B2}"/>
                </c:ext>
              </c:extLst>
            </c:dLbl>
            <c:dLbl>
              <c:idx val="2"/>
              <c:layout>
                <c:manualLayout>
                  <c:x val="9.8765813319793647E-3"/>
                  <c:y val="-4.9977715134120825E-2"/>
                </c:manualLayout>
              </c:layout>
              <c:tx>
                <c:rich>
                  <a:bodyPr/>
                  <a:lstStyle/>
                  <a:p>
                    <a:fld id="{5FF4E45C-DDB7-447E-B626-C432D8C62C97}" type="VALUE">
                      <a:rPr lang="en-US" sz="1050" b="1" baseline="0"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pPr/>
                      <a:t>[ЗНАЧЕНИЕ]</a:t>
                    </a:fld>
                    <a:endParaRPr lang="ru-RU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4-175A-49B9-89AE-989C192BC7B2}"/>
                </c:ext>
              </c:extLst>
            </c:dLbl>
            <c:dLbl>
              <c:idx val="3"/>
              <c:layout>
                <c:manualLayout>
                  <c:x val="7.4074074074074077E-3"/>
                  <c:y val="-4.2431655094124512E-2"/>
                </c:manualLayout>
              </c:layout>
              <c:tx>
                <c:rich>
                  <a:bodyPr/>
                  <a:lstStyle/>
                  <a:p>
                    <a:fld id="{F40EEF3F-090E-4479-AF28-DC88EC0E4C5B}" type="VALUE">
                      <a:rPr lang="en-US" sz="1050" b="1" baseline="0"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pPr/>
                      <a:t>[ЗНАЧЕНИЕ]</a:t>
                    </a:fld>
                    <a:endParaRPr lang="ru-RU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175A-49B9-89AE-989C192BC7B2}"/>
                </c:ext>
              </c:extLst>
            </c:dLbl>
            <c:dLbl>
              <c:idx val="4"/>
              <c:layout>
                <c:manualLayout>
                  <c:x val="4.9382906659897249E-3"/>
                  <c:y val="-5.4619212677107919E-2"/>
                </c:manualLayout>
              </c:layout>
              <c:tx>
                <c:rich>
                  <a:bodyPr/>
                  <a:lstStyle/>
                  <a:p>
                    <a:fld id="{6CBD26D2-14D9-4459-89A9-AC1583A82E8F}" type="VALUE">
                      <a:rPr lang="en-US" sz="1050" b="1" baseline="0"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pPr/>
                      <a:t>[ЗНАЧЕНИЕ]</a:t>
                    </a:fld>
                    <a:endParaRPr lang="ru-RU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 xmlns:c15="http://schemas.microsoft.com/office/drawing/2012/chart"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6-175A-49B9-89AE-989C192BC7B2}"/>
                </c:ext>
              </c:extLst>
            </c:dLbl>
            <c:spPr>
              <a:solidFill>
                <a:sysClr val="window" lastClr="FFFFFF"/>
              </a:solidFill>
              <a:ln>
                <a:solidFill>
                  <a:sysClr val="windowText" lastClr="000000">
                    <a:lumMod val="25000"/>
                    <a:lumOff val="75000"/>
                    <a:alpha val="0"/>
                  </a:sysClr>
                </a:solidFill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dk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wedgeRectCallout">
                    <a:avLst/>
                  </a:prstGeom>
                  <a:noFill/>
                  <a:ln>
                    <a:noFill/>
                  </a:ln>
                </c15:spPr>
                <c15:showLeaderLines val="0"/>
              </c:ext>
            </c:extLst>
          </c:dLbls>
          <c:cat>
            <c:strRef>
              <c:f>ДФО!$A$2:$A$8</c:f>
              <c:strCache>
                <c:ptCount val="5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13.05.2019</c:v>
                </c:pt>
                <c:pt idx="4">
                  <c:v>План на 2019</c:v>
                </c:pt>
              </c:strCache>
            </c:strRef>
          </c:cat>
          <c:val>
            <c:numRef>
              <c:f>ДФО!$D$2:$D$8</c:f>
              <c:numCache>
                <c:formatCode>General</c:formatCode>
                <c:ptCount val="5"/>
                <c:pt idx="0">
                  <c:v>39.799999999999997</c:v>
                </c:pt>
                <c:pt idx="1">
                  <c:v>57.9</c:v>
                </c:pt>
                <c:pt idx="2">
                  <c:v>103.3</c:v>
                </c:pt>
                <c:pt idx="3">
                  <c:v>37.979999999999997</c:v>
                </c:pt>
                <c:pt idx="4">
                  <c:v>137.6999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175A-49B9-89AE-989C192BC7B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1042801520"/>
        <c:axId val="-1042800976"/>
      </c:lineChart>
      <c:catAx>
        <c:axId val="-104280152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-1042800976"/>
        <c:crosses val="autoZero"/>
        <c:auto val="1"/>
        <c:lblAlgn val="ctr"/>
        <c:lblOffset val="100"/>
        <c:noMultiLvlLbl val="0"/>
      </c:catAx>
      <c:valAx>
        <c:axId val="-104280097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/>
                  <a:t>Объем</a:t>
                </a:r>
                <a:r>
                  <a:rPr lang="ru-RU" baseline="0"/>
                  <a:t> закупок, млрд руб.</a:t>
                </a:r>
                <a:endParaRPr lang="ru-RU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-10428015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СКФО!$A$2:$A$6</c:f>
              <c:strCache>
                <c:ptCount val="5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13.05.2019</c:v>
                </c:pt>
                <c:pt idx="4">
                  <c:v>План на 2019</c:v>
                </c:pt>
              </c:strCache>
            </c:strRef>
          </c:cat>
          <c:val>
            <c:numRef>
              <c:f>СКФО!$B$2:$B$6</c:f>
              <c:numCache>
                <c:formatCode>General</c:formatCode>
                <c:ptCount val="5"/>
                <c:pt idx="0">
                  <c:v>4.97</c:v>
                </c:pt>
                <c:pt idx="1">
                  <c:v>3.48</c:v>
                </c:pt>
                <c:pt idx="2">
                  <c:v>4</c:v>
                </c:pt>
                <c:pt idx="3">
                  <c:v>4.1100000000000003</c:v>
                </c:pt>
                <c:pt idx="4" formatCode="#\ ##0.0_ ;[Red]\-#\ ##0.0\ 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830-42A1-A479-DE6C570711F7}"/>
            </c:ext>
          </c:extLst>
        </c:ser>
        <c:ser>
          <c:idx val="1"/>
          <c:order val="1"/>
          <c:spPr>
            <a:solidFill>
              <a:srgbClr val="33CC33"/>
            </a:solidFill>
            <a:ln>
              <a:noFill/>
            </a:ln>
            <a:effectLst/>
          </c:spPr>
          <c:invertIfNegative val="0"/>
          <c:cat>
            <c:strRef>
              <c:f>СКФО!$A$2:$A$6</c:f>
              <c:strCache>
                <c:ptCount val="5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13.05.2019</c:v>
                </c:pt>
                <c:pt idx="4">
                  <c:v>План на 2019</c:v>
                </c:pt>
              </c:strCache>
            </c:strRef>
          </c:cat>
          <c:val>
            <c:numRef>
              <c:f>СКФО!$C$2:$C$6</c:f>
              <c:numCache>
                <c:formatCode>General</c:formatCode>
                <c:ptCount val="5"/>
                <c:pt idx="0">
                  <c:v>0</c:v>
                </c:pt>
                <c:pt idx="1">
                  <c:v>0</c:v>
                </c:pt>
                <c:pt idx="2">
                  <c:v>5.58</c:v>
                </c:pt>
                <c:pt idx="3">
                  <c:v>0</c:v>
                </c:pt>
                <c:pt idx="4" formatCode="#\ ##0.0_ ;[Red]\-#\ ##0.0\ 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830-42A1-A479-DE6C570711F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5"/>
        <c:overlap val="100"/>
        <c:axId val="1261041344"/>
        <c:axId val="1261044064"/>
      </c:barChart>
      <c:lineChart>
        <c:grouping val="standard"/>
        <c:varyColors val="0"/>
        <c:ser>
          <c:idx val="2"/>
          <c:order val="2"/>
          <c:spPr>
            <a:ln w="28575" cap="rnd">
              <a:noFill/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2.4692035446788664E-3"/>
                  <c:y val="-6.5834612997026823E-2"/>
                </c:manualLayout>
              </c:layout>
              <c:tx>
                <c:rich>
                  <a:bodyPr/>
                  <a:lstStyle/>
                  <a:p>
                    <a:fld id="{97986741-D6A8-49D1-A00C-C30520C3FFF2}" type="VALUE">
                      <a:rPr lang="en-US" sz="1050" b="1" baseline="0"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pPr/>
                      <a:t>[ЗНАЧЕНИЕ]</a:t>
                    </a:fld>
                    <a:endParaRPr lang="ru-RU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7830-42A1-A479-DE6C570711F7}"/>
                </c:ext>
              </c:extLst>
            </c:dLbl>
            <c:dLbl>
              <c:idx val="1"/>
              <c:layout>
                <c:manualLayout>
                  <c:x val="7.4074277300702415E-3"/>
                  <c:y val="-6.9098790037137481E-2"/>
                </c:manualLayout>
              </c:layout>
              <c:tx>
                <c:rich>
                  <a:bodyPr/>
                  <a:lstStyle/>
                  <a:p>
                    <a:fld id="{812B5863-F4C4-42DB-8D5D-D91E6E8FBF8F}" type="VALUE">
                      <a:rPr lang="en-US" sz="1050" b="1" baseline="0"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pPr/>
                      <a:t>[ЗНАЧЕНИЕ]</a:t>
                    </a:fld>
                    <a:endParaRPr lang="ru-RU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7830-42A1-A479-DE6C570711F7}"/>
                </c:ext>
              </c:extLst>
            </c:dLbl>
            <c:dLbl>
              <c:idx val="2"/>
              <c:layout>
                <c:manualLayout>
                  <c:x val="4.9365597592983722E-2"/>
                  <c:y val="1.4884176822295541E-2"/>
                </c:manualLayout>
              </c:layout>
              <c:tx>
                <c:rich>
                  <a:bodyPr rot="0" spcFirstLastPara="1" vertOverflow="clip" horzOverflow="clip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200" b="1" i="0" u="none" strike="noStrike" kern="1200" baseline="0">
                        <a:solidFill>
                          <a:schemeClr val="dk1">
                            <a:lumMod val="65000"/>
                            <a:lumOff val="35000"/>
                          </a:schemeClr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defRPr>
                    </a:pPr>
                    <a:fld id="{5FF4E45C-DDB7-447E-B626-C432D8C62C97}" type="VALUE">
                      <a:rPr lang="en-US" sz="1050" b="1" baseline="0"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pPr>
                        <a:defRPr sz="1200" b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defRPr>
                      </a:pPr>
                      <a:t>[ЗНАЧЕНИЕ]</a:t>
                    </a:fld>
                    <a:endParaRPr lang="ru-RU"/>
                  </a:p>
                </c:rich>
              </c:tx>
              <c:spPr>
                <a:noFill/>
                <a:ln>
                  <a:solidFill>
                    <a:sysClr val="windowText" lastClr="000000">
                      <a:lumMod val="25000"/>
                      <a:lumOff val="75000"/>
                      <a:alpha val="0"/>
                    </a:sysClr>
                  </a:solidFill>
                </a:ln>
                <a:effectLst/>
              </c:spPr>
              <c:txPr>
                <a:bodyPr rot="0" spcFirstLastPara="1" vertOverflow="clip" horzOverflow="clip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dk1">
                          <a:lumMod val="65000"/>
                          <a:lumOff val="35000"/>
                        </a:schemeClr>
                      </a:solidFill>
                      <a:effectLst/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lang="ru-RU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  <c15:layout/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4-7830-42A1-A479-DE6C570711F7}"/>
                </c:ext>
              </c:extLst>
            </c:dLbl>
            <c:dLbl>
              <c:idx val="3"/>
              <c:layout>
                <c:manualLayout>
                  <c:x val="7.4074074074074077E-3"/>
                  <c:y val="-4.2431655094124512E-2"/>
                </c:manualLayout>
              </c:layout>
              <c:tx>
                <c:rich>
                  <a:bodyPr/>
                  <a:lstStyle/>
                  <a:p>
                    <a:fld id="{F40EEF3F-090E-4479-AF28-DC88EC0E4C5B}" type="VALUE">
                      <a:rPr lang="en-US" sz="1050" b="1" baseline="0"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pPr/>
                      <a:t>[ЗНАЧЕНИЕ]</a:t>
                    </a:fld>
                    <a:endParaRPr lang="ru-RU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7830-42A1-A479-DE6C570711F7}"/>
                </c:ext>
              </c:extLst>
            </c:dLbl>
            <c:dLbl>
              <c:idx val="4"/>
              <c:layout>
                <c:manualLayout>
                  <c:x val="7.2611045570521492E-3"/>
                  <c:y val="-6.1297524531425271E-2"/>
                </c:manualLayout>
              </c:layout>
              <c:tx>
                <c:rich>
                  <a:bodyPr/>
                  <a:lstStyle/>
                  <a:p>
                    <a:fld id="{6CBD26D2-14D9-4459-89A9-AC1583A82E8F}" type="VALUE">
                      <a:rPr lang="en-US" sz="1050" b="1" baseline="0"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pPr/>
                      <a:t>[ЗНАЧЕНИЕ]</a:t>
                    </a:fld>
                    <a:endParaRPr lang="ru-RU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 xmlns:c15="http://schemas.microsoft.com/office/drawing/2012/chart"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6-7830-42A1-A479-DE6C570711F7}"/>
                </c:ext>
              </c:extLst>
            </c:dLbl>
            <c:spPr>
              <a:noFill/>
              <a:ln>
                <a:solidFill>
                  <a:sysClr val="windowText" lastClr="000000">
                    <a:lumMod val="25000"/>
                    <a:lumOff val="75000"/>
                    <a:alpha val="0"/>
                  </a:sysClr>
                </a:solidFill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dk1">
                        <a:lumMod val="65000"/>
                        <a:lumOff val="35000"/>
                      </a:schemeClr>
                    </a:solidFill>
                    <a:effectLst/>
                    <a:latin typeface="Arial Narrow" panose="020B060602020203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  <a:noFill/>
                  <a:ln>
                    <a:noFill/>
                  </a:ln>
                </c15:spPr>
                <c15:showLeaderLines val="0"/>
              </c:ext>
            </c:extLst>
          </c:dLbls>
          <c:cat>
            <c:strRef>
              <c:f>СКФО!$A$2:$A$6</c:f>
              <c:strCache>
                <c:ptCount val="5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13.05.2019</c:v>
                </c:pt>
                <c:pt idx="4">
                  <c:v>План на 2019</c:v>
                </c:pt>
              </c:strCache>
            </c:strRef>
          </c:cat>
          <c:val>
            <c:numRef>
              <c:f>СКФО!$D$2:$D$6</c:f>
              <c:numCache>
                <c:formatCode>General</c:formatCode>
                <c:ptCount val="5"/>
                <c:pt idx="0">
                  <c:v>4.97</c:v>
                </c:pt>
                <c:pt idx="1">
                  <c:v>3.48</c:v>
                </c:pt>
                <c:pt idx="2">
                  <c:v>9.58</c:v>
                </c:pt>
                <c:pt idx="3">
                  <c:v>4.1100000000000003</c:v>
                </c:pt>
                <c:pt idx="4" formatCode="#\ ##0.0_ ;[Red]\-#\ ##0.0\ 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7830-42A1-A479-DE6C570711F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261041344"/>
        <c:axId val="1261044064"/>
      </c:lineChart>
      <c:catAx>
        <c:axId val="126104134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ru-RU"/>
          </a:p>
        </c:txPr>
        <c:crossAx val="1261044064"/>
        <c:crosses val="autoZero"/>
        <c:auto val="1"/>
        <c:lblAlgn val="ctr"/>
        <c:lblOffset val="100"/>
        <c:noMultiLvlLbl val="0"/>
      </c:catAx>
      <c:valAx>
        <c:axId val="126104406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 Narrow" panose="020B0606020202030204" pitchFamily="34" charset="0"/>
                    <a:ea typeface="+mn-ea"/>
                    <a:cs typeface="+mn-cs"/>
                  </a:defRPr>
                </a:pPr>
                <a:r>
                  <a:rPr lang="ru-RU" baseline="0" dirty="0" smtClean="0">
                    <a:latin typeface="Arial Narrow" panose="020B0606020202030204" pitchFamily="34" charset="0"/>
                  </a:rPr>
                  <a:t>млрд </a:t>
                </a:r>
                <a:r>
                  <a:rPr lang="ru-RU" baseline="0" dirty="0">
                    <a:latin typeface="Arial Narrow" panose="020B0606020202030204" pitchFamily="34" charset="0"/>
                  </a:rPr>
                  <a:t>руб.</a:t>
                </a:r>
                <a:endParaRPr lang="ru-RU" dirty="0">
                  <a:latin typeface="Arial Narrow" panose="020B0606020202030204" pitchFamily="34" charset="0"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 Narrow" panose="020B0606020202030204" pitchFamily="34" charset="0"/>
                  <a:ea typeface="+mn-ea"/>
                  <a:cs typeface="+mn-cs"/>
                </a:defRPr>
              </a:pPr>
              <a:endParaRPr lang="ru-RU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ru-RU"/>
          </a:p>
        </c:txPr>
        <c:crossAx val="12610413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ДФО!$A$2:$A$6</c:f>
              <c:strCache>
                <c:ptCount val="5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13.05.2019</c:v>
                </c:pt>
                <c:pt idx="4">
                  <c:v>План на 2019</c:v>
                </c:pt>
              </c:strCache>
            </c:strRef>
          </c:cat>
          <c:val>
            <c:numRef>
              <c:f>СКФО!$B$2:$B$6</c:f>
              <c:numCache>
                <c:formatCode>General</c:formatCode>
                <c:ptCount val="5"/>
                <c:pt idx="0">
                  <c:v>7.31</c:v>
                </c:pt>
                <c:pt idx="1">
                  <c:v>7.31</c:v>
                </c:pt>
                <c:pt idx="2">
                  <c:v>15.75</c:v>
                </c:pt>
                <c:pt idx="3">
                  <c:v>8.44</c:v>
                </c:pt>
                <c:pt idx="4">
                  <c:v>35.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AD3-4029-9401-784612E64313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ДФО!$A$2:$A$6</c:f>
              <c:strCache>
                <c:ptCount val="5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13.05.2019</c:v>
                </c:pt>
                <c:pt idx="4">
                  <c:v>План на 2019</c:v>
                </c:pt>
              </c:strCache>
            </c:strRef>
          </c:cat>
          <c:val>
            <c:numRef>
              <c:f>СКФО!$C$2:$C$6</c:f>
              <c:numCache>
                <c:formatCode>General</c:formatCode>
                <c:ptCount val="5"/>
                <c:pt idx="0">
                  <c:v>0</c:v>
                </c:pt>
                <c:pt idx="1">
                  <c:v>8.4400000000000013</c:v>
                </c:pt>
                <c:pt idx="2">
                  <c:v>40.619999999999997</c:v>
                </c:pt>
                <c:pt idx="3">
                  <c:v>0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AD3-4029-9401-784612E6431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7"/>
        <c:overlap val="100"/>
        <c:axId val="-1042796080"/>
        <c:axId val="-1136443952"/>
      </c:barChart>
      <c:lineChart>
        <c:grouping val="standard"/>
        <c:varyColors val="0"/>
        <c:ser>
          <c:idx val="2"/>
          <c:order val="2"/>
          <c:spPr>
            <a:ln w="28575" cap="rnd">
              <a:noFill/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2.4692035446788664E-3"/>
                  <c:y val="-6.5834612997026823E-2"/>
                </c:manualLayout>
              </c:layout>
              <c:tx>
                <c:rich>
                  <a:bodyPr/>
                  <a:lstStyle/>
                  <a:p>
                    <a:fld id="{97986741-D6A8-49D1-A00C-C30520C3FFF2}" type="VALUE">
                      <a:rPr lang="en-US" sz="1050" b="1" baseline="0"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pPr/>
                      <a:t>[ЗНАЧЕНИЕ]</a:t>
                    </a:fld>
                    <a:endParaRPr lang="ru-RU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EAD3-4029-9401-784612E64313}"/>
                </c:ext>
              </c:extLst>
            </c:dLbl>
            <c:dLbl>
              <c:idx val="1"/>
              <c:layout>
                <c:manualLayout>
                  <c:x val="7.4074277300702415E-3"/>
                  <c:y val="-6.9098790037137481E-2"/>
                </c:manualLayout>
              </c:layout>
              <c:tx>
                <c:rich>
                  <a:bodyPr/>
                  <a:lstStyle/>
                  <a:p>
                    <a:fld id="{812B5863-F4C4-42DB-8D5D-D91E6E8FBF8F}" type="VALUE">
                      <a:rPr lang="en-US" sz="1050" b="1" baseline="0"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pPr/>
                      <a:t>[ЗНАЧЕНИЕ]</a:t>
                    </a:fld>
                    <a:endParaRPr lang="ru-RU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EAD3-4029-9401-784612E64313}"/>
                </c:ext>
              </c:extLst>
            </c:dLbl>
            <c:dLbl>
              <c:idx val="2"/>
              <c:layout>
                <c:manualLayout>
                  <c:x val="2.3813913504714349E-2"/>
                  <c:y val="1.4884176822295554E-2"/>
                </c:manualLayout>
              </c:layout>
              <c:tx>
                <c:rich>
                  <a:bodyPr/>
                  <a:lstStyle/>
                  <a:p>
                    <a:fld id="{5FF4E45C-DDB7-447E-B626-C432D8C62C97}" type="VALUE">
                      <a:rPr lang="en-US" sz="1050" b="1" baseline="0"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pPr/>
                      <a:t>[ЗНАЧЕНИЕ]</a:t>
                    </a:fld>
                    <a:endParaRPr lang="ru-RU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4-EAD3-4029-9401-784612E64313}"/>
                </c:ext>
              </c:extLst>
            </c:dLbl>
            <c:dLbl>
              <c:idx val="3"/>
              <c:layout>
                <c:manualLayout>
                  <c:x val="7.4074074074074077E-3"/>
                  <c:y val="-4.2431655094124512E-2"/>
                </c:manualLayout>
              </c:layout>
              <c:tx>
                <c:rich>
                  <a:bodyPr/>
                  <a:lstStyle/>
                  <a:p>
                    <a:fld id="{F40EEF3F-090E-4479-AF28-DC88EC0E4C5B}" type="VALUE">
                      <a:rPr lang="en-US" sz="1050" b="1" baseline="0"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pPr/>
                      <a:t>[ЗНАЧЕНИЕ]</a:t>
                    </a:fld>
                    <a:endParaRPr lang="ru-RU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EAD3-4029-9401-784612E64313}"/>
                </c:ext>
              </c:extLst>
            </c:dLbl>
            <c:dLbl>
              <c:idx val="4"/>
              <c:layout>
                <c:manualLayout>
                  <c:x val="7.2611045570521492E-3"/>
                  <c:y val="-6.1297524531425271E-2"/>
                </c:manualLayout>
              </c:layout>
              <c:tx>
                <c:rich>
                  <a:bodyPr/>
                  <a:lstStyle/>
                  <a:p>
                    <a:fld id="{6CBD26D2-14D9-4459-89A9-AC1583A82E8F}" type="VALUE">
                      <a:rPr lang="en-US" sz="1050" b="1" baseline="0"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pPr/>
                      <a:t>[ЗНАЧЕНИЕ]</a:t>
                    </a:fld>
                    <a:endParaRPr lang="ru-RU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 xmlns:c15="http://schemas.microsoft.com/office/drawing/2012/chart"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6-EAD3-4029-9401-784612E64313}"/>
                </c:ext>
              </c:extLst>
            </c:dLbl>
            <c:spPr>
              <a:solidFill>
                <a:sysClr val="window" lastClr="FFFFFF"/>
              </a:solidFill>
              <a:ln>
                <a:solidFill>
                  <a:sysClr val="windowText" lastClr="000000">
                    <a:lumMod val="25000"/>
                    <a:lumOff val="75000"/>
                    <a:alpha val="0"/>
                  </a:sysClr>
                </a:solidFill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dk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wedgeRectCallout">
                    <a:avLst/>
                  </a:prstGeom>
                  <a:noFill/>
                  <a:ln>
                    <a:noFill/>
                  </a:ln>
                </c15:spPr>
                <c15:showLeaderLines val="0"/>
              </c:ext>
            </c:extLst>
          </c:dLbls>
          <c:cat>
            <c:strRef>
              <c:f>ДФО!$A$2:$A$8</c:f>
              <c:strCache>
                <c:ptCount val="5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13.05.2019</c:v>
                </c:pt>
                <c:pt idx="4">
                  <c:v>План на 2019</c:v>
                </c:pt>
              </c:strCache>
            </c:strRef>
          </c:cat>
          <c:val>
            <c:numRef>
              <c:f>СКФО!$D$2:$D$8</c:f>
              <c:numCache>
                <c:formatCode>General</c:formatCode>
                <c:ptCount val="5"/>
                <c:pt idx="0">
                  <c:v>7.31</c:v>
                </c:pt>
                <c:pt idx="1">
                  <c:v>15.75</c:v>
                </c:pt>
                <c:pt idx="2">
                  <c:v>56.37</c:v>
                </c:pt>
                <c:pt idx="3">
                  <c:v>8.44</c:v>
                </c:pt>
                <c:pt idx="4">
                  <c:v>35.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EAD3-4029-9401-784612E6431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1042796080"/>
        <c:axId val="-1136443952"/>
      </c:lineChart>
      <c:catAx>
        <c:axId val="-104279608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-1136443952"/>
        <c:crosses val="autoZero"/>
        <c:auto val="1"/>
        <c:lblAlgn val="ctr"/>
        <c:lblOffset val="100"/>
        <c:noMultiLvlLbl val="0"/>
      </c:catAx>
      <c:valAx>
        <c:axId val="-113644395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/>
                  <a:t>Объем</a:t>
                </a:r>
                <a:r>
                  <a:rPr lang="ru-RU" baseline="0"/>
                  <a:t> закупок, млрд руб.</a:t>
                </a:r>
                <a:endParaRPr lang="ru-RU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-104279608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0" i="0" u="none" strike="noStrike" kern="1200" spc="0" baseline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defRPr>
            </a:pP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Структура </a:t>
            </a:r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обращений за</a:t>
            </a:r>
            <a:r>
              <a:rPr lang="ru-RU" sz="1600" b="1" baseline="0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2016-2018 гг. </a:t>
            </a:r>
            <a:r>
              <a:rPr lang="ru-RU" sz="1600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(по видам услуг)</a:t>
            </a:r>
            <a:endParaRPr lang="ru-RU" sz="1600" dirty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c:rich>
      </c:tx>
      <c:layout>
        <c:manualLayout>
          <c:xMode val="edge"/>
          <c:yMode val="edge"/>
          <c:x val="0.13811004216815803"/>
          <c:y val="1.409293513948538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spc="0" baseline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defRPr>
          </a:pPr>
          <a:endParaRPr lang="ru-RU"/>
        </a:p>
      </c:txPr>
    </c:title>
    <c:autoTitleDeleted val="0"/>
    <c:plotArea>
      <c:layout>
        <c:manualLayout>
          <c:layoutTarget val="inner"/>
          <c:xMode val="edge"/>
          <c:yMode val="edge"/>
          <c:x val="0.58880943072692093"/>
          <c:y val="0.16266909094742529"/>
          <c:w val="0.32669519587576062"/>
          <c:h val="0.52728633598389629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руктура обращений за услугами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534-4B77-951F-4B6E1F09C9C1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534-4B77-951F-4B6E1F09C9C1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D534-4B77-951F-4B6E1F09C9C1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D534-4B77-951F-4B6E1F09C9C1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D534-4B77-951F-4B6E1F09C9C1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D534-4B77-951F-4B6E1F09C9C1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D534-4B77-951F-4B6E1F09C9C1}"/>
              </c:ext>
            </c:extLst>
          </c:dPt>
          <c:dLbls>
            <c:dLbl>
              <c:idx val="0"/>
              <c:layout>
                <c:manualLayout>
                  <c:x val="1.406488246014999E-4"/>
                  <c:y val="1.1978994868562572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D534-4B77-951F-4B6E1F09C9C1}"/>
                </c:ext>
              </c:extLst>
            </c:dLbl>
            <c:dLbl>
              <c:idx val="1"/>
              <c:layout>
                <c:manualLayout>
                  <c:x val="6.8473043588619534E-3"/>
                  <c:y val="2.095380874056043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D534-4B77-951F-4B6E1F09C9C1}"/>
                </c:ext>
              </c:extLst>
            </c:dLbl>
            <c:dLbl>
              <c:idx val="2"/>
              <c:layout>
                <c:manualLayout>
                  <c:x val="5.6021101782998224E-3"/>
                  <c:y val="-1.9166946629666239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5-D534-4B77-951F-4B6E1F09C9C1}"/>
                </c:ext>
              </c:extLst>
            </c:dLbl>
            <c:dLbl>
              <c:idx val="3"/>
              <c:layout>
                <c:manualLayout>
                  <c:x val="3.0482921921787202E-2"/>
                  <c:y val="2.074546633328182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7-D534-4B77-951F-4B6E1F09C9C1}"/>
                </c:ext>
              </c:extLst>
            </c:dLbl>
            <c:dLbl>
              <c:idx val="4"/>
              <c:layout>
                <c:manualLayout>
                  <c:x val="-7.5803163926759102E-3"/>
                  <c:y val="1.094227639186460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9-D534-4B77-951F-4B6E1F09C9C1}"/>
                </c:ext>
              </c:extLst>
            </c:dLbl>
            <c:dLbl>
              <c:idx val="5"/>
              <c:layout>
                <c:manualLayout>
                  <c:x val="-2.877981511188665E-2"/>
                  <c:y val="-1.207969832241368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B-D534-4B77-951F-4B6E1F09C9C1}"/>
                </c:ext>
              </c:extLst>
            </c:dLbl>
            <c:dLbl>
              <c:idx val="6"/>
              <c:layout>
                <c:manualLayout>
                  <c:x val="7.9764797278544432E-3"/>
                  <c:y val="-3.500901476234955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D-D534-4B77-951F-4B6E1F09C9C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8</c:f>
              <c:strCache>
                <c:ptCount val="7"/>
                <c:pt idx="0">
                  <c:v>имущество</c:v>
                </c:pt>
                <c:pt idx="1">
                  <c:v>заказчики</c:v>
                </c:pt>
                <c:pt idx="2">
                  <c:v>финансы</c:v>
                </c:pt>
                <c:pt idx="3">
                  <c:v>обучение</c:v>
                </c:pt>
                <c:pt idx="4">
                  <c:v>номенклатура закупок</c:v>
                </c:pt>
                <c:pt idx="5">
                  <c:v>инфраструктура поддержки</c:v>
                </c:pt>
                <c:pt idx="6">
                  <c:v>регистрация на портале БН</c:v>
                </c:pt>
              </c:strCache>
            </c:strRef>
          </c:cat>
          <c:val>
            <c:numRef>
              <c:f>Лист1!$B$2:$B$8</c:f>
              <c:numCache>
                <c:formatCode>0.0%</c:formatCode>
                <c:ptCount val="7"/>
                <c:pt idx="0">
                  <c:v>0.20161563215340211</c:v>
                </c:pt>
                <c:pt idx="1">
                  <c:v>0.11747835318316027</c:v>
                </c:pt>
                <c:pt idx="2">
                  <c:v>0.1920097535082772</c:v>
                </c:pt>
                <c:pt idx="3">
                  <c:v>4.1809043559035267E-2</c:v>
                </c:pt>
                <c:pt idx="4">
                  <c:v>3.905550210662509E-2</c:v>
                </c:pt>
                <c:pt idx="5">
                  <c:v>5.3503300932223073E-2</c:v>
                </c:pt>
                <c:pt idx="6">
                  <c:v>0.354528414557276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D534-4B77-951F-4B6E1F09C9C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4.9649789141539293E-4"/>
          <c:y val="0.18090279675407522"/>
          <c:w val="0.56132104091908119"/>
          <c:h val="0.5654407385141884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4174770130178772"/>
          <c:y val="0.13471849952556708"/>
          <c:w val="0.36263584507410779"/>
          <c:h val="0.70678570843936939"/>
        </c:manualLayout>
      </c:layout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3BA-4A53-AD87-053A0022086D}"/>
              </c:ext>
            </c:extLst>
          </c:dPt>
          <c:dPt>
            <c:idx val="1"/>
            <c:bubble3D val="0"/>
            <c:spPr>
              <a:solidFill>
                <a:schemeClr val="accent1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3BA-4A53-AD87-053A0022086D}"/>
              </c:ext>
            </c:extLst>
          </c:dPt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b="1" dirty="0" smtClean="0"/>
                      <a:t>32%</a:t>
                    </a:r>
                    <a:endParaRPr lang="en-US" b="1" dirty="0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33BA-4A53-AD87-053A0022086D}"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68%</a:t>
                    </a:r>
                    <a:endParaRPr lang="en-US" dirty="0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33BA-4A53-AD87-053A0022086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B$53:$B$54</c:f>
              <c:strCache>
                <c:ptCount val="2"/>
                <c:pt idx="0">
                  <c:v>Объем оказанной поддержки экспортно ориентированных проектов</c:v>
                </c:pt>
                <c:pt idx="1">
                  <c:v>Объем оказанной поддержки импортозамещающих проектов</c:v>
                </c:pt>
              </c:strCache>
            </c:strRef>
          </c:cat>
          <c:val>
            <c:numRef>
              <c:f>Лист1!$C$53:$C$54</c:f>
              <c:numCache>
                <c:formatCode>#,##0</c:formatCode>
                <c:ptCount val="2"/>
                <c:pt idx="0">
                  <c:v>3398</c:v>
                </c:pt>
                <c:pt idx="1">
                  <c:v>8181.96300000000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3BA-4A53-AD87-053A0022086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8095829919851628"/>
          <c:y val="0.82338704878366131"/>
          <c:w val="0.603745602814594"/>
          <c:h val="0.1064450521359389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 Narrow" panose="020B0606020202030204" pitchFamily="34" charset="0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Arial Narrow" panose="020B0606020202030204" pitchFamily="34" charset="0"/>
        </a:defRPr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style1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4">
  <cs:axisTitle>
    <cs:lnRef idx="0"/>
    <cs:fillRef idx="0"/>
    <cs:effectRef idx="0"/>
    <cs:fontRef idx="minor">
      <a:schemeClr val="dk1">
        <a:lumMod val="65000"/>
        <a:lumOff val="35000"/>
      </a:schemeClr>
    </cs:fontRef>
    <cs:defRPr sz="900" b="1" kern="1200"/>
  </cs:axisTitle>
  <cs:categoryAxis>
    <cs:lnRef idx="0"/>
    <cs:fillRef idx="0"/>
    <cs:effectRef idx="0"/>
    <cs:fontRef idx="minor">
      <a:schemeClr val="dk1">
        <a:lumMod val="65000"/>
        <a:lumOff val="35000"/>
      </a:schemeClr>
    </cs:fontRef>
    <cs:defRPr sz="900" kern="1200">
      <a:effectLst/>
    </cs:defRPr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68000">
            <a:schemeClr val="lt1">
              <a:lumMod val="85000"/>
            </a:schemeClr>
          </a:gs>
          <a:gs pos="100000">
            <a:schemeClr val="lt1"/>
          </a:gs>
        </a:gsLst>
        <a:lin ang="5400000" scaled="1"/>
        <a:tileRect/>
      </a:grad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lt1"/>
    </cs:fontRef>
    <cs:spPr/>
    <cs:defRPr sz="100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solidFill>
        <a:schemeClr val="dk1">
          <a:lumMod val="65000"/>
          <a:lumOff val="35000"/>
          <a:alpha val="75000"/>
        </a:schemeClr>
      </a:solidFill>
    </cs:spPr>
    <cs:defRPr sz="100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100000">
            <a:schemeClr val="phClr">
              <a:lumMod val="84000"/>
            </a:schemeClr>
          </a:gs>
        </a:gsLst>
        <a:lin ang="5400000" scaled="1"/>
      </a:gradFill>
      <a:effectLst>
        <a:outerShdw blurRad="76200" dir="18900000" sy="23000" kx="-1200000" algn="bl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100000">
            <a:schemeClr val="phClr">
              <a:lumMod val="84000"/>
            </a:schemeClr>
          </a:gs>
        </a:gsLst>
        <a:lin ang="5400000" scaled="1"/>
      </a:gradFill>
      <a:effectLst>
        <a:outerShdw blurRad="76200" dir="18900000" sy="23000" kx="-1200000" algn="bl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gradFill>
          <a:gsLst>
            <a:gs pos="0">
              <a:schemeClr val="phClr"/>
            </a:gs>
            <a:gs pos="100000">
              <a:schemeClr val="phClr">
                <a:lumMod val="84000"/>
              </a:schemeClr>
            </a:gs>
          </a:gsLst>
          <a:lin ang="5400000" scaled="1"/>
        </a:gra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100000">
            <a:schemeClr val="phClr">
              <a:lumMod val="84000"/>
            </a:schemeClr>
          </a:gs>
        </a:gsLst>
        <a:lin ang="5400000" scaled="1"/>
      </a:gradFill>
      <a:effectLst>
        <a:outerShdw blurRad="76200" dir="18900000" sy="23000" kx="-1200000" algn="bl" rotWithShape="0">
          <a:prstClr val="black">
            <a:alpha val="20000"/>
          </a:prstClr>
        </a:outerShdw>
      </a:effectLst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65000"/>
        <a:lumOff val="35000"/>
      </a:schemeClr>
    </cs:fontRef>
    <cs:spPr>
      <a:ln w="9525">
        <a:solidFill>
          <a:schemeClr val="dk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35000"/>
          <a:lumOff val="65000"/>
        </a:schemeClr>
      </a:solidFill>
      <a:ln w="9525">
        <a:solidFill>
          <a:schemeClr val="dk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dk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65000"/>
        <a:lumOff val="35000"/>
      </a:schemeClr>
    </cs:fontRef>
    <cs:defRPr kern="1200">
      <a:effectLst/>
    </cs:defRPr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>
          <a:lumMod val="95000"/>
        </a:schemeClr>
      </a:solidFill>
      <a:ln w="9525">
        <a:solidFill>
          <a:schemeClr val="dk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drawing1.xml.rels><?xml version="1.0" encoding="UTF-8" standalone="yes"?>
<Relationships xmlns="http://schemas.openxmlformats.org/package/2006/relationships"><Relationship Id="rId1" Type="http://schemas.openxmlformats.org/officeDocument/2006/relationships/image" Target="../media/image7.png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76905</cdr:x>
      <cdr:y>0.36189</cdr:y>
    </cdr:from>
    <cdr:to>
      <cdr:x>1</cdr:x>
      <cdr:y>0.59153</cdr:y>
    </cdr:to>
    <cdr:pic>
      <cdr:nvPicPr>
        <cdr:cNvPr id="2" name="chart"/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1"/>
        <a:stretch xmlns:a="http://schemas.openxmlformats.org/drawingml/2006/main">
          <a:fillRect/>
        </a:stretch>
      </cdr:blipFill>
      <cdr:spPr>
        <a:xfrm xmlns:a="http://schemas.openxmlformats.org/drawingml/2006/main">
          <a:off x="2131634" y="970328"/>
          <a:ext cx="640142" cy="615731"/>
        </a:xfrm>
        <a:prstGeom xmlns:a="http://schemas.openxmlformats.org/drawingml/2006/main" prst="rect">
          <a:avLst/>
        </a:prstGeom>
      </cdr:spPr>
    </cdr:pic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48387</cdr:x>
      <cdr:y>0.35428</cdr:y>
    </cdr:from>
    <cdr:to>
      <cdr:x>0.59331</cdr:x>
      <cdr:y>0.4616</cdr:y>
    </cdr:to>
    <cdr:sp macro="" textlink="">
      <cdr:nvSpPr>
        <cdr:cNvPr id="2" name="TextBox 82"/>
        <cdr:cNvSpPr txBox="1"/>
      </cdr:nvSpPr>
      <cdr:spPr>
        <a:xfrm xmlns:a="http://schemas.openxmlformats.org/drawingml/2006/main">
          <a:off x="2650448" y="812798"/>
          <a:ext cx="599521" cy="246221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en-US"/>
          </a:defPPr>
          <a:lvl1pPr marL="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marL="0" marR="0" lvl="0" indent="0" algn="ctr" defTabSz="4572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kumimoji="0" lang="ru-RU" sz="1000" b="1" i="0" u="none" strike="noStrike" kern="120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196,4</a:t>
          </a:r>
          <a:r>
            <a:rPr kumimoji="0" lang="en-US" sz="1000" b="1" i="0" u="none" strike="noStrike" kern="120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%</a:t>
          </a:r>
          <a:endParaRPr kumimoji="0" lang="ru-RU" sz="1000" b="1" i="0" u="none" strike="noStrike" kern="1200" cap="none" spc="0" normalizeH="0" baseline="0" noProof="0" dirty="0">
            <a:ln>
              <a:noFill/>
            </a:ln>
            <a:solidFill>
              <a:prstClr val="white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uLnTx/>
            <a:uFillTx/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84332</cdr:x>
      <cdr:y>0.29154</cdr:y>
    </cdr:from>
    <cdr:to>
      <cdr:x>1</cdr:x>
      <cdr:y>0.88194</cdr:y>
    </cdr:to>
    <cdr:grpSp>
      <cdr:nvGrpSpPr>
        <cdr:cNvPr id="2" name="Группа 1"/>
        <cdr:cNvGrpSpPr/>
      </cdr:nvGrpSpPr>
      <cdr:grpSpPr>
        <a:xfrm xmlns:a="http://schemas.openxmlformats.org/drawingml/2006/main">
          <a:off x="3855659" y="799753"/>
          <a:ext cx="716341" cy="1619585"/>
          <a:chOff x="18688497" y="1672891"/>
          <a:chExt cx="716344" cy="1514497"/>
        </a:xfrm>
      </cdr:grpSpPr>
      <cdr:sp macro="" textlink="">
        <cdr:nvSpPr>
          <cdr:cNvPr id="3" name="Правая фигурная скобка 2"/>
          <cdr:cNvSpPr/>
        </cdr:nvSpPr>
        <cdr:spPr>
          <a:xfrm xmlns:a="http://schemas.openxmlformats.org/drawingml/2006/main">
            <a:off x="18688497" y="1672891"/>
            <a:ext cx="339995" cy="1514497"/>
          </a:xfrm>
          <a:prstGeom xmlns:a="http://schemas.openxmlformats.org/drawingml/2006/main" prst="rightBrace">
            <a:avLst>
              <a:gd name="adj1" fmla="val 58760"/>
              <a:gd name="adj2" fmla="val 50000"/>
            </a:avLst>
          </a:prstGeom>
        </cdr:spPr>
        <cdr:style>
          <a:lnRef xmlns:a="http://schemas.openxmlformats.org/drawingml/2006/main" idx="1">
            <a:schemeClr val="accent1"/>
          </a:lnRef>
          <a:fillRef xmlns:a="http://schemas.openxmlformats.org/drawingml/2006/main" idx="0">
            <a:schemeClr val="accent1"/>
          </a:fillRef>
          <a:effectRef xmlns:a="http://schemas.openxmlformats.org/drawingml/2006/main" idx="0">
            <a:schemeClr val="accent1"/>
          </a:effectRef>
          <a:fontRef xmlns:a="http://schemas.openxmlformats.org/drawingml/2006/main" idx="minor">
            <a:schemeClr val="tx1"/>
          </a:fontRef>
        </cdr:style>
        <cdr:txBody>
          <a:bodyPr xmlns:a="http://schemas.openxmlformats.org/drawingml/2006/main" rtlCol="0" anchor="ctr"/>
          <a:lstStyle xmlns:a="http://schemas.openxmlformats.org/drawingml/2006/main"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 xmlns:a="http://schemas.openxmlformats.org/drawingml/2006/main">
            <a:pPr algn="ctr"/>
            <a:endParaRPr lang="ru-RU"/>
          </a:p>
        </cdr:txBody>
      </cdr:sp>
      <cdr:sp macro="" textlink="">
        <cdr:nvSpPr>
          <cdr:cNvPr id="4" name="TextBox 16"/>
          <cdr:cNvSpPr txBox="1"/>
        </cdr:nvSpPr>
        <cdr:spPr>
          <a:xfrm xmlns:a="http://schemas.openxmlformats.org/drawingml/2006/main">
            <a:off x="19004731" y="2309283"/>
            <a:ext cx="400110" cy="251471"/>
          </a:xfrm>
          <a:prstGeom xmlns:a="http://schemas.openxmlformats.org/drawingml/2006/main" prst="rect">
            <a:avLst/>
          </a:prstGeom>
          <a:noFill xmlns:a="http://schemas.openxmlformats.org/drawingml/2006/main"/>
        </cdr:spPr>
        <cdr:txBody>
          <a:bodyPr xmlns:a="http://schemas.openxmlformats.org/drawingml/2006/main" vert="horz" wrap="square" rtlCol="0">
            <a:spAutoFit/>
          </a:bodyPr>
          <a:lstStyle xmlns:a="http://schemas.openxmlformats.org/drawingml/2006/main"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 xmlns:a="http://schemas.openxmlformats.org/drawingml/2006/main">
            <a:r>
              <a:rPr lang="en-US" sz="1200" b="1" dirty="0" smtClean="0">
                <a:latin typeface="Arial Narrow" panose="020B0606020202030204" pitchFamily="34" charset="0"/>
              </a:rPr>
              <a:t>50</a:t>
            </a:r>
            <a:endParaRPr lang="ru-RU" sz="1200" b="1" dirty="0">
              <a:latin typeface="Arial Narrow" panose="020B0606020202030204" pitchFamily="34" charset="0"/>
            </a:endParaRPr>
          </a:p>
        </cdr:txBody>
      </cdr:sp>
    </cdr:grp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E1D71B2-C074-4B13-AB67-B32509399B4C}" type="datetimeFigureOut">
              <a:rPr lang="ru-RU" smtClean="0"/>
              <a:pPr/>
              <a:t>14.05.2019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4BA3FB5-6A54-469C-AF8A-E30B739F1A5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0793744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EA4A145-E748-45E6-9541-8C569DD64A20}" type="datetimeFigureOut">
              <a:rPr lang="ru-RU" smtClean="0"/>
              <a:pPr/>
              <a:t>14.05.2019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57263" y="1241425"/>
            <a:ext cx="4883150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4FF0B7-6C7A-444D-BC86-99C02D58423E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7813694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1pPr>
    <a:lvl2pPr marL="473934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2pPr>
    <a:lvl3pPr marL="947867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3pPr>
    <a:lvl4pPr marL="1421801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4pPr>
    <a:lvl5pPr marL="1895734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5pPr>
    <a:lvl6pPr marL="2369668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6pPr>
    <a:lvl7pPr marL="2843601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7pPr>
    <a:lvl8pPr marL="3317535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8pPr>
    <a:lvl9pPr marL="3791468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57263" y="1241425"/>
            <a:ext cx="4883150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4FF0B7-6C7A-444D-BC86-99C02D58423E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8071964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4FF0B7-6C7A-444D-BC86-99C02D58423E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4063779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CD061E6-0AAA-49F8-B74D-B24FEDCECDE1}" type="slidenum">
              <a:rPr kumimoji="0" lang="ru-RU" alt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ru-RU" alt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0668528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4FF0B7-6C7A-444D-BC86-99C02D58423E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609539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4FF0B7-6C7A-444D-BC86-99C02D58423E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7617458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4FF0B7-6C7A-444D-BC86-99C02D58423E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158902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57263" y="1241425"/>
            <a:ext cx="4883150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4FF0B7-6C7A-444D-BC86-99C02D58423E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725703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292475" y="850900"/>
            <a:ext cx="3341688" cy="22923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4FF0B7-6C7A-444D-BC86-99C02D58423E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3326876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292475" y="850900"/>
            <a:ext cx="3341688" cy="22923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4FF0B7-6C7A-444D-BC86-99C02D58423E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4524068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292475" y="850900"/>
            <a:ext cx="3341688" cy="22923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4FF0B7-6C7A-444D-BC86-99C02D58423E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3357606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57263" y="1241425"/>
            <a:ext cx="4883150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4FF0B7-6C7A-444D-BC86-99C02D58423E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5510448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AE1577-3A23-435E-8456-B20EE4B5C2CF}" type="slidenum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15554" name="Rectangle 7"/>
          <p:cNvSpPr txBox="1">
            <a:spLocks noGrp="1" noChangeArrowheads="1"/>
          </p:cNvSpPr>
          <p:nvPr/>
        </p:nvSpPr>
        <p:spPr bwMode="auto">
          <a:xfrm>
            <a:off x="3849690" y="9428712"/>
            <a:ext cx="2946400" cy="496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09" tIns="45704" rIns="91409" bIns="45704" anchor="b"/>
          <a:lstStyle>
            <a:lvl1pPr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B434C67-FE62-4AB2-B74E-CF3DBFFBEB76}" type="slidenum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81555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87388" y="746125"/>
            <a:ext cx="5427662" cy="3721100"/>
          </a:xfrm>
          <a:ln/>
        </p:spPr>
      </p:sp>
      <p:sp>
        <p:nvSpPr>
          <p:cNvPr id="181555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79452" y="4715953"/>
            <a:ext cx="5438775" cy="4466987"/>
          </a:xfrm>
        </p:spPr>
        <p:txBody>
          <a:bodyPr/>
          <a:lstStyle/>
          <a:p>
            <a:pPr marL="0" marR="0" lvl="0" indent="0" algn="l" defTabSz="9478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l" defTabSz="9478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l" defTabSz="9478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9362899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ru-RU" sz="1400" dirty="0" smtClean="0">
              <a:solidFill>
                <a:schemeClr val="bg1"/>
              </a:solidFill>
              <a:latin typeface="Arial Narrow" panose="020B0606020202030204" pitchFamily="34" charset="0"/>
            </a:endParaRPr>
          </a:p>
          <a:p>
            <a:r>
              <a:rPr lang="ru-RU" sz="140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 </a:t>
            </a:r>
            <a:endParaRPr lang="ru-RU" sz="140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4FF0B7-6C7A-444D-BC86-99C02D58423E}" type="slidenum">
              <a:rPr lang="ru-RU" smtClean="0"/>
              <a:pPr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7072429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Shape 106"/>
          <p:cNvSpPr txBox="1">
            <a:spLocks noGrp="1"/>
          </p:cNvSpPr>
          <p:nvPr>
            <p:ph type="body" idx="1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107" name="Shape 107"/>
          <p:cNvSpPr>
            <a:spLocks noGrp="1" noRot="1" noChangeAspect="1"/>
          </p:cNvSpPr>
          <p:nvPr>
            <p:ph type="sldImg" idx="2"/>
          </p:nvPr>
        </p:nvSpPr>
        <p:spPr>
          <a:xfrm>
            <a:off x="957263" y="1241425"/>
            <a:ext cx="4883150" cy="3349625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50543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44999" y="1414125"/>
            <a:ext cx="10709990" cy="3008266"/>
          </a:xfrm>
        </p:spPr>
        <p:txBody>
          <a:bodyPr anchor="b"/>
          <a:lstStyle>
            <a:lvl1pPr algn="ctr">
              <a:defRPr sz="756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74999" y="4538401"/>
            <a:ext cx="9449991" cy="2086184"/>
          </a:xfrm>
        </p:spPr>
        <p:txBody>
          <a:bodyPr/>
          <a:lstStyle>
            <a:lvl1pPr marL="0" indent="0" algn="ctr">
              <a:buNone/>
              <a:defRPr sz="3024"/>
            </a:lvl1pPr>
            <a:lvl2pPr marL="576072" indent="0" algn="ctr">
              <a:buNone/>
              <a:defRPr sz="2520"/>
            </a:lvl2pPr>
            <a:lvl3pPr marL="1152144" indent="0" algn="ctr">
              <a:buNone/>
              <a:defRPr sz="2268"/>
            </a:lvl3pPr>
            <a:lvl4pPr marL="1728216" indent="0" algn="ctr">
              <a:buNone/>
              <a:defRPr sz="2016"/>
            </a:lvl4pPr>
            <a:lvl5pPr marL="2304288" indent="0" algn="ctr">
              <a:buNone/>
              <a:defRPr sz="2016"/>
            </a:lvl5pPr>
            <a:lvl6pPr marL="2880360" indent="0" algn="ctr">
              <a:buNone/>
              <a:defRPr sz="2016"/>
            </a:lvl6pPr>
            <a:lvl7pPr marL="3456432" indent="0" algn="ctr">
              <a:buNone/>
              <a:defRPr sz="2016"/>
            </a:lvl7pPr>
            <a:lvl8pPr marL="4032504" indent="0" algn="ctr">
              <a:buNone/>
              <a:defRPr sz="2016"/>
            </a:lvl8pPr>
            <a:lvl9pPr marL="4608576" indent="0" algn="ctr">
              <a:buNone/>
              <a:defRPr sz="2016"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040C43-879B-42CC-8FDB-2630D1254683}" type="datetime1">
              <a:rPr lang="ru-RU" smtClean="0"/>
              <a:pPr/>
              <a:t>14.05.2019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957603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7F3DFF-D307-4F8E-9875-4A5F6FF1D4F5}" type="datetime1">
              <a:rPr lang="ru-RU" smtClean="0"/>
              <a:pPr/>
              <a:t>14.05.2019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1881848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016867" y="460041"/>
            <a:ext cx="2716872" cy="7322647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66250" y="460041"/>
            <a:ext cx="7993117" cy="7322647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C66C73-7750-4094-ADA8-4D18DC78749D}" type="datetime1">
              <a:rPr lang="ru-RU" smtClean="0"/>
              <a:pPr/>
              <a:t>14.05.2019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6921949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11866933" y="8257871"/>
            <a:ext cx="387770" cy="18174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0" marR="0" lvl="0" indent="0" algn="r" defTabSz="1093324" rtl="0" eaLnBrk="1" fontAlgn="base" latinLnBrk="0" hangingPunct="1">
              <a:lnSpc>
                <a:spcPts val="1434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1747F3F-2E8A-4EAB-A46A-01A88D87E637}" type="slidenum">
              <a:rPr kumimoji="0" lang="en-US" sz="1272" b="0" i="0" u="none" strike="noStrike" kern="1200" cap="none" spc="0" normalizeH="0" baseline="0" noProof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1093324" rtl="0" eaLnBrk="1" fontAlgn="base" latinLnBrk="0" hangingPunct="1">
                <a:lnSpc>
                  <a:spcPts val="1434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72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 bwMode="auto">
          <a:xfrm>
            <a:off x="3427288" y="152402"/>
            <a:ext cx="8827415" cy="6986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lnSpc>
                <a:spcPct val="100000"/>
              </a:lnSpc>
              <a:defRPr lang="en-US" sz="2400" kern="1200" dirty="0" smtClean="0">
                <a:solidFill>
                  <a:srgbClr val="1F4E79"/>
                </a:solidFill>
                <a:latin typeface="Arial Narrow" pitchFamily="34" charset="0"/>
                <a:ea typeface="+mn-ea"/>
                <a:cs typeface="+mn-cs"/>
              </a:defRPr>
            </a:lvl1pPr>
          </a:lstStyle>
          <a:p>
            <a:pPr marL="0" lvl="0" defTabSz="1163111" eaLnBrk="1" fontAlgn="auto" latinLnBrk="0" hangingPunct="1">
              <a:spcBef>
                <a:spcPts val="0"/>
              </a:spcBef>
              <a:spcAft>
                <a:spcPts val="0"/>
              </a:spcAft>
              <a:buNone/>
            </a:pPr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51350" y="1062099"/>
            <a:ext cx="11903353" cy="72573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>
                <a:solidFill>
                  <a:schemeClr val="tx1"/>
                </a:solidFill>
              </a:defRPr>
            </a:lvl2pPr>
            <a:lvl3pPr marL="242962" indent="0">
              <a:buNone/>
              <a:defRPr>
                <a:solidFill>
                  <a:schemeClr val="tx1"/>
                </a:solidFill>
              </a:defRPr>
            </a:lvl3pPr>
            <a:lvl4pPr marL="476432" indent="0">
              <a:buNone/>
              <a:defRPr>
                <a:solidFill>
                  <a:schemeClr val="tx1"/>
                </a:solidFill>
              </a:defRPr>
            </a:lvl4pPr>
            <a:lvl5pPr marL="719391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321430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721">
          <p15:clr>
            <a:srgbClr val="FBAE40"/>
          </p15:clr>
        </p15:guide>
        <p15:guide id="2" pos="3968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ятиугольник 10"/>
          <p:cNvSpPr/>
          <p:nvPr userDrawn="1"/>
        </p:nvSpPr>
        <p:spPr bwMode="auto">
          <a:xfrm>
            <a:off x="-987642" y="307270"/>
            <a:ext cx="987648" cy="230860"/>
          </a:xfrm>
          <a:prstGeom prst="homePlate">
            <a:avLst/>
          </a:prstGeom>
          <a:solidFill>
            <a:schemeClr val="bg2">
              <a:lumMod val="2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42373" tIns="0" rIns="0" bIns="0" numCol="1" rtlCol="0" anchor="ctr" anchorCtr="0" compatLnSpc="1">
            <a:prstTxWarp prst="textNoShape">
              <a:avLst/>
            </a:prstTxWarp>
          </a:bodyPr>
          <a:lstStyle/>
          <a:p>
            <a:pPr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Space before</a:t>
            </a:r>
            <a:endParaRPr lang="ru-RU" sz="1178" dirty="0" smtClean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17" name="AutoShape 12"/>
          <p:cNvSpPr>
            <a:spLocks noChangeArrowheads="1"/>
          </p:cNvSpPr>
          <p:nvPr userDrawn="1"/>
        </p:nvSpPr>
        <p:spPr bwMode="auto">
          <a:xfrm>
            <a:off x="-15918" y="8659113"/>
            <a:ext cx="882723" cy="284821"/>
          </a:xfrm>
          <a:prstGeom prst="upArrowCallout">
            <a:avLst>
              <a:gd name="adj1" fmla="val 36944"/>
              <a:gd name="adj2" fmla="val 29298"/>
              <a:gd name="adj3" fmla="val 25477"/>
              <a:gd name="adj4" fmla="val 74523"/>
            </a:avLst>
          </a:prstGeom>
          <a:solidFill>
            <a:schemeClr val="bg2">
              <a:lumMod val="2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Left indent</a:t>
            </a:r>
            <a:endParaRPr lang="en-AU" sz="1178" dirty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21" name="Пятиугольник 20"/>
          <p:cNvSpPr/>
          <p:nvPr userDrawn="1"/>
        </p:nvSpPr>
        <p:spPr bwMode="auto">
          <a:xfrm>
            <a:off x="-1003572" y="2030490"/>
            <a:ext cx="987648" cy="230860"/>
          </a:xfrm>
          <a:prstGeom prst="homePlat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42373" tIns="0" rIns="0" bIns="0" numCol="1" rtlCol="0" anchor="ctr" anchorCtr="0" compatLnSpc="1">
            <a:prstTxWarp prst="textNoShape">
              <a:avLst/>
            </a:prstTxWarp>
          </a:bodyPr>
          <a:lstStyle/>
          <a:p>
            <a:pPr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Placeholder</a:t>
            </a:r>
            <a:endParaRPr lang="ru-RU" sz="1178" dirty="0" smtClean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1" hasCustomPrompt="1"/>
          </p:nvPr>
        </p:nvSpPr>
        <p:spPr>
          <a:xfrm>
            <a:off x="7" y="1164689"/>
            <a:ext cx="11135345" cy="576896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426034" indent="0">
              <a:buNone/>
              <a:defRPr sz="2357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Enter your subheadline here</a:t>
            </a:r>
            <a:endParaRPr lang="ru-RU" dirty="0" smtClean="0"/>
          </a:p>
        </p:txBody>
      </p:sp>
      <p:sp>
        <p:nvSpPr>
          <p:cNvPr id="13" name="Заголовок 12"/>
          <p:cNvSpPr>
            <a:spLocks noGrp="1"/>
          </p:cNvSpPr>
          <p:nvPr>
            <p:ph type="title" hasCustomPrompt="1"/>
          </p:nvPr>
        </p:nvSpPr>
        <p:spPr>
          <a:xfrm>
            <a:off x="7" y="422706"/>
            <a:ext cx="11135345" cy="731100"/>
          </a:xfrm>
          <a:prstGeom prst="rect">
            <a:avLst/>
          </a:prstGeom>
        </p:spPr>
        <p:txBody>
          <a:bodyPr lIns="89904" tIns="0" rIns="91344" bIns="0" anchor="b" anchorCtr="0">
            <a:normAutofit/>
          </a:bodyPr>
          <a:lstStyle>
            <a:lvl1pPr>
              <a:defRPr sz="2592" b="1">
                <a:solidFill>
                  <a:srgbClr val="232323"/>
                </a:solidFill>
              </a:defRPr>
            </a:lvl1pPr>
          </a:lstStyle>
          <a:p>
            <a:r>
              <a:rPr lang="en-US" dirty="0" smtClean="0"/>
              <a:t>Enter your headline here</a:t>
            </a:r>
            <a:endParaRPr lang="ru-RU" dirty="0"/>
          </a:p>
        </p:txBody>
      </p:sp>
      <p:sp>
        <p:nvSpPr>
          <p:cNvPr id="33" name="Пятиугольник 32"/>
          <p:cNvSpPr/>
          <p:nvPr userDrawn="1"/>
        </p:nvSpPr>
        <p:spPr bwMode="auto">
          <a:xfrm>
            <a:off x="-987641" y="8120992"/>
            <a:ext cx="971728" cy="230860"/>
          </a:xfrm>
          <a:prstGeom prst="homePlate">
            <a:avLst/>
          </a:prstGeom>
          <a:solidFill>
            <a:schemeClr val="bg2">
              <a:lumMod val="2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42373" tIns="0" rIns="0" bIns="0" numCol="1" rtlCol="0" anchor="ctr" anchorCtr="0" compatLnSpc="1">
            <a:prstTxWarp prst="textNoShape">
              <a:avLst/>
            </a:prstTxWarp>
          </a:bodyPr>
          <a:lstStyle/>
          <a:p>
            <a:pPr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Space after</a:t>
            </a:r>
            <a:endParaRPr lang="ru-RU" sz="1178" dirty="0" smtClean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34" name="AutoShape 12"/>
          <p:cNvSpPr>
            <a:spLocks noChangeArrowheads="1"/>
          </p:cNvSpPr>
          <p:nvPr userDrawn="1"/>
        </p:nvSpPr>
        <p:spPr bwMode="auto">
          <a:xfrm>
            <a:off x="11719050" y="8661766"/>
            <a:ext cx="882723" cy="284821"/>
          </a:xfrm>
          <a:prstGeom prst="upArrowCallout">
            <a:avLst>
              <a:gd name="adj1" fmla="val 36944"/>
              <a:gd name="adj2" fmla="val 29298"/>
              <a:gd name="adj3" fmla="val 25477"/>
              <a:gd name="adj4" fmla="val 74523"/>
            </a:avLst>
          </a:prstGeom>
          <a:solidFill>
            <a:schemeClr val="bg2">
              <a:lumMod val="2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Right indent</a:t>
            </a:r>
            <a:endParaRPr lang="en-AU" sz="1178" dirty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36" name="AutoShape 12"/>
          <p:cNvSpPr>
            <a:spLocks noChangeArrowheads="1"/>
          </p:cNvSpPr>
          <p:nvPr userDrawn="1"/>
        </p:nvSpPr>
        <p:spPr bwMode="auto">
          <a:xfrm>
            <a:off x="1006442" y="8658342"/>
            <a:ext cx="882723" cy="284821"/>
          </a:xfrm>
          <a:prstGeom prst="upArrowCallout">
            <a:avLst>
              <a:gd name="adj1" fmla="val 36944"/>
              <a:gd name="adj2" fmla="val 29298"/>
              <a:gd name="adj3" fmla="val 25477"/>
              <a:gd name="adj4" fmla="val 74523"/>
            </a:avLst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Placeholder</a:t>
            </a:r>
            <a:endParaRPr lang="en-AU" sz="1178" dirty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37" name="AutoShape 12"/>
          <p:cNvSpPr>
            <a:spLocks noChangeArrowheads="1"/>
          </p:cNvSpPr>
          <p:nvPr userDrawn="1"/>
        </p:nvSpPr>
        <p:spPr bwMode="auto">
          <a:xfrm>
            <a:off x="10710825" y="8658342"/>
            <a:ext cx="882723" cy="284821"/>
          </a:xfrm>
          <a:prstGeom prst="upArrowCallout">
            <a:avLst>
              <a:gd name="adj1" fmla="val 36944"/>
              <a:gd name="adj2" fmla="val 29298"/>
              <a:gd name="adj3" fmla="val 25477"/>
              <a:gd name="adj4" fmla="val 74523"/>
            </a:avLst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Placeholder</a:t>
            </a:r>
            <a:endParaRPr lang="en-AU" sz="1178" dirty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19" name="Пятиугольник 18"/>
          <p:cNvSpPr/>
          <p:nvPr userDrawn="1"/>
        </p:nvSpPr>
        <p:spPr bwMode="auto">
          <a:xfrm>
            <a:off x="-1003571" y="7199196"/>
            <a:ext cx="987648" cy="230860"/>
          </a:xfrm>
          <a:prstGeom prst="homePlat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42373" tIns="0" rIns="0" bIns="0" numCol="1" rtlCol="0" anchor="ctr" anchorCtr="0" compatLnSpc="1">
            <a:prstTxWarp prst="textNoShape">
              <a:avLst/>
            </a:prstTxWarp>
          </a:bodyPr>
          <a:lstStyle/>
          <a:p>
            <a:pPr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Placeholder</a:t>
            </a:r>
            <a:endParaRPr lang="ru-RU" sz="1178" dirty="0" smtClean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25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11152188" y="7963674"/>
            <a:ext cx="1008225" cy="272742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defRPr lang="ru-RU" sz="1296" smtClean="0">
                <a:solidFill>
                  <a:schemeClr val="accent1"/>
                </a:solidFill>
              </a:defRPr>
            </a:lvl1pPr>
          </a:lstStyle>
          <a:p>
            <a:fld id="{BDBB2107-50E8-4020-A265-E2E05D6FF44D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4" name="Рисунок 1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21" b="12482"/>
          <a:stretch/>
        </p:blipFill>
        <p:spPr>
          <a:xfrm>
            <a:off x="66870" y="134021"/>
            <a:ext cx="1990739" cy="69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35583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FA5247-511B-41E2-ABBB-C6CCBFB02BFE}" type="datetime1">
              <a:rPr lang="ru-RU" smtClean="0"/>
              <a:pPr/>
              <a:t>14.05.2019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21" b="12482"/>
          <a:stretch/>
        </p:blipFill>
        <p:spPr>
          <a:xfrm>
            <a:off x="66870" y="134021"/>
            <a:ext cx="1990739" cy="69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387631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9687" y="2154193"/>
            <a:ext cx="10867490" cy="3594317"/>
          </a:xfrm>
        </p:spPr>
        <p:txBody>
          <a:bodyPr anchor="b"/>
          <a:lstStyle>
            <a:lvl1pPr>
              <a:defRPr sz="756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59687" y="5782513"/>
            <a:ext cx="10867490" cy="1890166"/>
          </a:xfrm>
        </p:spPr>
        <p:txBody>
          <a:bodyPr/>
          <a:lstStyle>
            <a:lvl1pPr marL="0" indent="0">
              <a:buNone/>
              <a:defRPr sz="3024">
                <a:solidFill>
                  <a:schemeClr val="tx1"/>
                </a:solidFill>
              </a:defRPr>
            </a:lvl1pPr>
            <a:lvl2pPr marL="576072" indent="0">
              <a:buNone/>
              <a:defRPr sz="2520">
                <a:solidFill>
                  <a:schemeClr val="tx1">
                    <a:tint val="75000"/>
                  </a:schemeClr>
                </a:solidFill>
              </a:defRPr>
            </a:lvl2pPr>
            <a:lvl3pPr marL="1152144" indent="0">
              <a:buNone/>
              <a:defRPr sz="2268">
                <a:solidFill>
                  <a:schemeClr val="tx1">
                    <a:tint val="75000"/>
                  </a:schemeClr>
                </a:solidFill>
              </a:defRPr>
            </a:lvl3pPr>
            <a:lvl4pPr marL="1728216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4pPr>
            <a:lvl5pPr marL="2304288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5pPr>
            <a:lvl6pPr marL="2880360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6pPr>
            <a:lvl7pPr marL="3456432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7pPr>
            <a:lvl8pPr marL="4032504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8pPr>
            <a:lvl9pPr marL="4608576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F9F57B-94BF-4336-845A-A8E9CE162161}" type="datetime1">
              <a:rPr lang="ru-RU" smtClean="0"/>
              <a:pPr/>
              <a:t>14.05.2019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1151408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66249" y="2300203"/>
            <a:ext cx="5354995" cy="548248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78744" y="2300203"/>
            <a:ext cx="5354995" cy="548248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765F3C-F060-4F67-BC1D-235895CA6ED7}" type="datetime1">
              <a:rPr lang="ru-RU" smtClean="0"/>
              <a:pPr/>
              <a:t>14.05.2019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90749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7890" y="460043"/>
            <a:ext cx="10867490" cy="167014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67892" y="2118188"/>
            <a:ext cx="5330385" cy="1038091"/>
          </a:xfrm>
        </p:spPr>
        <p:txBody>
          <a:bodyPr anchor="b"/>
          <a:lstStyle>
            <a:lvl1pPr marL="0" indent="0">
              <a:buNone/>
              <a:defRPr sz="3024" b="1"/>
            </a:lvl1pPr>
            <a:lvl2pPr marL="576072" indent="0">
              <a:buNone/>
              <a:defRPr sz="2520" b="1"/>
            </a:lvl2pPr>
            <a:lvl3pPr marL="1152144" indent="0">
              <a:buNone/>
              <a:defRPr sz="2268" b="1"/>
            </a:lvl3pPr>
            <a:lvl4pPr marL="1728216" indent="0">
              <a:buNone/>
              <a:defRPr sz="2016" b="1"/>
            </a:lvl4pPr>
            <a:lvl5pPr marL="2304288" indent="0">
              <a:buNone/>
              <a:defRPr sz="2016" b="1"/>
            </a:lvl5pPr>
            <a:lvl6pPr marL="2880360" indent="0">
              <a:buNone/>
              <a:defRPr sz="2016" b="1"/>
            </a:lvl6pPr>
            <a:lvl7pPr marL="3456432" indent="0">
              <a:buNone/>
              <a:defRPr sz="2016" b="1"/>
            </a:lvl7pPr>
            <a:lvl8pPr marL="4032504" indent="0">
              <a:buNone/>
              <a:defRPr sz="2016" b="1"/>
            </a:lvl8pPr>
            <a:lvl9pPr marL="4608576" indent="0">
              <a:buNone/>
              <a:defRPr sz="2016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67892" y="3156278"/>
            <a:ext cx="5330385" cy="464241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78745" y="2118188"/>
            <a:ext cx="5356636" cy="1038091"/>
          </a:xfrm>
        </p:spPr>
        <p:txBody>
          <a:bodyPr anchor="b"/>
          <a:lstStyle>
            <a:lvl1pPr marL="0" indent="0">
              <a:buNone/>
              <a:defRPr sz="3024" b="1"/>
            </a:lvl1pPr>
            <a:lvl2pPr marL="576072" indent="0">
              <a:buNone/>
              <a:defRPr sz="2520" b="1"/>
            </a:lvl2pPr>
            <a:lvl3pPr marL="1152144" indent="0">
              <a:buNone/>
              <a:defRPr sz="2268" b="1"/>
            </a:lvl3pPr>
            <a:lvl4pPr marL="1728216" indent="0">
              <a:buNone/>
              <a:defRPr sz="2016" b="1"/>
            </a:lvl4pPr>
            <a:lvl5pPr marL="2304288" indent="0">
              <a:buNone/>
              <a:defRPr sz="2016" b="1"/>
            </a:lvl5pPr>
            <a:lvl6pPr marL="2880360" indent="0">
              <a:buNone/>
              <a:defRPr sz="2016" b="1"/>
            </a:lvl6pPr>
            <a:lvl7pPr marL="3456432" indent="0">
              <a:buNone/>
              <a:defRPr sz="2016" b="1"/>
            </a:lvl7pPr>
            <a:lvl8pPr marL="4032504" indent="0">
              <a:buNone/>
              <a:defRPr sz="2016" b="1"/>
            </a:lvl8pPr>
            <a:lvl9pPr marL="4608576" indent="0">
              <a:buNone/>
              <a:defRPr sz="2016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78745" y="3156278"/>
            <a:ext cx="5356636" cy="464241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3B30D4-7B18-4B7F-9C63-7DF0D3EE8480}" type="datetime1">
              <a:rPr lang="ru-RU" smtClean="0"/>
              <a:pPr/>
              <a:t>14.05.2019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6418176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392788-76F0-4651-A844-1EB724AFF0A1}" type="datetime1">
              <a:rPr lang="ru-RU" smtClean="0"/>
              <a:pPr/>
              <a:t>14.05.2019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21" b="12482"/>
          <a:stretch/>
        </p:blipFill>
        <p:spPr>
          <a:xfrm>
            <a:off x="66870" y="134021"/>
            <a:ext cx="1990739" cy="69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79988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B77A7B-2CA9-461D-8DDA-32EDF7098AE9}" type="datetime1">
              <a:rPr lang="ru-RU" smtClean="0"/>
              <a:pPr/>
              <a:t>14.05.2019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21" b="12482"/>
          <a:stretch/>
        </p:blipFill>
        <p:spPr>
          <a:xfrm>
            <a:off x="66870" y="134021"/>
            <a:ext cx="1990739" cy="69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521122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7890" y="576051"/>
            <a:ext cx="4063824" cy="2016178"/>
          </a:xfrm>
        </p:spPr>
        <p:txBody>
          <a:bodyPr anchor="b"/>
          <a:lstStyle>
            <a:lvl1pPr>
              <a:defRPr sz="4032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56636" y="1244112"/>
            <a:ext cx="6378744" cy="6140542"/>
          </a:xfrm>
        </p:spPr>
        <p:txBody>
          <a:bodyPr/>
          <a:lstStyle>
            <a:lvl1pPr>
              <a:defRPr sz="4032"/>
            </a:lvl1pPr>
            <a:lvl2pPr>
              <a:defRPr sz="3528"/>
            </a:lvl2pPr>
            <a:lvl3pPr>
              <a:defRPr sz="3024"/>
            </a:lvl3pPr>
            <a:lvl4pPr>
              <a:defRPr sz="2520"/>
            </a:lvl4pPr>
            <a:lvl5pPr>
              <a:defRPr sz="2520"/>
            </a:lvl5pPr>
            <a:lvl6pPr>
              <a:defRPr sz="2520"/>
            </a:lvl6pPr>
            <a:lvl7pPr>
              <a:defRPr sz="2520"/>
            </a:lvl7pPr>
            <a:lvl8pPr>
              <a:defRPr sz="2520"/>
            </a:lvl8pPr>
            <a:lvl9pPr>
              <a:defRPr sz="252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67890" y="2592229"/>
            <a:ext cx="4063824" cy="4802425"/>
          </a:xfrm>
        </p:spPr>
        <p:txBody>
          <a:bodyPr/>
          <a:lstStyle>
            <a:lvl1pPr marL="0" indent="0">
              <a:buNone/>
              <a:defRPr sz="2016"/>
            </a:lvl1pPr>
            <a:lvl2pPr marL="576072" indent="0">
              <a:buNone/>
              <a:defRPr sz="1764"/>
            </a:lvl2pPr>
            <a:lvl3pPr marL="1152144" indent="0">
              <a:buNone/>
              <a:defRPr sz="1512"/>
            </a:lvl3pPr>
            <a:lvl4pPr marL="1728216" indent="0">
              <a:buNone/>
              <a:defRPr sz="1260"/>
            </a:lvl4pPr>
            <a:lvl5pPr marL="2304288" indent="0">
              <a:buNone/>
              <a:defRPr sz="1260"/>
            </a:lvl5pPr>
            <a:lvl6pPr marL="2880360" indent="0">
              <a:buNone/>
              <a:defRPr sz="1260"/>
            </a:lvl6pPr>
            <a:lvl7pPr marL="3456432" indent="0">
              <a:buNone/>
              <a:defRPr sz="1260"/>
            </a:lvl7pPr>
            <a:lvl8pPr marL="4032504" indent="0">
              <a:buNone/>
              <a:defRPr sz="1260"/>
            </a:lvl8pPr>
            <a:lvl9pPr marL="4608576" indent="0">
              <a:buNone/>
              <a:defRPr sz="126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3252CB-ADE7-4E5E-A2C0-C60ADB98DCF4}" type="datetime1">
              <a:rPr lang="ru-RU" smtClean="0"/>
              <a:pPr/>
              <a:t>14.05.2019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1690197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7890" y="576051"/>
            <a:ext cx="4063824" cy="2016178"/>
          </a:xfrm>
        </p:spPr>
        <p:txBody>
          <a:bodyPr anchor="b"/>
          <a:lstStyle>
            <a:lvl1pPr>
              <a:defRPr sz="4032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356636" y="1244112"/>
            <a:ext cx="6378744" cy="6140542"/>
          </a:xfrm>
        </p:spPr>
        <p:txBody>
          <a:bodyPr anchor="t"/>
          <a:lstStyle>
            <a:lvl1pPr marL="0" indent="0">
              <a:buNone/>
              <a:defRPr sz="4032"/>
            </a:lvl1pPr>
            <a:lvl2pPr marL="576072" indent="0">
              <a:buNone/>
              <a:defRPr sz="3528"/>
            </a:lvl2pPr>
            <a:lvl3pPr marL="1152144" indent="0">
              <a:buNone/>
              <a:defRPr sz="3024"/>
            </a:lvl3pPr>
            <a:lvl4pPr marL="1728216" indent="0">
              <a:buNone/>
              <a:defRPr sz="2520"/>
            </a:lvl4pPr>
            <a:lvl5pPr marL="2304288" indent="0">
              <a:buNone/>
              <a:defRPr sz="2520"/>
            </a:lvl5pPr>
            <a:lvl6pPr marL="2880360" indent="0">
              <a:buNone/>
              <a:defRPr sz="2520"/>
            </a:lvl6pPr>
            <a:lvl7pPr marL="3456432" indent="0">
              <a:buNone/>
              <a:defRPr sz="2520"/>
            </a:lvl7pPr>
            <a:lvl8pPr marL="4032504" indent="0">
              <a:buNone/>
              <a:defRPr sz="2520"/>
            </a:lvl8pPr>
            <a:lvl9pPr marL="4608576" indent="0">
              <a:buNone/>
              <a:defRPr sz="252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67890" y="2592229"/>
            <a:ext cx="4063824" cy="4802425"/>
          </a:xfrm>
        </p:spPr>
        <p:txBody>
          <a:bodyPr/>
          <a:lstStyle>
            <a:lvl1pPr marL="0" indent="0">
              <a:buNone/>
              <a:defRPr sz="2016"/>
            </a:lvl1pPr>
            <a:lvl2pPr marL="576072" indent="0">
              <a:buNone/>
              <a:defRPr sz="1764"/>
            </a:lvl2pPr>
            <a:lvl3pPr marL="1152144" indent="0">
              <a:buNone/>
              <a:defRPr sz="1512"/>
            </a:lvl3pPr>
            <a:lvl4pPr marL="1728216" indent="0">
              <a:buNone/>
              <a:defRPr sz="1260"/>
            </a:lvl4pPr>
            <a:lvl5pPr marL="2304288" indent="0">
              <a:buNone/>
              <a:defRPr sz="1260"/>
            </a:lvl5pPr>
            <a:lvl6pPr marL="2880360" indent="0">
              <a:buNone/>
              <a:defRPr sz="1260"/>
            </a:lvl6pPr>
            <a:lvl7pPr marL="3456432" indent="0">
              <a:buNone/>
              <a:defRPr sz="1260"/>
            </a:lvl7pPr>
            <a:lvl8pPr marL="4032504" indent="0">
              <a:buNone/>
              <a:defRPr sz="1260"/>
            </a:lvl8pPr>
            <a:lvl9pPr marL="4608576" indent="0">
              <a:buNone/>
              <a:defRPr sz="126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5BFDFF-166A-43FC-B297-94E615F04A11}" type="datetime1">
              <a:rPr lang="ru-RU" smtClean="0"/>
              <a:pPr/>
              <a:t>14.05.2019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729570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66249" y="460043"/>
            <a:ext cx="10867490" cy="167014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66249" y="2300203"/>
            <a:ext cx="10867490" cy="548248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66249" y="8008709"/>
            <a:ext cx="2834997" cy="4600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51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241E2D8-BE14-4FE6-A411-46A9A93785B2}" type="datetime1">
              <a:rPr lang="ru-RU" smtClean="0"/>
              <a:pPr/>
              <a:t>14.05.2019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73746" y="8008709"/>
            <a:ext cx="4252496" cy="4600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51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98742" y="8008709"/>
            <a:ext cx="2834997" cy="4600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1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674677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6" r:id="rId12"/>
    <p:sldLayoutId id="2147483702" r:id="rId13"/>
  </p:sldLayoutIdLst>
  <p:hf hdr="0" ftr="0" dt="0"/>
  <p:txStyles>
    <p:titleStyle>
      <a:lvl1pPr algn="l" defTabSz="1152144" rtl="0" eaLnBrk="1" latinLnBrk="0" hangingPunct="1">
        <a:lnSpc>
          <a:spcPct val="90000"/>
        </a:lnSpc>
        <a:spcBef>
          <a:spcPct val="0"/>
        </a:spcBef>
        <a:buNone/>
        <a:defRPr sz="5544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36" indent="-288036" algn="l" defTabSz="1152144" rtl="0" eaLnBrk="1" latinLnBrk="0" hangingPunct="1">
        <a:lnSpc>
          <a:spcPct val="90000"/>
        </a:lnSpc>
        <a:spcBef>
          <a:spcPts val="1260"/>
        </a:spcBef>
        <a:buFont typeface="Arial" panose="020B0604020202020204" pitchFamily="34" charset="0"/>
        <a:buChar char="•"/>
        <a:defRPr sz="3528" kern="1200">
          <a:solidFill>
            <a:schemeClr val="tx1"/>
          </a:solidFill>
          <a:latin typeface="+mn-lt"/>
          <a:ea typeface="+mn-ea"/>
          <a:cs typeface="+mn-cs"/>
        </a:defRPr>
      </a:lvl1pPr>
      <a:lvl2pPr marL="864108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3024" kern="1200">
          <a:solidFill>
            <a:schemeClr val="tx1"/>
          </a:solidFill>
          <a:latin typeface="+mn-lt"/>
          <a:ea typeface="+mn-ea"/>
          <a:cs typeface="+mn-cs"/>
        </a:defRPr>
      </a:lvl2pPr>
      <a:lvl3pPr marL="1440180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3pPr>
      <a:lvl4pPr marL="2016252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4pPr>
      <a:lvl5pPr marL="2592324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5pPr>
      <a:lvl6pPr marL="3168396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6pPr>
      <a:lvl7pPr marL="3744468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7pPr>
      <a:lvl8pPr marL="4320540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8pPr>
      <a:lvl9pPr marL="4896612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1pPr>
      <a:lvl2pPr marL="576072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2pPr>
      <a:lvl3pPr marL="1152144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3pPr>
      <a:lvl4pPr marL="1728216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4pPr>
      <a:lvl5pPr marL="2304288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5pPr>
      <a:lvl6pPr marL="2880360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6pPr>
      <a:lvl7pPr marL="3456432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7pPr>
      <a:lvl8pPr marL="4032504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8pPr>
      <a:lvl9pPr marL="4608576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hyperlink" Target="http://www.ruferma.ru/" TargetMode="External"/><Relationship Id="rId3" Type="http://schemas.openxmlformats.org/officeDocument/2006/relationships/image" Target="../media/image26.png"/><Relationship Id="rId7" Type="http://schemas.openxmlformats.org/officeDocument/2006/relationships/image" Target="../media/image3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9.png"/><Relationship Id="rId11" Type="http://schemas.openxmlformats.org/officeDocument/2006/relationships/image" Target="../media/image22.png"/><Relationship Id="rId5" Type="http://schemas.openxmlformats.org/officeDocument/2006/relationships/image" Target="../media/image28.png"/><Relationship Id="rId10" Type="http://schemas.openxmlformats.org/officeDocument/2006/relationships/image" Target="../media/image2.jpeg"/><Relationship Id="rId4" Type="http://schemas.openxmlformats.org/officeDocument/2006/relationships/image" Target="../media/image27.png"/><Relationship Id="rId9" Type="http://schemas.openxmlformats.org/officeDocument/2006/relationships/hyperlink" Target="http://www.agro-coop.ru/" TargetMode="Externa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13" Type="http://schemas.openxmlformats.org/officeDocument/2006/relationships/image" Target="../media/image41.jpeg"/><Relationship Id="rId3" Type="http://schemas.openxmlformats.org/officeDocument/2006/relationships/image" Target="../media/image31.png"/><Relationship Id="rId7" Type="http://schemas.openxmlformats.org/officeDocument/2006/relationships/image" Target="../media/image35.png"/><Relationship Id="rId12" Type="http://schemas.openxmlformats.org/officeDocument/2006/relationships/image" Target="../media/image40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4.jpeg"/><Relationship Id="rId11" Type="http://schemas.openxmlformats.org/officeDocument/2006/relationships/image" Target="../media/image39.png"/><Relationship Id="rId5" Type="http://schemas.openxmlformats.org/officeDocument/2006/relationships/image" Target="../media/image33.png"/><Relationship Id="rId15" Type="http://schemas.openxmlformats.org/officeDocument/2006/relationships/image" Target="../media/image2.jpeg"/><Relationship Id="rId10" Type="http://schemas.openxmlformats.org/officeDocument/2006/relationships/image" Target="../media/image38.png"/><Relationship Id="rId4" Type="http://schemas.openxmlformats.org/officeDocument/2006/relationships/image" Target="../media/image32.png"/><Relationship Id="rId9" Type="http://schemas.openxmlformats.org/officeDocument/2006/relationships/image" Target="../media/image37.png"/><Relationship Id="rId14" Type="http://schemas.openxmlformats.org/officeDocument/2006/relationships/image" Target="../media/image42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5" Type="http://schemas.openxmlformats.org/officeDocument/2006/relationships/chart" Target="../charts/chart5.xml"/><Relationship Id="rId4" Type="http://schemas.openxmlformats.org/officeDocument/2006/relationships/chart" Target="../charts/char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.xml"/><Relationship Id="rId5" Type="http://schemas.openxmlformats.org/officeDocument/2006/relationships/chart" Target="../charts/chart7.xml"/><Relationship Id="rId4" Type="http://schemas.openxmlformats.org/officeDocument/2006/relationships/chart" Target="../charts/chart6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13" Type="http://schemas.openxmlformats.org/officeDocument/2006/relationships/image" Target="../media/image52.png"/><Relationship Id="rId3" Type="http://schemas.openxmlformats.org/officeDocument/2006/relationships/image" Target="../media/image44.png"/><Relationship Id="rId7" Type="http://schemas.openxmlformats.org/officeDocument/2006/relationships/image" Target="../media/image47.png"/><Relationship Id="rId12" Type="http://schemas.microsoft.com/office/2007/relationships/hdphoto" Target="../media/hdphoto1.wdp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Relationship Id="rId6" Type="http://schemas.openxmlformats.org/officeDocument/2006/relationships/image" Target="../media/image46.png"/><Relationship Id="rId11" Type="http://schemas.openxmlformats.org/officeDocument/2006/relationships/image" Target="../media/image51.png"/><Relationship Id="rId5" Type="http://schemas.openxmlformats.org/officeDocument/2006/relationships/image" Target="../media/image2.jpeg"/><Relationship Id="rId10" Type="http://schemas.openxmlformats.org/officeDocument/2006/relationships/image" Target="../media/image50.png"/><Relationship Id="rId4" Type="http://schemas.openxmlformats.org/officeDocument/2006/relationships/image" Target="../media/image45.png"/><Relationship Id="rId9" Type="http://schemas.openxmlformats.org/officeDocument/2006/relationships/image" Target="../media/image49.jpeg"/><Relationship Id="rId14" Type="http://schemas.microsoft.com/office/2007/relationships/hdphoto" Target="../media/hdphoto2.wdp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.jpe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8.xml"/><Relationship Id="rId4" Type="http://schemas.openxmlformats.org/officeDocument/2006/relationships/image" Target="../media/image54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png"/><Relationship Id="rId3" Type="http://schemas.openxmlformats.org/officeDocument/2006/relationships/image" Target="../media/image55.png"/><Relationship Id="rId7" Type="http://schemas.openxmlformats.org/officeDocument/2006/relationships/image" Target="../media/image59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8.png"/><Relationship Id="rId5" Type="http://schemas.openxmlformats.org/officeDocument/2006/relationships/image" Target="../media/image57.gif"/><Relationship Id="rId4" Type="http://schemas.openxmlformats.org/officeDocument/2006/relationships/image" Target="../media/image56.png"/><Relationship Id="rId9" Type="http://schemas.openxmlformats.org/officeDocument/2006/relationships/image" Target="../media/image54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3" Type="http://schemas.openxmlformats.org/officeDocument/2006/relationships/image" Target="../media/image56.png"/><Relationship Id="rId7" Type="http://schemas.openxmlformats.org/officeDocument/2006/relationships/image" Target="../media/image2.jpeg"/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0.png"/><Relationship Id="rId5" Type="http://schemas.openxmlformats.org/officeDocument/2006/relationships/image" Target="../media/image59.jpeg"/><Relationship Id="rId10" Type="http://schemas.openxmlformats.org/officeDocument/2006/relationships/chart" Target="../charts/chart11.xml"/><Relationship Id="rId4" Type="http://schemas.openxmlformats.org/officeDocument/2006/relationships/image" Target="../media/image57.gif"/><Relationship Id="rId9" Type="http://schemas.openxmlformats.org/officeDocument/2006/relationships/chart" Target="../charts/chart10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7" Type="http://schemas.openxmlformats.org/officeDocument/2006/relationships/image" Target="../media/image6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63.png"/><Relationship Id="rId5" Type="http://schemas.openxmlformats.org/officeDocument/2006/relationships/image" Target="../media/image62.png"/><Relationship Id="rId4" Type="http://schemas.openxmlformats.org/officeDocument/2006/relationships/image" Target="../media/image61.png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7" Type="http://schemas.openxmlformats.org/officeDocument/2006/relationships/chart" Target="../charts/chart15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6" Type="http://schemas.openxmlformats.org/officeDocument/2006/relationships/chart" Target="../charts/chart14.xml"/><Relationship Id="rId5" Type="http://schemas.openxmlformats.org/officeDocument/2006/relationships/chart" Target="../charts/chart13.xml"/><Relationship Id="rId4" Type="http://schemas.openxmlformats.org/officeDocument/2006/relationships/chart" Target="../charts/char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5.png"/><Relationship Id="rId4" Type="http://schemas.openxmlformats.org/officeDocument/2006/relationships/image" Target="../media/image2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.jpe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image" Target="../media/image2.jpeg"/><Relationship Id="rId7" Type="http://schemas.openxmlformats.org/officeDocument/2006/relationships/image" Target="../media/image14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3.emf"/><Relationship Id="rId5" Type="http://schemas.openxmlformats.org/officeDocument/2006/relationships/image" Target="../media/image12.png"/><Relationship Id="rId4" Type="http://schemas.openxmlformats.org/officeDocument/2006/relationships/image" Target="../media/image11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emf"/><Relationship Id="rId3" Type="http://schemas.openxmlformats.org/officeDocument/2006/relationships/image" Target="../media/image2.jpeg"/><Relationship Id="rId7" Type="http://schemas.openxmlformats.org/officeDocument/2006/relationships/image" Target="../media/image17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6.emf"/><Relationship Id="rId5" Type="http://schemas.openxmlformats.org/officeDocument/2006/relationships/image" Target="../media/image15.emf"/><Relationship Id="rId4" Type="http://schemas.openxmlformats.org/officeDocument/2006/relationships/image" Target="../media/image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image" Target="../media/image2.jpeg"/><Relationship Id="rId7" Type="http://schemas.openxmlformats.org/officeDocument/2006/relationships/image" Target="../media/image2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5.emf"/><Relationship Id="rId5" Type="http://schemas.openxmlformats.org/officeDocument/2006/relationships/image" Target="../media/image2.jpeg"/><Relationship Id="rId4" Type="http://schemas.openxmlformats.org/officeDocument/2006/relationships/image" Target="../media/image2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205484" y="2940628"/>
            <a:ext cx="12599988" cy="3112964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endParaRPr lang="ru-RU" sz="3200" b="1" dirty="0" smtClean="0">
              <a:solidFill>
                <a:srgbClr val="002060"/>
              </a:solidFill>
              <a:latin typeface="Arial Narrow" panose="020B0606020202030204" pitchFamily="34" charset="0"/>
            </a:endParaRPr>
          </a:p>
          <a:p>
            <a:pPr algn="ctr"/>
            <a:r>
              <a:rPr lang="ru-RU" sz="3200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 Оказание поддержки</a:t>
            </a:r>
            <a:br>
              <a:rPr lang="ru-RU" sz="3200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</a:br>
            <a:r>
              <a:rPr lang="ru-RU" sz="3200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 субъектам малого и среднего предпринимательства</a:t>
            </a:r>
            <a:endParaRPr lang="ru-RU" sz="3200" b="1" dirty="0">
              <a:solidFill>
                <a:srgbClr val="002060"/>
              </a:solidFill>
              <a:latin typeface="Arial Narrow" panose="020B0606020202030204" pitchFamily="34" charset="0"/>
            </a:endParaRPr>
          </a:p>
          <a:p>
            <a:pPr algn="ctr"/>
            <a:r>
              <a:rPr lang="ru-RU" sz="3200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Корпорацией МСП в период 2015-2019 годов</a:t>
            </a:r>
            <a:endParaRPr lang="en-US" sz="3200" b="1" dirty="0" smtClean="0">
              <a:solidFill>
                <a:srgbClr val="002060"/>
              </a:solidFill>
              <a:latin typeface="Arial Narrow" panose="020B0606020202030204" pitchFamily="34" charset="0"/>
            </a:endParaRPr>
          </a:p>
          <a:p>
            <a:pPr algn="ctr"/>
            <a:endParaRPr lang="ru-RU" sz="2800" b="1" dirty="0" smtClean="0">
              <a:solidFill>
                <a:srgbClr val="002060"/>
              </a:solidFill>
              <a:latin typeface="Arial Narrow" panose="020B0606020202030204" pitchFamily="34" charset="0"/>
            </a:endParaRPr>
          </a:p>
          <a:p>
            <a:pPr algn="ctr"/>
            <a:r>
              <a:rPr lang="ru-RU" sz="2800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(по состоянию на 13.05.2019)</a:t>
            </a:r>
            <a:endParaRPr lang="en-US" sz="2800" b="1" dirty="0" smtClean="0">
              <a:solidFill>
                <a:srgbClr val="002060"/>
              </a:solidFill>
              <a:latin typeface="Arial Narrow" panose="020B0606020202030204" pitchFamily="34" charset="0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7656" y="229506"/>
            <a:ext cx="7091076" cy="2711122"/>
          </a:xfrm>
          <a:prstGeom prst="rect">
            <a:avLst/>
          </a:prstGeom>
        </p:spPr>
      </p:pic>
      <p:sp>
        <p:nvSpPr>
          <p:cNvPr id="2" name="Прямоугольник 1"/>
          <p:cNvSpPr/>
          <p:nvPr/>
        </p:nvSpPr>
        <p:spPr>
          <a:xfrm>
            <a:off x="5617283" y="8022709"/>
            <a:ext cx="146226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rgbClr val="002060"/>
                </a:solidFill>
                <a:latin typeface="Arial Narrow" panose="020B0606020202030204" pitchFamily="34" charset="0"/>
              </a:rPr>
              <a:t>Москва, </a:t>
            </a:r>
            <a:r>
              <a:rPr lang="ru-RU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2019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607749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3"/>
          <a:srcRect l="20385" t="15860" r="65917" b="76022"/>
          <a:stretch/>
        </p:blipFill>
        <p:spPr>
          <a:xfrm>
            <a:off x="4123001" y="1265676"/>
            <a:ext cx="3940705" cy="1313689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3771445" y="67437"/>
            <a:ext cx="8891713" cy="699029"/>
          </a:xfrm>
          <a:prstGeom prst="rect">
            <a:avLst/>
          </a:prstGeom>
          <a:noFill/>
        </p:spPr>
        <p:txBody>
          <a:bodyPr wrap="square" lIns="72000" tIns="36000" rIns="0" bIns="3600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1" dirty="0" smtClean="0">
                <a:solidFill>
                  <a:srgbClr val="1F4E79"/>
                </a:solidFill>
                <a:latin typeface="Arial Narrow" panose="020B0606020202030204" pitchFamily="34" charset="0"/>
              </a:rPr>
              <a:t>Сервисы Портала Бизнес-навигатора МСП</a:t>
            </a:r>
            <a:endParaRPr kumimoji="0" lang="ru-RU" sz="2000" b="1" i="0" u="none" strike="noStrike" kern="1200" cap="none" spc="0" normalizeH="0" baseline="0" noProof="0" dirty="0" smtClean="0">
              <a:ln>
                <a:noFill/>
              </a:ln>
              <a:solidFill>
                <a:srgbClr val="1F4E79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grpSp>
        <p:nvGrpSpPr>
          <p:cNvPr id="9" name="Группа 8"/>
          <p:cNvGrpSpPr/>
          <p:nvPr/>
        </p:nvGrpSpPr>
        <p:grpSpPr>
          <a:xfrm>
            <a:off x="266699" y="1003301"/>
            <a:ext cx="4240123" cy="4552788"/>
            <a:chOff x="374896" y="1144766"/>
            <a:chExt cx="4017464" cy="4597850"/>
          </a:xfrm>
        </p:grpSpPr>
        <p:sp>
          <p:nvSpPr>
            <p:cNvPr id="7" name="Скругленный прямоугольник 6"/>
            <p:cNvSpPr/>
            <p:nvPr/>
          </p:nvSpPr>
          <p:spPr>
            <a:xfrm>
              <a:off x="391693" y="1145975"/>
              <a:ext cx="3961216" cy="4596641"/>
            </a:xfrm>
            <a:prstGeom prst="roundRect">
              <a:avLst>
                <a:gd name="adj" fmla="val 2516"/>
              </a:avLst>
            </a:prstGeom>
            <a:noFill/>
            <a:ln>
              <a:solidFill>
                <a:srgbClr val="1F4E7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0" name="Скругленный прямоугольник 9"/>
            <p:cNvSpPr/>
            <p:nvPr/>
          </p:nvSpPr>
          <p:spPr>
            <a:xfrm>
              <a:off x="374896" y="1144766"/>
              <a:ext cx="4017464" cy="489653"/>
            </a:xfrm>
            <a:prstGeom prst="roundRect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chemeClr val="accent1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883425" y="1222678"/>
              <a:ext cx="281995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 algn="ctr" defTabSz="622300">
                <a:spcBef>
                  <a:spcPct val="0"/>
                </a:spcBef>
                <a:defRPr/>
              </a:pPr>
              <a:r>
                <a:rPr lang="ru-RU" b="1" dirty="0">
                  <a:solidFill>
                    <a:schemeClr val="bg1"/>
                  </a:solidFill>
                  <a:latin typeface="Arial Narrow" panose="020B0606020202030204" pitchFamily="34" charset="0"/>
                  <a:cs typeface="Arial" panose="020B0604020202020204" pitchFamily="34" charset="0"/>
                </a:rPr>
                <a:t>Расчёт бизнес-плана</a:t>
              </a: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484564" y="1698672"/>
              <a:ext cx="3907796" cy="39703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4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</a:rPr>
                <a:t>Бизнес-план типовой структуры, содержащий 12 разделов, соответствующих международным стандартам и требованиям банков:</a:t>
              </a:r>
            </a:p>
            <a:p>
              <a:r>
                <a:rPr lang="ru-RU" sz="14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</a:rPr>
                <a:t>	</a:t>
              </a:r>
              <a:r>
                <a:rPr lang="ru-RU" sz="14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</a:rPr>
                <a:t>1. Резюме</a:t>
              </a:r>
            </a:p>
            <a:p>
              <a:r>
                <a:rPr lang="ru-RU" sz="14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</a:rPr>
                <a:t>	2. Анализ рынка</a:t>
              </a:r>
            </a:p>
            <a:p>
              <a:r>
                <a:rPr lang="ru-RU" sz="14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</a:rPr>
                <a:t>	3. Маркетинговая стратегия</a:t>
              </a:r>
            </a:p>
            <a:p>
              <a:r>
                <a:rPr lang="ru-RU" sz="14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</a:rPr>
                <a:t>	4. Маркетинговый план</a:t>
              </a:r>
            </a:p>
            <a:p>
              <a:r>
                <a:rPr lang="ru-RU" sz="14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</a:rPr>
                <a:t>	5. План продаж</a:t>
              </a:r>
            </a:p>
            <a:p>
              <a:r>
                <a:rPr lang="ru-RU" sz="14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</a:rPr>
                <a:t>	6. Инвестиционная программа</a:t>
              </a:r>
            </a:p>
            <a:p>
              <a:r>
                <a:rPr lang="ru-RU" sz="14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</a:rPr>
                <a:t>	7. Потенциальные поставщики</a:t>
              </a:r>
            </a:p>
            <a:p>
              <a:r>
                <a:rPr lang="ru-RU" sz="14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</a:rPr>
                <a:t>	8. Персонал</a:t>
              </a:r>
            </a:p>
            <a:p>
              <a:r>
                <a:rPr lang="ru-RU" sz="14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</a:rPr>
                <a:t>	9. Операционные расходы</a:t>
              </a:r>
            </a:p>
            <a:p>
              <a:r>
                <a:rPr lang="ru-RU" sz="14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</a:rPr>
                <a:t>	10. Финансовый план</a:t>
              </a:r>
            </a:p>
            <a:p>
              <a:r>
                <a:rPr lang="ru-RU" sz="14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</a:rPr>
                <a:t>	11. Оценка рисков </a:t>
              </a:r>
            </a:p>
            <a:p>
              <a:r>
                <a:rPr lang="ru-RU" sz="14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</a:rPr>
                <a:t>	12. Список документов для рассмотрения </a:t>
              </a:r>
              <a:endParaRPr 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</a:endParaRPr>
            </a:p>
            <a:p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</a:rPr>
                <a:t>	</a:t>
              </a:r>
              <a:r>
                <a:rPr lang="ru-RU" sz="14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</a:rPr>
                <a:t>заявки</a:t>
              </a:r>
              <a:r>
                <a:rPr lang="en-US" sz="14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</a:rPr>
                <a:t> </a:t>
              </a:r>
              <a:r>
                <a:rPr lang="ru-RU" sz="14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</a:rPr>
                <a:t>на кредит</a:t>
              </a:r>
            </a:p>
            <a:p>
              <a:endParaRPr lang="ru-RU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</a:endParaRPr>
            </a:p>
            <a:p>
              <a:r>
                <a:rPr lang="en-US" sz="14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</a:rPr>
                <a:t>       </a:t>
              </a:r>
              <a:r>
                <a:rPr lang="ru-RU" sz="14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</a:rPr>
                <a:t>100 видов бизнеса</a:t>
              </a:r>
              <a:r>
                <a:rPr lang="en-US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</a:rPr>
                <a:t> </a:t>
              </a:r>
              <a:r>
                <a:rPr lang="en-US" sz="14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</a:rPr>
                <a:t>| </a:t>
              </a:r>
              <a:r>
                <a:rPr lang="ru-RU" sz="14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</a:rPr>
                <a:t>172 города России           </a:t>
              </a:r>
            </a:p>
          </p:txBody>
        </p:sp>
      </p:grpSp>
      <p:sp>
        <p:nvSpPr>
          <p:cNvPr id="18" name="TextBox 17"/>
          <p:cNvSpPr txBox="1"/>
          <p:nvPr/>
        </p:nvSpPr>
        <p:spPr>
          <a:xfrm>
            <a:off x="3642674" y="7085763"/>
            <a:ext cx="28199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 defTabSz="622300">
              <a:spcBef>
                <a:spcPct val="0"/>
              </a:spcBef>
              <a:defRPr/>
            </a:pPr>
            <a:r>
              <a:rPr lang="ru-RU" b="1" dirty="0" smtClean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Поиск мер поддержки</a:t>
            </a:r>
            <a:endParaRPr lang="ru-RU" b="1" dirty="0">
              <a:solidFill>
                <a:schemeClr val="bg1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6644269" y="1510262"/>
            <a:ext cx="28199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 defTabSz="622300">
              <a:spcBef>
                <a:spcPct val="0"/>
              </a:spcBef>
              <a:defRPr/>
            </a:pPr>
            <a:r>
              <a:rPr lang="ru-RU" b="1" dirty="0" smtClean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Подбор недвижимости</a:t>
            </a:r>
            <a:endParaRPr lang="ru-RU" b="1" dirty="0">
              <a:solidFill>
                <a:schemeClr val="bg1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pic>
        <p:nvPicPr>
          <p:cNvPr id="42" name="Рисунок 4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37811" y="6143169"/>
            <a:ext cx="2428611" cy="2065175"/>
          </a:xfrm>
          <a:prstGeom prst="rect">
            <a:avLst/>
          </a:prstGeom>
        </p:spPr>
      </p:pic>
      <p:grpSp>
        <p:nvGrpSpPr>
          <p:cNvPr id="8" name="Группа 7"/>
          <p:cNvGrpSpPr/>
          <p:nvPr/>
        </p:nvGrpSpPr>
        <p:grpSpPr>
          <a:xfrm>
            <a:off x="7875323" y="1002954"/>
            <a:ext cx="4470876" cy="1264470"/>
            <a:chOff x="336052" y="6653665"/>
            <a:chExt cx="4004920" cy="1387288"/>
          </a:xfrm>
        </p:grpSpPr>
        <p:sp>
          <p:nvSpPr>
            <p:cNvPr id="25" name="Скругленный прямоугольник 24"/>
            <p:cNvSpPr/>
            <p:nvPr/>
          </p:nvSpPr>
          <p:spPr>
            <a:xfrm>
              <a:off x="336052" y="6653665"/>
              <a:ext cx="3971607" cy="514619"/>
            </a:xfrm>
            <a:prstGeom prst="roundRect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chemeClr val="accent1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1012617" y="6723490"/>
              <a:ext cx="281995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 algn="ctr" defTabSz="622300">
                <a:spcBef>
                  <a:spcPct val="0"/>
                </a:spcBef>
                <a:defRPr/>
              </a:pPr>
              <a:r>
                <a:rPr lang="ru-RU" b="1" dirty="0" smtClean="0">
                  <a:solidFill>
                    <a:schemeClr val="bg1"/>
                  </a:solidFill>
                  <a:latin typeface="Arial Narrow" panose="020B0606020202030204" pitchFamily="34" charset="0"/>
                  <a:cs typeface="Arial" panose="020B0604020202020204" pitchFamily="34" charset="0"/>
                </a:rPr>
                <a:t>Проверка контрагента</a:t>
              </a:r>
              <a:endParaRPr lang="ru-RU" b="1" dirty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4" name="TextBox 53"/>
            <p:cNvSpPr txBox="1"/>
            <p:nvPr/>
          </p:nvSpPr>
          <p:spPr>
            <a:xfrm>
              <a:off x="342906" y="7230543"/>
              <a:ext cx="3998066" cy="8104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4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</a:rPr>
                <a:t>Анализ компании </a:t>
              </a:r>
              <a:r>
                <a:rPr lang="ru-RU" sz="14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</a:rPr>
                <a:t>по 12 параметрам</a:t>
              </a:r>
              <a:endParaRPr lang="en-US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</a:endParaRPr>
            </a:p>
            <a:p>
              <a:r>
                <a:rPr lang="ru-RU" sz="14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</a:rPr>
                <a:t>Более 24 000 000 компаний </a:t>
              </a:r>
              <a:r>
                <a:rPr lang="ru-RU" sz="14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</a:rPr>
                <a:t>для проверки в базе данных</a:t>
              </a:r>
              <a:endParaRPr 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</a:endParaRPr>
            </a:p>
            <a:p>
              <a:r>
                <a:rPr lang="ru-RU" sz="14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</a:rPr>
                <a:t>      </a:t>
              </a:r>
            </a:p>
          </p:txBody>
        </p:sp>
        <p:sp>
          <p:nvSpPr>
            <p:cNvPr id="56" name="Скругленный прямоугольник 55"/>
            <p:cNvSpPr/>
            <p:nvPr/>
          </p:nvSpPr>
          <p:spPr>
            <a:xfrm>
              <a:off x="349465" y="6674987"/>
              <a:ext cx="3957042" cy="1265223"/>
            </a:xfrm>
            <a:prstGeom prst="roundRect">
              <a:avLst>
                <a:gd name="adj" fmla="val 2516"/>
              </a:avLst>
            </a:prstGeom>
            <a:noFill/>
            <a:ln>
              <a:solidFill>
                <a:srgbClr val="1F4E7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57" name="Группа 56"/>
          <p:cNvGrpSpPr/>
          <p:nvPr/>
        </p:nvGrpSpPr>
        <p:grpSpPr>
          <a:xfrm>
            <a:off x="4600658" y="6802139"/>
            <a:ext cx="3115036" cy="2052557"/>
            <a:chOff x="345407" y="6653666"/>
            <a:chExt cx="3971607" cy="1592955"/>
          </a:xfrm>
        </p:grpSpPr>
        <p:sp>
          <p:nvSpPr>
            <p:cNvPr id="58" name="Скругленный прямоугольник 57"/>
            <p:cNvSpPr/>
            <p:nvPr/>
          </p:nvSpPr>
          <p:spPr>
            <a:xfrm>
              <a:off x="345407" y="6653666"/>
              <a:ext cx="3971607" cy="385529"/>
            </a:xfrm>
            <a:prstGeom prst="roundRect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chemeClr val="accent1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9" name="TextBox 58"/>
            <p:cNvSpPr txBox="1"/>
            <p:nvPr/>
          </p:nvSpPr>
          <p:spPr>
            <a:xfrm>
              <a:off x="1012617" y="6723490"/>
              <a:ext cx="2819955" cy="2866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 algn="ctr" defTabSz="622300">
                <a:spcBef>
                  <a:spcPct val="0"/>
                </a:spcBef>
                <a:defRPr/>
              </a:pPr>
              <a:r>
                <a:rPr lang="ru-RU" b="1" dirty="0" smtClean="0">
                  <a:solidFill>
                    <a:schemeClr val="bg1"/>
                  </a:solidFill>
                  <a:latin typeface="Arial Narrow" panose="020B0606020202030204" pitchFamily="34" charset="0"/>
                  <a:cs typeface="Arial" panose="020B0604020202020204" pitchFamily="34" charset="0"/>
                </a:rPr>
                <a:t>Поиск закупок</a:t>
              </a:r>
              <a:endParaRPr lang="ru-RU" b="1" dirty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0" name="TextBox 59"/>
            <p:cNvSpPr txBox="1"/>
            <p:nvPr/>
          </p:nvSpPr>
          <p:spPr>
            <a:xfrm>
              <a:off x="529821" y="7171749"/>
              <a:ext cx="3405109" cy="107487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4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</a:rPr>
                <a:t>Более</a:t>
              </a:r>
              <a:r>
                <a:rPr lang="ru-RU" sz="14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</a:rPr>
                <a:t> </a:t>
              </a:r>
              <a:r>
                <a:rPr lang="ru-RU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</a:rPr>
                <a:t>5 350 000 закупок</a:t>
              </a:r>
              <a:r>
                <a:rPr lang="ru-RU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</a:rPr>
                <a:t>, объявлений и планов закупки по </a:t>
              </a:r>
              <a:r>
                <a:rPr lang="ru-RU" sz="14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</a:rPr>
                <a:t>223-ФЗ </a:t>
              </a:r>
              <a:r>
                <a:rPr lang="ru-RU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</a:rPr>
                <a:t>и </a:t>
              </a:r>
              <a:r>
                <a:rPr lang="ru-RU" sz="14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</a:rPr>
                <a:t>44-ФЗ</a:t>
              </a:r>
              <a:endParaRPr lang="ru-RU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</a:endParaRPr>
            </a:p>
            <a:p>
              <a:endParaRPr lang="ru-RU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endParaRPr 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</a:endParaRPr>
            </a:p>
            <a:p>
              <a:r>
                <a:rPr lang="ru-RU" sz="14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</a:rPr>
                <a:t>      </a:t>
              </a:r>
            </a:p>
          </p:txBody>
        </p:sp>
        <p:sp>
          <p:nvSpPr>
            <p:cNvPr id="61" name="Скругленный прямоугольник 60"/>
            <p:cNvSpPr/>
            <p:nvPr/>
          </p:nvSpPr>
          <p:spPr>
            <a:xfrm>
              <a:off x="349465" y="6674987"/>
              <a:ext cx="3957042" cy="1127767"/>
            </a:xfrm>
            <a:prstGeom prst="roundRect">
              <a:avLst>
                <a:gd name="adj" fmla="val 2516"/>
              </a:avLst>
            </a:prstGeom>
            <a:noFill/>
            <a:ln>
              <a:solidFill>
                <a:srgbClr val="1F4E7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67" name="Группа 66"/>
          <p:cNvGrpSpPr/>
          <p:nvPr/>
        </p:nvGrpSpPr>
        <p:grpSpPr>
          <a:xfrm>
            <a:off x="7842404" y="5552478"/>
            <a:ext cx="4478395" cy="2727923"/>
            <a:chOff x="4799867" y="3700835"/>
            <a:chExt cx="3325521" cy="2522215"/>
          </a:xfrm>
        </p:grpSpPr>
        <p:sp>
          <p:nvSpPr>
            <p:cNvPr id="68" name="Скругленный прямоугольник 67"/>
            <p:cNvSpPr/>
            <p:nvPr/>
          </p:nvSpPr>
          <p:spPr>
            <a:xfrm>
              <a:off x="4799867" y="3700835"/>
              <a:ext cx="3325521" cy="496762"/>
            </a:xfrm>
            <a:prstGeom prst="roundRect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chemeClr val="accent1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9" name="TextBox 68"/>
            <p:cNvSpPr txBox="1"/>
            <p:nvPr/>
          </p:nvSpPr>
          <p:spPr>
            <a:xfrm>
              <a:off x="5230575" y="3728999"/>
              <a:ext cx="236121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 algn="ctr" defTabSz="622300">
                <a:spcBef>
                  <a:spcPct val="0"/>
                </a:spcBef>
                <a:defRPr/>
              </a:pPr>
              <a:r>
                <a:rPr lang="ru-RU" b="1" dirty="0" smtClean="0">
                  <a:solidFill>
                    <a:schemeClr val="bg1"/>
                  </a:solidFill>
                  <a:latin typeface="Arial Narrow" panose="020B0606020202030204" pitchFamily="34" charset="0"/>
                  <a:cs typeface="Arial" panose="020B0604020202020204" pitchFamily="34" charset="0"/>
                </a:rPr>
                <a:t>Поток</a:t>
              </a:r>
              <a:endParaRPr lang="ru-RU" b="1" dirty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0" name="TextBox 69"/>
            <p:cNvSpPr txBox="1"/>
            <p:nvPr/>
          </p:nvSpPr>
          <p:spPr>
            <a:xfrm>
              <a:off x="6842172" y="4370585"/>
              <a:ext cx="1263456" cy="18158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</a:rPr>
                <a:t>Создание сайта самостоятельно</a:t>
              </a:r>
            </a:p>
            <a:p>
              <a:endParaRPr lang="ru-RU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</a:endParaRPr>
            </a:p>
            <a:p>
              <a:r>
                <a:rPr lang="ru-RU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</a:rPr>
                <a:t>Привлечение новых клиентов, запуск автоматического продвижения в </a:t>
              </a:r>
              <a:r>
                <a:rPr lang="ru-RU" sz="14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</a:rPr>
                <a:t>интернете</a:t>
              </a:r>
              <a:r>
                <a:rPr lang="ru-RU" sz="14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</a:rPr>
                <a:t> </a:t>
              </a:r>
            </a:p>
          </p:txBody>
        </p:sp>
        <p:sp>
          <p:nvSpPr>
            <p:cNvPr id="71" name="Скругленный прямоугольник 70"/>
            <p:cNvSpPr/>
            <p:nvPr/>
          </p:nvSpPr>
          <p:spPr>
            <a:xfrm>
              <a:off x="4803265" y="3728306"/>
              <a:ext cx="3313325" cy="2494744"/>
            </a:xfrm>
            <a:prstGeom prst="roundRect">
              <a:avLst>
                <a:gd name="adj" fmla="val 2516"/>
              </a:avLst>
            </a:prstGeom>
            <a:noFill/>
            <a:ln>
              <a:solidFill>
                <a:srgbClr val="1F4E7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72" name="Группа 71"/>
          <p:cNvGrpSpPr/>
          <p:nvPr/>
        </p:nvGrpSpPr>
        <p:grpSpPr>
          <a:xfrm>
            <a:off x="4600658" y="4938776"/>
            <a:ext cx="3115036" cy="1752707"/>
            <a:chOff x="345407" y="6653666"/>
            <a:chExt cx="3971607" cy="1360247"/>
          </a:xfrm>
        </p:grpSpPr>
        <p:sp>
          <p:nvSpPr>
            <p:cNvPr id="73" name="Скругленный прямоугольник 72"/>
            <p:cNvSpPr/>
            <p:nvPr/>
          </p:nvSpPr>
          <p:spPr>
            <a:xfrm>
              <a:off x="345407" y="6653666"/>
              <a:ext cx="3971607" cy="385529"/>
            </a:xfrm>
            <a:prstGeom prst="roundRect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chemeClr val="accent1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4" name="TextBox 73"/>
            <p:cNvSpPr txBox="1"/>
            <p:nvPr/>
          </p:nvSpPr>
          <p:spPr>
            <a:xfrm>
              <a:off x="747244" y="6698532"/>
              <a:ext cx="3192250" cy="2866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 algn="ctr" defTabSz="622300">
                <a:spcBef>
                  <a:spcPct val="0"/>
                </a:spcBef>
                <a:defRPr/>
              </a:pPr>
              <a:r>
                <a:rPr lang="ru-RU" b="1" dirty="0" smtClean="0">
                  <a:solidFill>
                    <a:schemeClr val="bg1"/>
                  </a:solidFill>
                  <a:latin typeface="Arial Narrow" panose="020B0606020202030204" pitchFamily="34" charset="0"/>
                  <a:cs typeface="Arial" panose="020B0604020202020204" pitchFamily="34" charset="0"/>
                </a:rPr>
                <a:t>Подбор недвижимости</a:t>
              </a:r>
              <a:endParaRPr lang="ru-RU" b="1" dirty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5" name="TextBox 74"/>
            <p:cNvSpPr txBox="1"/>
            <p:nvPr/>
          </p:nvSpPr>
          <p:spPr>
            <a:xfrm>
              <a:off x="540866" y="7072310"/>
              <a:ext cx="3658248" cy="90766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</a:rPr>
                <a:t>Более 900 000 объектов </a:t>
              </a:r>
              <a:r>
                <a:rPr lang="ru-RU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</a:rPr>
                <a:t>недвижимости, включая 15 000 объектов, находящихся в государственной (муниципальной) </a:t>
              </a:r>
              <a:r>
                <a:rPr lang="ru-RU" sz="14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</a:rPr>
                <a:t>собственности</a:t>
              </a:r>
              <a:r>
                <a:rPr lang="ru-RU" sz="14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</a:rPr>
                <a:t>    </a:t>
              </a:r>
            </a:p>
          </p:txBody>
        </p:sp>
        <p:sp>
          <p:nvSpPr>
            <p:cNvPr id="76" name="Скругленный прямоугольник 75"/>
            <p:cNvSpPr/>
            <p:nvPr/>
          </p:nvSpPr>
          <p:spPr>
            <a:xfrm>
              <a:off x="349465" y="6674987"/>
              <a:ext cx="3957042" cy="1338926"/>
            </a:xfrm>
            <a:prstGeom prst="roundRect">
              <a:avLst>
                <a:gd name="adj" fmla="val 2516"/>
              </a:avLst>
            </a:prstGeom>
            <a:noFill/>
            <a:ln>
              <a:solidFill>
                <a:srgbClr val="1F4E7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77" name="Группа 76"/>
          <p:cNvGrpSpPr/>
          <p:nvPr/>
        </p:nvGrpSpPr>
        <p:grpSpPr>
          <a:xfrm>
            <a:off x="4605074" y="2958104"/>
            <a:ext cx="3097630" cy="1839909"/>
            <a:chOff x="345407" y="6653666"/>
            <a:chExt cx="3971607" cy="1427923"/>
          </a:xfrm>
        </p:grpSpPr>
        <p:sp>
          <p:nvSpPr>
            <p:cNvPr id="78" name="Скругленный прямоугольник 77"/>
            <p:cNvSpPr/>
            <p:nvPr/>
          </p:nvSpPr>
          <p:spPr>
            <a:xfrm>
              <a:off x="345407" y="6653666"/>
              <a:ext cx="3971607" cy="385529"/>
            </a:xfrm>
            <a:prstGeom prst="roundRect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chemeClr val="accent1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9" name="TextBox 78"/>
            <p:cNvSpPr txBox="1"/>
            <p:nvPr/>
          </p:nvSpPr>
          <p:spPr>
            <a:xfrm>
              <a:off x="796832" y="6695332"/>
              <a:ext cx="3062307" cy="2866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 algn="ctr" defTabSz="622300">
                <a:spcBef>
                  <a:spcPct val="0"/>
                </a:spcBef>
                <a:defRPr/>
              </a:pPr>
              <a:r>
                <a:rPr lang="ru-RU" b="1" dirty="0" smtClean="0">
                  <a:solidFill>
                    <a:schemeClr val="bg1"/>
                  </a:solidFill>
                  <a:latin typeface="Arial Narrow" panose="020B0606020202030204" pitchFamily="34" charset="0"/>
                  <a:cs typeface="Arial" panose="020B0604020202020204" pitchFamily="34" charset="0"/>
                </a:rPr>
                <a:t>Поиск мер поддержки</a:t>
              </a:r>
              <a:endParaRPr lang="ru-RU" b="1" dirty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0" name="TextBox 79"/>
            <p:cNvSpPr txBox="1"/>
            <p:nvPr/>
          </p:nvSpPr>
          <p:spPr>
            <a:xfrm>
              <a:off x="581738" y="7072719"/>
              <a:ext cx="3545716" cy="90766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</a:rPr>
                <a:t>Более 5 000 организаций инфраструктуры </a:t>
              </a:r>
              <a:r>
                <a:rPr lang="ru-RU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</a:rPr>
                <a:t>поддержки МСП – финансовая, имущественная, консультационная инфраструктура, </a:t>
              </a:r>
              <a:r>
                <a:rPr lang="ru-RU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</a:rPr>
                <a:t>более 7 500 мер поддержки МСП</a:t>
              </a:r>
            </a:p>
          </p:txBody>
        </p:sp>
        <p:sp>
          <p:nvSpPr>
            <p:cNvPr id="81" name="Скругленный прямоугольник 80"/>
            <p:cNvSpPr/>
            <p:nvPr/>
          </p:nvSpPr>
          <p:spPr>
            <a:xfrm>
              <a:off x="349466" y="6674987"/>
              <a:ext cx="3957042" cy="1406602"/>
            </a:xfrm>
            <a:prstGeom prst="roundRect">
              <a:avLst>
                <a:gd name="adj" fmla="val 2516"/>
              </a:avLst>
            </a:prstGeom>
            <a:noFill/>
            <a:ln>
              <a:solidFill>
                <a:srgbClr val="1F4E7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13" name="Группа 12"/>
          <p:cNvGrpSpPr/>
          <p:nvPr/>
        </p:nvGrpSpPr>
        <p:grpSpPr>
          <a:xfrm>
            <a:off x="7864821" y="2222330"/>
            <a:ext cx="4456540" cy="3736703"/>
            <a:chOff x="7953722" y="2497090"/>
            <a:chExt cx="4456540" cy="3736703"/>
          </a:xfrm>
        </p:grpSpPr>
        <p:pic>
          <p:nvPicPr>
            <p:cNvPr id="37" name="Рисунок 36"/>
            <p:cNvPicPr>
              <a:picLocks noChangeAspect="1"/>
            </p:cNvPicPr>
            <p:nvPr/>
          </p:nvPicPr>
          <p:blipFill rotWithShape="1">
            <a:blip r:embed="rId5" cstate="print"/>
            <a:srcRect l="18518" t="7470" r="17033"/>
            <a:stretch/>
          </p:blipFill>
          <p:spPr>
            <a:xfrm>
              <a:off x="10278527" y="3750006"/>
              <a:ext cx="2049241" cy="1740526"/>
            </a:xfrm>
            <a:prstGeom prst="rect">
              <a:avLst/>
            </a:prstGeom>
          </p:spPr>
        </p:pic>
        <p:grpSp>
          <p:nvGrpSpPr>
            <p:cNvPr id="12" name="Группа 11"/>
            <p:cNvGrpSpPr/>
            <p:nvPr/>
          </p:nvGrpSpPr>
          <p:grpSpPr>
            <a:xfrm>
              <a:off x="7953722" y="2497090"/>
              <a:ext cx="4456540" cy="3250638"/>
              <a:chOff x="4800286" y="3596042"/>
              <a:chExt cx="3325521" cy="3250638"/>
            </a:xfrm>
          </p:grpSpPr>
          <p:sp>
            <p:nvSpPr>
              <p:cNvPr id="63" name="Скругленный прямоугольник 62"/>
              <p:cNvSpPr/>
              <p:nvPr/>
            </p:nvSpPr>
            <p:spPr>
              <a:xfrm>
                <a:off x="4800286" y="3596042"/>
                <a:ext cx="3325521" cy="496762"/>
              </a:xfrm>
              <a:prstGeom prst="roundRect">
                <a:avLst/>
              </a:prstGeom>
              <a:solidFill>
                <a:schemeClr val="accent1">
                  <a:lumMod val="50000"/>
                </a:schemeClr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64" name="TextBox 63"/>
              <p:cNvSpPr txBox="1"/>
              <p:nvPr/>
            </p:nvSpPr>
            <p:spPr>
              <a:xfrm>
                <a:off x="5238062" y="3667366"/>
                <a:ext cx="2361215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lvl="0" algn="ctr" defTabSz="622300">
                  <a:spcBef>
                    <a:spcPct val="0"/>
                  </a:spcBef>
                  <a:defRPr/>
                </a:pPr>
                <a:r>
                  <a:rPr lang="ru-RU" b="1" dirty="0" smtClean="0">
                    <a:solidFill>
                      <a:schemeClr val="bg1"/>
                    </a:solidFill>
                    <a:latin typeface="Arial Narrow" panose="020B0606020202030204" pitchFamily="34" charset="0"/>
                    <a:cs typeface="Arial" panose="020B0604020202020204" pitchFamily="34" charset="0"/>
                  </a:rPr>
                  <a:t>Жизненные ситуации</a:t>
                </a:r>
                <a:endParaRPr lang="ru-RU" b="1" dirty="0">
                  <a:solidFill>
                    <a:schemeClr val="bg1"/>
                  </a:solidFill>
                  <a:latin typeface="Arial Narrow" panose="020B060602020203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5" name="TextBox 64"/>
              <p:cNvSpPr txBox="1"/>
              <p:nvPr/>
            </p:nvSpPr>
            <p:spPr>
              <a:xfrm>
                <a:off x="4887282" y="4230109"/>
                <a:ext cx="3062878" cy="95410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1400" b="1" dirty="0" smtClean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</a:rPr>
                  <a:t>Пошаговые </a:t>
                </a:r>
                <a:r>
                  <a:rPr lang="ru-RU" sz="14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</a:rPr>
                  <a:t>инструкции </a:t>
                </a:r>
                <a:r>
                  <a:rPr lang="ru-RU" sz="14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</a:rPr>
                  <a:t>для 90 видов бизнеса </a:t>
                </a:r>
                <a:r>
                  <a:rPr lang="ru-RU" sz="1400" b="1" dirty="0" smtClean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</a:rPr>
                  <a:t>по </a:t>
                </a:r>
                <a:r>
                  <a:rPr lang="ru-RU" sz="14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</a:rPr>
                  <a:t>5 стадиям жизненного цикла</a:t>
                </a:r>
                <a:r>
                  <a:rPr lang="ru-RU" sz="14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</a:rPr>
                  <a:t>, включая взаимодействие </a:t>
                </a:r>
                <a:r>
                  <a:rPr lang="ru-RU" sz="1400" dirty="0" smtClean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</a:rPr>
                  <a:t>с</a:t>
                </a:r>
                <a:endParaRPr lang="ru-RU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</a:endParaRP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en-US" sz="14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</a:endParaRPr>
              </a:p>
              <a:p>
                <a:r>
                  <a:rPr lang="ru-RU" sz="1400" b="1" dirty="0" smtClean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</a:rPr>
                  <a:t>      </a:t>
                </a:r>
              </a:p>
            </p:txBody>
          </p:sp>
          <p:sp>
            <p:nvSpPr>
              <p:cNvPr id="66" name="Скругленный прямоугольник 65"/>
              <p:cNvSpPr/>
              <p:nvPr/>
            </p:nvSpPr>
            <p:spPr>
              <a:xfrm>
                <a:off x="4803265" y="3607010"/>
                <a:ext cx="3313325" cy="3239670"/>
              </a:xfrm>
              <a:prstGeom prst="roundRect">
                <a:avLst>
                  <a:gd name="adj" fmla="val 2516"/>
                </a:avLst>
              </a:prstGeom>
              <a:noFill/>
              <a:ln>
                <a:solidFill>
                  <a:srgbClr val="1F4E7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  <p:sp>
          <p:nvSpPr>
            <p:cNvPr id="82" name="TextBox 81"/>
            <p:cNvSpPr txBox="1"/>
            <p:nvPr/>
          </p:nvSpPr>
          <p:spPr>
            <a:xfrm>
              <a:off x="8081677" y="3556137"/>
              <a:ext cx="2336319" cy="267765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</a:rPr>
                <a:t>контрольно-надзорными органами. </a:t>
              </a:r>
              <a:endParaRPr lang="ru-RU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</a:endParaRPr>
            </a:p>
            <a:p>
              <a:r>
                <a:rPr lang="ru-RU" sz="14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</a:rPr>
                <a:t>Доступ </a:t>
              </a:r>
              <a:r>
                <a:rPr lang="ru-RU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</a:rPr>
                <a:t>к </a:t>
              </a:r>
              <a:r>
                <a:rPr lang="ru-RU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</a:rPr>
                <a:t>более </a:t>
              </a:r>
              <a:r>
                <a:rPr lang="ru-RU" sz="14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</a:rPr>
                <a:t>чем 22,5 </a:t>
              </a:r>
              <a:r>
                <a:rPr lang="ru-RU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</a:rPr>
                <a:t>млн документов</a:t>
              </a:r>
              <a:r>
                <a:rPr lang="ru-RU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</a:rPr>
                <a:t>, интерактивным чек-листам и тестам, к </a:t>
              </a:r>
              <a:r>
                <a:rPr lang="ru-RU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</a:rPr>
                <a:t>более чем 100 </a:t>
              </a:r>
              <a:r>
                <a:rPr lang="ru-RU" sz="14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</a:rPr>
                <a:t>шаблонам </a:t>
              </a:r>
              <a:r>
                <a:rPr lang="ru-RU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</a:rPr>
                <a:t>документов </a:t>
              </a:r>
              <a:r>
                <a:rPr lang="ru-RU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</a:rPr>
                <a:t>с пояснениями для каждого вида бизнеса. </a:t>
              </a:r>
            </a:p>
            <a:p>
              <a:endParaRPr lang="ru-RU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</a:endParaRPr>
            </a:p>
            <a:p>
              <a:endParaRPr lang="ru-RU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endParaRPr 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</a:endParaRPr>
            </a:p>
            <a:p>
              <a:r>
                <a:rPr lang="ru-RU" sz="14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</a:rPr>
                <a:t>      </a:t>
              </a:r>
            </a:p>
          </p:txBody>
        </p:sp>
      </p:grpSp>
      <p:grpSp>
        <p:nvGrpSpPr>
          <p:cNvPr id="14" name="Группа 13"/>
          <p:cNvGrpSpPr/>
          <p:nvPr/>
        </p:nvGrpSpPr>
        <p:grpSpPr>
          <a:xfrm>
            <a:off x="269009" y="5599281"/>
            <a:ext cx="4208773" cy="1948755"/>
            <a:chOff x="8556053" y="636594"/>
            <a:chExt cx="3586519" cy="1873875"/>
          </a:xfrm>
        </p:grpSpPr>
        <p:grpSp>
          <p:nvGrpSpPr>
            <p:cNvPr id="47" name="Группа 46"/>
            <p:cNvGrpSpPr/>
            <p:nvPr/>
          </p:nvGrpSpPr>
          <p:grpSpPr>
            <a:xfrm>
              <a:off x="8688744" y="1049675"/>
              <a:ext cx="1797267" cy="1329375"/>
              <a:chOff x="10130436" y="5276486"/>
              <a:chExt cx="2102903" cy="2022682"/>
            </a:xfrm>
          </p:grpSpPr>
          <p:pic>
            <p:nvPicPr>
              <p:cNvPr id="48" name="Рисунок 47"/>
              <p:cNvPicPr>
                <a:picLocks noChangeAspect="1"/>
              </p:cNvPicPr>
              <p:nvPr/>
            </p:nvPicPr>
            <p:blipFill rotWithShape="1">
              <a:blip r:embed="rId6"/>
              <a:srcRect t="3333" r="833" b="10165"/>
              <a:stretch/>
            </p:blipFill>
            <p:spPr>
              <a:xfrm>
                <a:off x="10130436" y="5276486"/>
                <a:ext cx="2102901" cy="1330006"/>
              </a:xfrm>
              <a:prstGeom prst="rect">
                <a:avLst/>
              </a:prstGeom>
            </p:spPr>
          </p:pic>
          <p:pic>
            <p:nvPicPr>
              <p:cNvPr id="49" name="Рисунок 48"/>
              <p:cNvPicPr>
                <a:picLocks noChangeAspect="1"/>
              </p:cNvPicPr>
              <p:nvPr/>
            </p:nvPicPr>
            <p:blipFill rotWithShape="1">
              <a:blip r:embed="rId7"/>
              <a:srcRect t="15596" r="833" b="11400"/>
              <a:stretch/>
            </p:blipFill>
            <p:spPr>
              <a:xfrm>
                <a:off x="10130439" y="6176698"/>
                <a:ext cx="2102900" cy="1122470"/>
              </a:xfrm>
              <a:prstGeom prst="rect">
                <a:avLst/>
              </a:prstGeom>
            </p:spPr>
          </p:pic>
        </p:grpSp>
        <p:grpSp>
          <p:nvGrpSpPr>
            <p:cNvPr id="83" name="Группа 82"/>
            <p:cNvGrpSpPr/>
            <p:nvPr/>
          </p:nvGrpSpPr>
          <p:grpSpPr>
            <a:xfrm>
              <a:off x="8556053" y="636594"/>
              <a:ext cx="3586519" cy="1873875"/>
              <a:chOff x="4799867" y="3672143"/>
              <a:chExt cx="3325521" cy="2665686"/>
            </a:xfrm>
          </p:grpSpPr>
          <p:sp>
            <p:nvSpPr>
              <p:cNvPr id="84" name="Скругленный прямоугольник 83"/>
              <p:cNvSpPr/>
              <p:nvPr/>
            </p:nvSpPr>
            <p:spPr>
              <a:xfrm>
                <a:off x="4799867" y="3700835"/>
                <a:ext cx="3325521" cy="496762"/>
              </a:xfrm>
              <a:prstGeom prst="roundRect">
                <a:avLst/>
              </a:prstGeom>
              <a:solidFill>
                <a:schemeClr val="accent1">
                  <a:lumMod val="50000"/>
                </a:schemeClr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85" name="TextBox 84"/>
              <p:cNvSpPr txBox="1"/>
              <p:nvPr/>
            </p:nvSpPr>
            <p:spPr>
              <a:xfrm>
                <a:off x="5230575" y="3672143"/>
                <a:ext cx="2361215" cy="52539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lvl="0" algn="ctr" defTabSz="622300">
                  <a:spcBef>
                    <a:spcPct val="0"/>
                  </a:spcBef>
                  <a:defRPr/>
                </a:pPr>
                <a:r>
                  <a:rPr lang="ru-RU" b="1" dirty="0" smtClean="0">
                    <a:solidFill>
                      <a:schemeClr val="bg1"/>
                    </a:solidFill>
                    <a:latin typeface="Arial Narrow" panose="020B0606020202030204" pitchFamily="34" charset="0"/>
                    <a:cs typeface="Arial" panose="020B0604020202020204" pitchFamily="34" charset="0"/>
                  </a:rPr>
                  <a:t>Онлайн-ресурсы для с/х</a:t>
                </a:r>
                <a:endParaRPr lang="ru-RU" b="1" dirty="0">
                  <a:solidFill>
                    <a:schemeClr val="bg1"/>
                  </a:solidFill>
                  <a:latin typeface="Arial Narrow" panose="020B060602020203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86" name="TextBox 85"/>
              <p:cNvSpPr txBox="1"/>
              <p:nvPr/>
            </p:nvSpPr>
            <p:spPr>
              <a:xfrm>
                <a:off x="6675798" y="4376258"/>
                <a:ext cx="1378782" cy="159981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14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</a:rPr>
                  <a:t>Каталог с/х продукции </a:t>
                </a:r>
                <a:r>
                  <a:rPr lang="ru-RU" sz="1400" b="1" dirty="0" smtClean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hlinkClick r:id="rId8"/>
                  </a:rPr>
                  <a:t>ruferma.ru</a:t>
                </a:r>
                <a:r>
                  <a:rPr lang="en-US" sz="1400" b="1" dirty="0" smtClean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</a:rPr>
                  <a:t> </a:t>
                </a:r>
                <a:endParaRPr lang="ru-RU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</a:endParaRPr>
              </a:p>
              <a:p>
                <a:r>
                  <a:rPr lang="ru-RU" sz="14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</a:rPr>
                  <a:t>Навигатор мер поддержки СХК </a:t>
                </a:r>
                <a:endParaRPr lang="ru-RU" sz="14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</a:endParaRPr>
              </a:p>
              <a:p>
                <a:r>
                  <a:rPr lang="ru-RU" sz="1400" b="1" dirty="0" smtClean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hlinkClick r:id="rId9"/>
                  </a:rPr>
                  <a:t>agro-coop.ru</a:t>
                </a:r>
                <a:r>
                  <a:rPr lang="en-US" sz="1400" b="1" dirty="0" smtClean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</a:rPr>
                  <a:t> </a:t>
                </a:r>
                <a:r>
                  <a:rPr lang="ru-RU" sz="1400" b="1" dirty="0" smtClean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</a:rPr>
                  <a:t>   </a:t>
                </a:r>
                <a:endParaRPr lang="ru-RU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</a:endParaRPr>
              </a:p>
            </p:txBody>
          </p:sp>
          <p:sp>
            <p:nvSpPr>
              <p:cNvPr id="87" name="Скругленный прямоугольник 86"/>
              <p:cNvSpPr/>
              <p:nvPr/>
            </p:nvSpPr>
            <p:spPr>
              <a:xfrm>
                <a:off x="4803265" y="3728306"/>
                <a:ext cx="3313325" cy="2609523"/>
              </a:xfrm>
              <a:prstGeom prst="roundRect">
                <a:avLst>
                  <a:gd name="adj" fmla="val 2516"/>
                </a:avLst>
              </a:prstGeom>
              <a:noFill/>
              <a:ln>
                <a:solidFill>
                  <a:srgbClr val="1F4E7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</p:grpSp>
      <p:sp>
        <p:nvSpPr>
          <p:cNvPr id="55" name="TextBox 54"/>
          <p:cNvSpPr txBox="1"/>
          <p:nvPr/>
        </p:nvSpPr>
        <p:spPr>
          <a:xfrm>
            <a:off x="186417" y="7589192"/>
            <a:ext cx="449402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50" b="1" dirty="0" smtClean="0">
                <a:solidFill>
                  <a:schemeClr val="bg2">
                    <a:lumMod val="25000"/>
                  </a:schemeClr>
                </a:solidFill>
                <a:latin typeface="Arial Narrow" panose="020B0606020202030204" pitchFamily="34" charset="0"/>
              </a:rPr>
              <a:t>Корпорацией проведено </a:t>
            </a:r>
            <a:r>
              <a:rPr lang="ru-RU" sz="135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свыше 40 </a:t>
            </a:r>
            <a:r>
              <a:rPr lang="ru-RU" sz="1350" b="1" dirty="0" smtClean="0">
                <a:solidFill>
                  <a:schemeClr val="bg2">
                    <a:lumMod val="25000"/>
                  </a:schemeClr>
                </a:solidFill>
                <a:latin typeface="Arial Narrow" panose="020B0606020202030204" pitchFamily="34" charset="0"/>
              </a:rPr>
              <a:t>выездных мероприятий </a:t>
            </a:r>
            <a:r>
              <a:rPr lang="ru-RU" sz="135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более чем в 30 субъектах РФ </a:t>
            </a:r>
            <a:r>
              <a:rPr lang="ru-RU" sz="1350" b="1" dirty="0" smtClean="0">
                <a:solidFill>
                  <a:schemeClr val="bg2">
                    <a:lumMod val="25000"/>
                  </a:schemeClr>
                </a:solidFill>
                <a:latin typeface="Arial Narrow" panose="020B0606020202030204" pitchFamily="34" charset="0"/>
              </a:rPr>
              <a:t>с демонстрацией сервисов Портала Бизнес-навигатора МСП</a:t>
            </a:r>
          </a:p>
        </p:txBody>
      </p:sp>
      <p:pic>
        <p:nvPicPr>
          <p:cNvPr id="88" name="Рисунок 87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pic>
        <p:nvPicPr>
          <p:cNvPr id="89" name="Рисунок 88"/>
          <p:cNvPicPr>
            <a:picLocks noChangeAspect="1"/>
          </p:cNvPicPr>
          <p:nvPr/>
        </p:nvPicPr>
        <p:blipFill>
          <a:blip r:embed="rId11" cstate="print"/>
          <a:stretch>
            <a:fillRect/>
          </a:stretch>
        </p:blipFill>
        <p:spPr>
          <a:xfrm>
            <a:off x="11560835" y="26986"/>
            <a:ext cx="819150" cy="866775"/>
          </a:xfrm>
          <a:prstGeom prst="rect">
            <a:avLst/>
          </a:prstGeom>
        </p:spPr>
      </p:pic>
      <p:sp>
        <p:nvSpPr>
          <p:cNvPr id="90" name="Прямоугольник 89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0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1329690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" name="Shape 110"/>
          <p:cNvSpPr/>
          <p:nvPr/>
        </p:nvSpPr>
        <p:spPr>
          <a:xfrm>
            <a:off x="3721101" y="-56478"/>
            <a:ext cx="8470900" cy="1172700"/>
          </a:xfrm>
          <a:prstGeom prst="rect">
            <a:avLst/>
          </a:prstGeom>
          <a:noFill/>
          <a:ln>
            <a:noFill/>
          </a:ln>
        </p:spPr>
        <p:txBody>
          <a:bodyPr lIns="113381" tIns="56675" rIns="113381" bIns="56675" anchor="t" anchorCtr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ru-RU" sz="1984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оличество субъектов МСП, </a:t>
            </a:r>
            <a:r>
              <a:rPr kumimoji="0" lang="ru-RU" sz="1984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оспользовавшихся сервисами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ru-RU" sz="1984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ртала Бизнес-навигатора </a:t>
            </a:r>
            <a:r>
              <a:rPr kumimoji="0" lang="ru-RU" sz="1984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МСП </a:t>
            </a:r>
            <a:r>
              <a:rPr kumimoji="0" lang="ru-RU" sz="1984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ля открытия и(или) расширения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ru-RU" sz="1984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(или) продолжения ведения </a:t>
            </a:r>
            <a:r>
              <a:rPr kumimoji="0" lang="ru-RU" sz="1984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воего бизнеса </a:t>
            </a:r>
            <a:r>
              <a:rPr kumimoji="0" lang="ru-RU" sz="2067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а </a:t>
            </a:r>
            <a:r>
              <a:rPr kumimoji="0" lang="en-US" sz="2067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3</a:t>
            </a:r>
            <a:r>
              <a:rPr kumimoji="0" lang="ru-RU" sz="2067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.</a:t>
            </a:r>
            <a:r>
              <a:rPr kumimoji="0" lang="en-US" sz="2067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05</a:t>
            </a:r>
            <a:r>
              <a:rPr kumimoji="0" lang="ru-RU" sz="2067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.2019</a:t>
            </a:r>
            <a:endParaRPr kumimoji="0" lang="ru-RU" sz="1984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/>
          </p:nvPr>
        </p:nvGraphicFramePr>
        <p:xfrm>
          <a:off x="282575" y="1028875"/>
          <a:ext cx="12011025" cy="664030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475816">
                  <a:extLst>
                    <a:ext uri="{9D8B030D-6E8A-4147-A177-3AD203B41FA5}">
                      <a16:colId xmlns:a16="http://schemas.microsoft.com/office/drawing/2014/main" val="1856506454"/>
                    </a:ext>
                  </a:extLst>
                </a:gridCol>
                <a:gridCol w="113671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1628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8218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2256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298515">
                  <a:extLst>
                    <a:ext uri="{9D8B030D-6E8A-4147-A177-3AD203B41FA5}">
                      <a16:colId xmlns:a16="http://schemas.microsoft.com/office/drawing/2014/main" val="737161384"/>
                    </a:ext>
                  </a:extLst>
                </a:gridCol>
                <a:gridCol w="1478945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1160745">
                <a:tc>
                  <a:txBody>
                    <a:bodyPr/>
                    <a:lstStyle/>
                    <a:p>
                      <a:pPr algn="ctr" fontAlgn="ctr"/>
                      <a:endParaRPr lang="ru-RU" sz="17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108000" marR="108000" marT="108000" marB="10800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7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2015*</a:t>
                      </a:r>
                      <a:endParaRPr lang="ru-RU" sz="1700" b="1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108000" marR="108000" marT="108000" marB="10800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7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2016*</a:t>
                      </a:r>
                      <a:endParaRPr lang="ru-RU" sz="1700" b="1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108000" marR="108000" marT="108000" marB="10800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7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2017</a:t>
                      </a:r>
                      <a:endParaRPr lang="ru-RU" sz="1700" b="1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108000" marR="108000" marT="108000" marB="10800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7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2018</a:t>
                      </a:r>
                    </a:p>
                  </a:txBody>
                  <a:tcPr marL="108000" marR="108000" marT="108000" marB="10800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7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По состоянию на </a:t>
                      </a:r>
                      <a:r>
                        <a:rPr lang="en-US" sz="17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13</a:t>
                      </a:r>
                      <a:r>
                        <a:rPr lang="ru-RU" sz="17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.</a:t>
                      </a:r>
                      <a:r>
                        <a:rPr lang="en-US" sz="17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05</a:t>
                      </a:r>
                      <a:r>
                        <a:rPr lang="ru-RU" sz="17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.2019</a:t>
                      </a:r>
                    </a:p>
                  </a:txBody>
                  <a:tcPr marL="108000" marR="108000" marT="108000" marB="10800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7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2019</a:t>
                      </a:r>
                      <a:r>
                        <a:rPr lang="ru-RU" sz="1700" b="1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 (План)</a:t>
                      </a:r>
                      <a:endParaRPr lang="ru-RU" sz="1700" b="1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108000" marR="108000" marT="108000" marB="10800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7610839"/>
                  </a:ext>
                </a:extLst>
              </a:tr>
              <a:tr h="1160745">
                <a:tc>
                  <a:txBody>
                    <a:bodyPr/>
                    <a:lstStyle/>
                    <a:p>
                      <a:pPr algn="l" fontAlgn="ctr"/>
                      <a:r>
                        <a:rPr lang="ru-RU" sz="17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оличество уникальных посетителей </a:t>
                      </a:r>
                    </a:p>
                    <a:p>
                      <a:pPr algn="l" fontAlgn="ctr"/>
                      <a:r>
                        <a:rPr lang="ru-RU" sz="17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ортала Бизнес-навигатора МСП </a:t>
                      </a:r>
                    </a:p>
                    <a:p>
                      <a:pPr algn="l" fontAlgn="ctr"/>
                      <a:r>
                        <a:rPr lang="ru-RU" sz="17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(по данным Яндекс-метрики)</a:t>
                      </a:r>
                      <a:endParaRPr lang="ru-RU" sz="17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108000" marR="108000" marT="108000" marB="10800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i="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-</a:t>
                      </a:r>
                      <a:endParaRPr lang="ru-RU" sz="1600" b="1" i="0" kern="1200" dirty="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08000" marR="108000" marT="108000" marB="10800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i="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62 934</a:t>
                      </a:r>
                    </a:p>
                  </a:txBody>
                  <a:tcPr marL="108000" marR="108000" marT="108000" marB="10800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i="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2</a:t>
                      </a:r>
                      <a:r>
                        <a:rPr lang="en-US" sz="1600" b="1" i="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lang="ru-RU" sz="1600" b="1" i="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082</a:t>
                      </a:r>
                      <a:r>
                        <a:rPr lang="en-US" sz="1600" b="1" i="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lang="ru-RU" sz="1600" b="1" i="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665</a:t>
                      </a:r>
                    </a:p>
                  </a:txBody>
                  <a:tcPr marL="108000" marR="108000" marT="108000" marB="10800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i="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3 860 000</a:t>
                      </a:r>
                    </a:p>
                  </a:txBody>
                  <a:tcPr marL="108000" marR="108000" marT="108000" marB="10800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i="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4 </a:t>
                      </a:r>
                      <a:r>
                        <a:rPr lang="en-US" sz="1600" b="1" i="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442 </a:t>
                      </a:r>
                      <a:r>
                        <a:rPr lang="ru-RU" sz="1600" b="1" i="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000</a:t>
                      </a:r>
                    </a:p>
                  </a:txBody>
                  <a:tcPr marL="108000" marR="108000" marT="108000" marB="10800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5 900 000</a:t>
                      </a:r>
                    </a:p>
                  </a:txBody>
                  <a:tcPr marL="108000" marR="108000" marT="108000" marB="10800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4176152"/>
                  </a:ext>
                </a:extLst>
              </a:tr>
              <a:tr h="857972">
                <a:tc>
                  <a:txBody>
                    <a:bodyPr/>
                    <a:lstStyle/>
                    <a:p>
                      <a:pPr algn="l" fontAlgn="ctr"/>
                      <a:r>
                        <a:rPr lang="ru-RU" sz="17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оличество зарегистрированных уникальных пользователей Портала Бизнес-навигатора МСП (субъектов МСП и физлиц)</a:t>
                      </a:r>
                      <a:endParaRPr lang="ru-RU" sz="17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108000" marR="108000" marT="108000" marB="10800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i="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-</a:t>
                      </a:r>
                      <a:endParaRPr lang="ru-RU" sz="1600" b="1" i="0" kern="1200" dirty="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08000" marR="108000" marT="108000" marB="10800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i="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2 </a:t>
                      </a:r>
                      <a:r>
                        <a:rPr lang="en-US" sz="1600" b="1" i="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36</a:t>
                      </a:r>
                      <a:r>
                        <a:rPr lang="ru-RU" sz="1600" b="1" i="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0</a:t>
                      </a:r>
                      <a:endParaRPr lang="ru-RU" sz="1600" b="1" i="0" kern="1200" dirty="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08000" marR="108000" marT="108000" marB="10800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i="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722 035</a:t>
                      </a:r>
                    </a:p>
                  </a:txBody>
                  <a:tcPr marL="108000" marR="108000" marT="108000" marB="10800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i="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</a:t>
                      </a:r>
                      <a:r>
                        <a:rPr lang="en-US" sz="1600" b="1" i="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lang="ru-RU" sz="1600" b="1" i="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506</a:t>
                      </a:r>
                      <a:r>
                        <a:rPr lang="en-US" sz="1600" b="1" i="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lang="ru-RU" sz="1600" b="1" i="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283</a:t>
                      </a:r>
                    </a:p>
                  </a:txBody>
                  <a:tcPr marL="108000" marR="108000" marT="108000" marB="10800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i="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 </a:t>
                      </a:r>
                      <a:r>
                        <a:rPr lang="en-US" sz="1600" b="1" i="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726 363</a:t>
                      </a:r>
                      <a:endParaRPr lang="ru-RU" sz="1600" b="1" i="0" kern="1200" dirty="0" smtClean="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08000" marR="108000" marT="108000" marB="10800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i="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2 240 000</a:t>
                      </a:r>
                    </a:p>
                  </a:txBody>
                  <a:tcPr marL="108000" marR="108000" marT="108000" marB="10800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3426201"/>
                  </a:ext>
                </a:extLst>
              </a:tr>
              <a:tr h="1463517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700" b="1" dirty="0" smtClean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Количество субъектов МСП, воспользовавшихся</a:t>
                      </a:r>
                      <a:r>
                        <a:rPr lang="ru-RU" sz="1700" b="1" baseline="0" dirty="0" smtClean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 сервисами Портала </a:t>
                      </a:r>
                      <a:r>
                        <a:rPr lang="ru-RU" sz="1700" b="1" dirty="0" smtClean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Бизнес-навигатора МСП </a:t>
                      </a:r>
                      <a:br>
                        <a:rPr lang="ru-RU" sz="1700" b="1" dirty="0" smtClean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</a:br>
                      <a:r>
                        <a:rPr lang="ru-RU" sz="17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с 01.01.2017</a:t>
                      </a:r>
                    </a:p>
                  </a:txBody>
                  <a:tcPr marL="108000" marR="108000" marT="108000" marB="10800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i="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-</a:t>
                      </a:r>
                      <a:endParaRPr lang="ru-RU" sz="1600" b="1" i="0" kern="1200" dirty="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08000" marR="108000" marT="108000" marB="10800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i="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-</a:t>
                      </a:r>
                      <a:endParaRPr lang="ru-RU" sz="1600" b="1" i="0" kern="1200" dirty="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08000" marR="108000" marT="108000" marB="10800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i="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445 076</a:t>
                      </a:r>
                    </a:p>
                  </a:txBody>
                  <a:tcPr marL="108000" marR="108000" marT="108000" marB="10800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i="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939</a:t>
                      </a:r>
                      <a:r>
                        <a:rPr lang="en-US" sz="1600" b="1" i="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lang="ru-RU" sz="1600" b="1" i="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10</a:t>
                      </a:r>
                    </a:p>
                  </a:txBody>
                  <a:tcPr marL="108000" marR="108000" marT="108000" marB="10800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i="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 </a:t>
                      </a:r>
                      <a:r>
                        <a:rPr lang="en-US" sz="1600" b="1" i="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087 033</a:t>
                      </a:r>
                      <a:endParaRPr lang="ru-RU" sz="1600" b="1" i="0" kern="1200" dirty="0" smtClean="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08000" marR="108000" marT="108000" marB="10800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 </a:t>
                      </a:r>
                      <a:r>
                        <a:rPr lang="en-US" sz="16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90</a:t>
                      </a:r>
                      <a:r>
                        <a:rPr lang="ru-RU" sz="16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000</a:t>
                      </a:r>
                    </a:p>
                  </a:txBody>
                  <a:tcPr marL="108000" marR="108000" marT="108000" marB="10800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1955927"/>
                  </a:ext>
                </a:extLst>
              </a:tr>
              <a:tr h="1160745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700" b="1" dirty="0" smtClean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Количество субъектов МСП, увеличивших выручку</a:t>
                      </a: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700" b="1" dirty="0" smtClean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и (или) количество занятых с использованием сервисов маркетинговой и информационной поддержки субъектов МСП</a:t>
                      </a: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7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с 01.01.2017</a:t>
                      </a:r>
                    </a:p>
                  </a:txBody>
                  <a:tcPr marL="108000" marR="108000" marT="108000" marB="10800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i="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-</a:t>
                      </a:r>
                      <a:endParaRPr lang="ru-RU" sz="1600" b="1" i="0" kern="1200" dirty="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08000" marR="108000" marT="108000" marB="10800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i="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-</a:t>
                      </a:r>
                      <a:endParaRPr lang="ru-RU" sz="1600" b="1" i="0" kern="1200" dirty="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08000" marR="108000" marT="108000" marB="10800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i="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60 328**</a:t>
                      </a:r>
                      <a:endParaRPr lang="ru-RU" sz="1600" b="1" i="0" kern="1200" dirty="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08000" marR="108000" marT="108000" marB="10800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i="1" kern="1200" noProof="0" dirty="0" smtClean="0"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504 479***</a:t>
                      </a:r>
                    </a:p>
                  </a:txBody>
                  <a:tcPr marL="108000" marR="108000" marT="108000" marB="10800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i="1" kern="1200" noProof="0" dirty="0" smtClean="0"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610</a:t>
                      </a:r>
                      <a:r>
                        <a:rPr lang="en-US" sz="1600" b="1" i="1" kern="1200" baseline="0" noProof="0" dirty="0" smtClean="0"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880</a:t>
                      </a:r>
                      <a:r>
                        <a:rPr lang="ru-RU" sz="1600" b="1" i="1" kern="1200" noProof="0" dirty="0" smtClean="0"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**</a:t>
                      </a:r>
                      <a:r>
                        <a:rPr lang="en-US" sz="1600" b="1" i="1" kern="1200" noProof="0" dirty="0" smtClean="0"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*</a:t>
                      </a:r>
                      <a:endParaRPr lang="ru-RU" sz="1600" b="1" i="1" kern="1200" noProof="0" dirty="0" smtClean="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08000" marR="108000" marT="108000" marB="10800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i="1" kern="1200" noProof="0" dirty="0" smtClean="0"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690 000</a:t>
                      </a:r>
                    </a:p>
                  </a:txBody>
                  <a:tcPr marL="108000" marR="108000" marT="108000" marB="10800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pic>
        <p:nvPicPr>
          <p:cNvPr id="8" name="Рисунок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11560835" y="26986"/>
            <a:ext cx="819150" cy="866775"/>
          </a:xfrm>
          <a:prstGeom prst="rect">
            <a:avLst/>
          </a:prstGeom>
        </p:spPr>
      </p:pic>
      <p:sp>
        <p:nvSpPr>
          <p:cNvPr id="10" name="Прямоугольник 9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1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291652" y="7668279"/>
            <a:ext cx="1181174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1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*Портал Бизнес-навигатора МСП был введен в опытную эксплуатацию </a:t>
            </a:r>
            <a:r>
              <a:rPr kumimoji="0" lang="ru-RU" sz="1000" b="0" i="1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09.09.2016</a:t>
            </a:r>
            <a:r>
              <a:rPr kumimoji="0" lang="ru-RU" sz="1000" b="0" i="1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; ввод в промышленную эксплуатацию состоялся </a:t>
            </a:r>
            <a:r>
              <a:rPr kumimoji="0" lang="ru-RU" sz="1000" b="0" i="1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01.01.2017 г</a:t>
            </a:r>
            <a:r>
              <a:rPr kumimoji="0" lang="ru-RU" sz="1000" b="0" i="1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1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**Значение подтверждено данными ФНС России </a:t>
            </a:r>
            <a:r>
              <a:rPr kumimoji="0" lang="ru-RU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за 2017 </a:t>
            </a:r>
            <a:r>
              <a:rPr kumimoji="0" lang="ru-RU" sz="1000" b="0" i="1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год о динамике выручки и численности занятых у субъектов МСП – пользователей Портала, </a:t>
            </a:r>
            <a:r>
              <a:rPr kumimoji="0" lang="ru-RU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ивлеченных по состоянию на </a:t>
            </a:r>
            <a:r>
              <a:rPr kumimoji="0" lang="ru-RU" sz="1000" b="0" i="1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31.12.2017 </a:t>
            </a:r>
            <a:r>
              <a:rPr kumimoji="0" lang="ru-RU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г</a:t>
            </a:r>
            <a:r>
              <a:rPr kumimoji="0" lang="ru-RU" sz="1000" b="0" i="1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1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***Прогнозное значение на основе ретроспективных данных ФНС </a:t>
            </a:r>
            <a:r>
              <a:rPr kumimoji="0" lang="ru-RU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оссии за </a:t>
            </a: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7 </a:t>
            </a:r>
            <a:r>
              <a:rPr kumimoji="0" lang="ru-RU" sz="1000" b="0" i="1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год о динамике выручки и численности занятых у субъектов МСП – пользователей Портала, привлеченных по состоянию на 01.04.2019 г.</a:t>
            </a:r>
          </a:p>
        </p:txBody>
      </p:sp>
    </p:spTree>
    <p:extLst>
      <p:ext uri="{BB962C8B-B14F-4D97-AF65-F5344CB8AC3E}">
        <p14:creationId xmlns:p14="http://schemas.microsoft.com/office/powerpoint/2010/main" val="377028570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Диаграмма 23"/>
          <p:cNvGraphicFramePr>
            <a:graphicFrameLocks/>
          </p:cNvGraphicFramePr>
          <p:nvPr>
            <p:extLst/>
          </p:nvPr>
        </p:nvGraphicFramePr>
        <p:xfrm>
          <a:off x="307650" y="1458549"/>
          <a:ext cx="4572000" cy="24645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30" name="Рисунок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sp>
        <p:nvSpPr>
          <p:cNvPr id="41" name="TextBox 40"/>
          <p:cNvSpPr txBox="1"/>
          <p:nvPr/>
        </p:nvSpPr>
        <p:spPr>
          <a:xfrm>
            <a:off x="3762394" y="111515"/>
            <a:ext cx="7207445" cy="666162"/>
          </a:xfrm>
          <a:prstGeom prst="rect">
            <a:avLst/>
          </a:prstGeom>
          <a:noFill/>
        </p:spPr>
        <p:txBody>
          <a:bodyPr wrap="square" lIns="72000" tIns="36000" rIns="0" bIns="36000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лючевые показатели финансовой и гарантийной поддержки субъектов МСП (выдача 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езависимых гарантий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 поручительств)</a:t>
            </a:r>
          </a:p>
        </p:txBody>
      </p:sp>
      <p:graphicFrame>
        <p:nvGraphicFramePr>
          <p:cNvPr id="86" name="Таблица 85"/>
          <p:cNvGraphicFramePr>
            <a:graphicFrameLocks noGrp="1"/>
          </p:cNvGraphicFramePr>
          <p:nvPr>
            <p:extLst/>
          </p:nvPr>
        </p:nvGraphicFramePr>
        <p:xfrm>
          <a:off x="266701" y="4808306"/>
          <a:ext cx="12039599" cy="2384280"/>
        </p:xfrm>
        <a:graphic>
          <a:graphicData uri="http://schemas.openxmlformats.org/drawingml/2006/table">
            <a:tbl>
              <a:tblPr/>
              <a:tblGrid>
                <a:gridCol w="5556633">
                  <a:extLst>
                    <a:ext uri="{9D8B030D-6E8A-4147-A177-3AD203B41FA5}">
                      <a16:colId xmlns:a16="http://schemas.microsoft.com/office/drawing/2014/main" val="495193945"/>
                    </a:ext>
                  </a:extLst>
                </a:gridCol>
                <a:gridCol w="1296593">
                  <a:extLst>
                    <a:ext uri="{9D8B030D-6E8A-4147-A177-3AD203B41FA5}">
                      <a16:colId xmlns:a16="http://schemas.microsoft.com/office/drawing/2014/main" val="1680857824"/>
                    </a:ext>
                  </a:extLst>
                </a:gridCol>
                <a:gridCol w="1130455">
                  <a:extLst>
                    <a:ext uri="{9D8B030D-6E8A-4147-A177-3AD203B41FA5}">
                      <a16:colId xmlns:a16="http://schemas.microsoft.com/office/drawing/2014/main" val="4023638387"/>
                    </a:ext>
                  </a:extLst>
                </a:gridCol>
                <a:gridCol w="1163782">
                  <a:extLst>
                    <a:ext uri="{9D8B030D-6E8A-4147-A177-3AD203B41FA5}">
                      <a16:colId xmlns:a16="http://schemas.microsoft.com/office/drawing/2014/main" val="1542282728"/>
                    </a:ext>
                  </a:extLst>
                </a:gridCol>
                <a:gridCol w="1153391">
                  <a:extLst>
                    <a:ext uri="{9D8B030D-6E8A-4147-A177-3AD203B41FA5}">
                      <a16:colId xmlns:a16="http://schemas.microsoft.com/office/drawing/2014/main" val="3890655567"/>
                    </a:ext>
                  </a:extLst>
                </a:gridCol>
                <a:gridCol w="1738745">
                  <a:extLst>
                    <a:ext uri="{9D8B030D-6E8A-4147-A177-3AD203B41FA5}">
                      <a16:colId xmlns:a16="http://schemas.microsoft.com/office/drawing/2014/main" val="251915339"/>
                    </a:ext>
                  </a:extLst>
                </a:gridCol>
              </a:tblGrid>
              <a:tr h="201630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Вид гарантийной поддержки НГС</a:t>
                      </a:r>
                      <a:endParaRPr lang="ru-RU" sz="1400" b="0" i="0" u="none" strike="noStrike" dirty="0">
                        <a:solidFill>
                          <a:srgbClr val="FFFFFF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Объем выданных гарантий и поручительств, </a:t>
                      </a:r>
                      <a:r>
                        <a:rPr lang="ru-RU" sz="14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млрд </a:t>
                      </a:r>
                      <a:r>
                        <a:rPr lang="ru-RU" sz="14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рублей</a:t>
                      </a:r>
                      <a:endParaRPr lang="ru-RU" sz="1400" b="0" i="0" u="none" strike="noStrike" dirty="0">
                        <a:solidFill>
                          <a:srgbClr val="FFFFFF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FFFFFF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FFFFFF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FFFFFF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28550116"/>
                  </a:ext>
                </a:extLst>
              </a:tr>
              <a:tr h="336906">
                <a:tc v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FFFFFF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15</a:t>
                      </a:r>
                      <a:endParaRPr lang="ru-RU" sz="1400" b="1" i="0" u="none" strike="noStrike" dirty="0">
                        <a:solidFill>
                          <a:srgbClr val="FFFFFF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16</a:t>
                      </a:r>
                      <a:endParaRPr lang="ru-RU" sz="1400" b="1" i="0" u="none" strike="noStrike" dirty="0">
                        <a:solidFill>
                          <a:srgbClr val="FFFFFF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17</a:t>
                      </a:r>
                      <a:endParaRPr lang="ru-RU" sz="1400" b="1" i="0" u="none" strike="noStrike" dirty="0">
                        <a:solidFill>
                          <a:srgbClr val="FFFFFF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18</a:t>
                      </a:r>
                    </a:p>
                  </a:txBody>
                  <a:tcPr marL="0" marR="0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19</a:t>
                      </a:r>
                    </a:p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(факт на 13.05.2019)</a:t>
                      </a:r>
                      <a:endParaRPr lang="ru-RU" sz="1400" b="1" i="0" u="none" strike="noStrike" dirty="0">
                        <a:solidFill>
                          <a:srgbClr val="FFFFFF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36000" marB="3600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9553540"/>
                  </a:ext>
                </a:extLst>
              </a:tr>
              <a:tr h="151631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  Гарантии и поручительства АО «Корпорация «МСП», </a:t>
                      </a:r>
                      <a:r>
                        <a:rPr lang="ru-RU" sz="1200" b="0" i="1" u="none" strike="noStrike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:</a:t>
                      </a:r>
                      <a:endParaRPr lang="ru-RU" sz="1200" b="0" i="1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17,8</a:t>
                      </a:r>
                      <a:endParaRPr lang="ru-RU" sz="13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61,0</a:t>
                      </a:r>
                      <a:endParaRPr lang="ru-RU" sz="13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86,7</a:t>
                      </a:r>
                      <a:endParaRPr lang="ru-RU" sz="13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79,2</a:t>
                      </a:r>
                      <a:endParaRPr lang="ru-RU" sz="13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17,1</a:t>
                      </a:r>
                      <a:endParaRPr lang="ru-RU" sz="13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5401196"/>
                  </a:ext>
                </a:extLst>
              </a:tr>
              <a:tr h="133838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0" i="1" u="none" strike="noStrike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            </a:t>
                      </a:r>
                      <a:r>
                        <a:rPr lang="ru-RU" sz="1200" b="0" i="1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гарантии</a:t>
                      </a:r>
                      <a:endParaRPr lang="ru-RU" sz="1200" b="0" i="1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00" b="0" i="1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17,7</a:t>
                      </a:r>
                      <a:endParaRPr lang="ru-RU" sz="1300" b="0" i="1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00" b="0" i="1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10,5</a:t>
                      </a:r>
                      <a:endParaRPr lang="ru-RU" sz="1300" b="0" i="1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00" b="0" i="1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15,8</a:t>
                      </a:r>
                      <a:endParaRPr lang="ru-RU" sz="1300" b="0" i="1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00" b="0" i="1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16,1</a:t>
                      </a:r>
                      <a:endParaRPr lang="ru-RU" sz="1300" b="0" i="1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00" b="0" i="1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6,7</a:t>
                      </a:r>
                      <a:endParaRPr lang="ru-RU" sz="1300" b="0" i="1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03757"/>
                  </a:ext>
                </a:extLst>
              </a:tr>
              <a:tr h="133838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0" i="1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           поручительства по Программе стимулирования кредитования субъектов МСП</a:t>
                      </a:r>
                      <a:endParaRPr lang="ru-RU" sz="1200" b="0" i="1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00" b="0" i="1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0,1</a:t>
                      </a:r>
                      <a:endParaRPr lang="ru-RU" sz="1300" b="0" i="1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00" b="0" i="1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50,5</a:t>
                      </a:r>
                      <a:endParaRPr lang="ru-RU" sz="1300" b="0" i="1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00" b="0" i="1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70,9</a:t>
                      </a:r>
                      <a:endParaRPr lang="ru-RU" sz="1300" b="0" i="1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00" b="0" i="1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55,8</a:t>
                      </a:r>
                      <a:endParaRPr lang="ru-RU" sz="1300" b="0" i="1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00" b="0" i="1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10,4</a:t>
                      </a:r>
                      <a:endParaRPr lang="ru-RU" sz="1300" b="0" i="1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4614201"/>
                  </a:ext>
                </a:extLst>
              </a:tr>
              <a:tr h="133838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0" i="1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           поручительство</a:t>
                      </a:r>
                      <a:r>
                        <a:rPr lang="ru-RU" sz="1200" b="0" i="1" u="none" strike="noStrike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 в рамках </a:t>
                      </a:r>
                      <a:r>
                        <a:rPr lang="ru-RU" sz="1200" b="0" i="1" u="none" strike="noStrike" baseline="0" dirty="0" err="1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секьюритизации</a:t>
                      </a:r>
                      <a:r>
                        <a:rPr lang="ru-RU" sz="1200" b="0" i="1" u="none" strike="noStrike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 портфеля кредитов субъектов МСП</a:t>
                      </a:r>
                      <a:endParaRPr lang="ru-RU" sz="1200" b="0" i="1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300" b="0" i="1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300" b="0" i="1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300" b="0" i="1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00" b="0" i="1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7,3</a:t>
                      </a:r>
                      <a:endParaRPr lang="ru-RU" sz="1300" b="0" i="1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300" b="0" i="1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9416188"/>
                  </a:ext>
                </a:extLst>
              </a:tr>
              <a:tr h="205905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2000" b="1" i="0" u="none" strike="noStrike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400" b="1" i="0" u="none" strike="noStrike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Гарантии АО «МСП Банк»</a:t>
                      </a:r>
                      <a:endParaRPr lang="ru-RU" sz="14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-</a:t>
                      </a:r>
                      <a:endParaRPr lang="ru-RU" sz="13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13,5</a:t>
                      </a:r>
                      <a:endParaRPr lang="ru-RU" sz="13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11,6**</a:t>
                      </a:r>
                      <a:endParaRPr lang="ru-RU" sz="13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19,2**</a:t>
                      </a:r>
                      <a:endParaRPr lang="ru-RU" sz="13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7,4</a:t>
                      </a:r>
                      <a:endParaRPr lang="ru-RU" sz="13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5855527"/>
                  </a:ext>
                </a:extLst>
              </a:tr>
              <a:tr h="160062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400" b="1" i="0" u="none" strike="noStrike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Поручительства РГО</a:t>
                      </a:r>
                      <a:endParaRPr lang="ru-RU" sz="14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5214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24,8</a:t>
                      </a: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5214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27,7</a:t>
                      </a: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5214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42,6</a:t>
                      </a: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5214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48,0</a:t>
                      </a: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5214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12,9</a:t>
                      </a: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9708098"/>
                  </a:ext>
                </a:extLst>
              </a:tr>
              <a:tr h="185315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800" b="1" i="0" u="none" strike="noStrike" dirty="0" smtClean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</a:rPr>
                        <a:t> Итого гарантийная поддержка НГС</a:t>
                      </a:r>
                      <a:endParaRPr lang="ru-RU" sz="1800" b="1" i="0" u="none" strike="noStrik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1" i="0" u="none" strike="noStrike" dirty="0" smtClean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</a:rPr>
                        <a:t>42,6</a:t>
                      </a: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1" i="0" u="none" strike="noStrike" dirty="0" smtClean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</a:rPr>
                        <a:t>102,2</a:t>
                      </a: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1" i="0" u="none" strike="noStrike" dirty="0" smtClean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</a:rPr>
                        <a:t>140,9</a:t>
                      </a: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1" i="0" u="none" strike="noStrike" dirty="0" smtClean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</a:rPr>
                        <a:t>146,4</a:t>
                      </a: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1" i="0" u="none" strike="noStrike" dirty="0" smtClean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</a:rPr>
                        <a:t>37,4</a:t>
                      </a: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6953685"/>
                  </a:ext>
                </a:extLst>
              </a:tr>
            </a:tbl>
          </a:graphicData>
        </a:graphic>
      </p:graphicFrame>
      <p:sp>
        <p:nvSpPr>
          <p:cNvPr id="37" name="TextBox 36"/>
          <p:cNvSpPr txBox="1"/>
          <p:nvPr/>
        </p:nvSpPr>
        <p:spPr>
          <a:xfrm>
            <a:off x="4981601" y="903372"/>
            <a:ext cx="6936174" cy="338554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редние процентные ставки по кредитам, предоставленным субъектам МСП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aphicFrame>
        <p:nvGraphicFramePr>
          <p:cNvPr id="39" name="Таблица 38"/>
          <p:cNvGraphicFramePr>
            <a:graphicFrameLocks noGrp="1"/>
          </p:cNvGraphicFramePr>
          <p:nvPr>
            <p:extLst/>
          </p:nvPr>
        </p:nvGraphicFramePr>
        <p:xfrm>
          <a:off x="4931268" y="1328917"/>
          <a:ext cx="7370549" cy="2995106"/>
        </p:xfrm>
        <a:graphic>
          <a:graphicData uri="http://schemas.openxmlformats.org/drawingml/2006/table">
            <a:tbl>
              <a:tblPr/>
              <a:tblGrid>
                <a:gridCol w="4062005">
                  <a:extLst>
                    <a:ext uri="{9D8B030D-6E8A-4147-A177-3AD203B41FA5}">
                      <a16:colId xmlns:a16="http://schemas.microsoft.com/office/drawing/2014/main" val="495193945"/>
                    </a:ext>
                  </a:extLst>
                </a:gridCol>
                <a:gridCol w="827136">
                  <a:extLst>
                    <a:ext uri="{9D8B030D-6E8A-4147-A177-3AD203B41FA5}">
                      <a16:colId xmlns:a16="http://schemas.microsoft.com/office/drawing/2014/main" val="3616659066"/>
                    </a:ext>
                  </a:extLst>
                </a:gridCol>
                <a:gridCol w="827136">
                  <a:extLst>
                    <a:ext uri="{9D8B030D-6E8A-4147-A177-3AD203B41FA5}">
                      <a16:colId xmlns:a16="http://schemas.microsoft.com/office/drawing/2014/main" val="894166186"/>
                    </a:ext>
                  </a:extLst>
                </a:gridCol>
                <a:gridCol w="827136">
                  <a:extLst>
                    <a:ext uri="{9D8B030D-6E8A-4147-A177-3AD203B41FA5}">
                      <a16:colId xmlns:a16="http://schemas.microsoft.com/office/drawing/2014/main" val="3395505613"/>
                    </a:ext>
                  </a:extLst>
                </a:gridCol>
                <a:gridCol w="827136">
                  <a:extLst>
                    <a:ext uri="{9D8B030D-6E8A-4147-A177-3AD203B41FA5}">
                      <a16:colId xmlns:a16="http://schemas.microsoft.com/office/drawing/2014/main" val="951402862"/>
                    </a:ext>
                  </a:extLst>
                </a:gridCol>
              </a:tblGrid>
              <a:tr h="379001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                                                    </a:t>
                      </a:r>
                      <a:endParaRPr lang="ru-RU" sz="1400" b="0" i="0" u="none" strike="noStrike" dirty="0">
                        <a:solidFill>
                          <a:srgbClr val="FFFFFF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5214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15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5214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1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5214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17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5214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201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28550116"/>
                  </a:ext>
                </a:extLst>
              </a:tr>
              <a:tr h="564762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3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  по кредитам, предоставленным кредитными </a:t>
                      </a:r>
                    </a:p>
                    <a:p>
                      <a:pPr algn="l" rtl="0" fontAlgn="ctr"/>
                      <a:r>
                        <a:rPr lang="ru-RU" sz="1300" b="0" i="0" u="none" strike="noStrike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  </a:t>
                      </a:r>
                      <a:r>
                        <a:rPr lang="ru-RU" sz="13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организациями субъектам МСП</a:t>
                      </a:r>
                      <a:r>
                        <a:rPr lang="ru-RU" sz="1300" b="0" i="0" u="none" strike="noStrike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300" b="1" i="0" u="none" strike="noStrike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в целом по </a:t>
                      </a:r>
                    </a:p>
                    <a:p>
                      <a:pPr algn="l" rtl="0" fontAlgn="ctr"/>
                      <a:r>
                        <a:rPr lang="ru-RU" sz="1300" b="1" i="0" u="none" strike="noStrike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  Российской Федерации (по данным Банка России)</a:t>
                      </a:r>
                      <a:endParaRPr lang="ru-RU" sz="1300" b="1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5214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u="none" strike="noStrike" dirty="0" smtClean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</a:rPr>
                        <a:t>до </a:t>
                      </a:r>
                    </a:p>
                    <a:p>
                      <a:pPr marL="0" marR="0" lvl="0" indent="0" algn="ctr" defTabSz="115214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u="none" strike="noStrike" dirty="0" smtClean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</a:rPr>
                        <a:t>17,77%</a:t>
                      </a: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5214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u="none" strike="noStrike" dirty="0" smtClean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</a:rPr>
                        <a:t>до </a:t>
                      </a:r>
                    </a:p>
                    <a:p>
                      <a:pPr marL="0" marR="0" lvl="0" indent="0" algn="ctr" defTabSz="115214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u="none" strike="noStrike" dirty="0" smtClean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</a:rPr>
                        <a:t>15,78%</a:t>
                      </a: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5214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u="none" strike="noStrike" dirty="0" smtClean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</a:rPr>
                        <a:t>до </a:t>
                      </a:r>
                    </a:p>
                    <a:p>
                      <a:pPr marL="0" marR="0" lvl="0" indent="0" algn="ctr" defTabSz="115214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u="none" strike="noStrike" dirty="0" smtClean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</a:rPr>
                        <a:t>13,62%</a:t>
                      </a: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5214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u="none" strike="noStrike" dirty="0" smtClean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</a:rPr>
                        <a:t>до </a:t>
                      </a:r>
                    </a:p>
                    <a:p>
                      <a:pPr marL="0" marR="0" lvl="0" indent="0" algn="ctr" defTabSz="115214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u="none" strike="noStrike" dirty="0" smtClean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</a:rPr>
                        <a:t>11,28%</a:t>
                      </a: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16819952"/>
                  </a:ext>
                </a:extLst>
              </a:tr>
              <a:tr h="558694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300" b="0" i="0" u="none" strike="noStrike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  по кредитам и займам, </a:t>
                      </a:r>
                      <a:r>
                        <a:rPr lang="ru-RU" sz="1300" b="1" i="0" u="none" strike="noStrike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обеспеченным гарантиями </a:t>
                      </a:r>
                    </a:p>
                    <a:p>
                      <a:pPr algn="l" rtl="0" fontAlgn="ctr"/>
                      <a:r>
                        <a:rPr lang="ru-RU" sz="1300" b="1" i="0" u="none" strike="noStrike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  и поручительствами АО «Корпорация «МСП»</a:t>
                      </a:r>
                      <a:endParaRPr lang="ru-RU" sz="1300" b="1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17,15%</a:t>
                      </a: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10,74%</a:t>
                      </a:r>
                      <a:endParaRPr lang="ru-RU" sz="14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10,00%</a:t>
                      </a:r>
                      <a:endParaRPr lang="ru-RU" sz="14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8,61%</a:t>
                      </a:r>
                      <a:endParaRPr lang="ru-RU" sz="14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5401196"/>
                  </a:ext>
                </a:extLst>
              </a:tr>
              <a:tr h="345663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300" b="0" i="0" u="none" strike="noStrike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  </a:t>
                      </a:r>
                      <a:r>
                        <a:rPr lang="ru-RU" sz="1300" b="1" i="0" u="none" strike="noStrike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по прямому кредитованию АО «МСП Банк»*</a:t>
                      </a:r>
                      <a:endParaRPr lang="ru-RU" sz="1300" b="1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-</a:t>
                      </a:r>
                      <a:endParaRPr lang="ru-RU" sz="14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10,76%</a:t>
                      </a:r>
                      <a:endParaRPr lang="ru-RU" sz="14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10,55%</a:t>
                      </a:r>
                      <a:endParaRPr lang="ru-RU" sz="14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9,29</a:t>
                      </a:r>
                      <a:r>
                        <a:rPr lang="ru-RU" sz="14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%</a:t>
                      </a:r>
                      <a:endParaRPr lang="ru-RU" sz="14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5855527"/>
                  </a:ext>
                </a:extLst>
              </a:tr>
              <a:tr h="558694">
                <a:tc>
                  <a:txBody>
                    <a:bodyPr/>
                    <a:lstStyle/>
                    <a:p>
                      <a:pPr marL="90488" indent="0" algn="l" defTabSz="1152144" rtl="0" eaLnBrk="1" fontAlgn="ctr" latinLnBrk="0" hangingPunct="1"/>
                      <a:r>
                        <a:rPr lang="ru-RU" sz="1300" b="0" i="0" u="none" strike="noStrike" kern="1200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по кредитам банков-партнеров</a:t>
                      </a:r>
                      <a:r>
                        <a:rPr lang="ru-RU" sz="1300" b="1" i="0" u="none" strike="noStrike" kern="1200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, обеспеченным гарантиями АО «МСП Банк»</a:t>
                      </a: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-</a:t>
                      </a:r>
                      <a:endParaRPr lang="ru-RU" sz="14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11,92%</a:t>
                      </a:r>
                      <a:endParaRPr lang="ru-RU" sz="14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11,52%</a:t>
                      </a:r>
                      <a:endParaRPr lang="ru-RU" sz="14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10,19%</a:t>
                      </a:r>
                      <a:endParaRPr lang="ru-RU" sz="14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58694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3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  по кредитам и займам, </a:t>
                      </a:r>
                      <a:r>
                        <a:rPr lang="ru-RU" sz="1300" b="1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обеспеченным  </a:t>
                      </a:r>
                    </a:p>
                    <a:p>
                      <a:pPr algn="l" rtl="0" fontAlgn="ctr"/>
                      <a:r>
                        <a:rPr lang="ru-RU" sz="1300" b="1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  поручительствами РГО</a:t>
                      </a:r>
                      <a:endParaRPr lang="ru-RU" sz="1300" b="1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5214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17,85%</a:t>
                      </a: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5214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15,27%</a:t>
                      </a: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5214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12,02%</a:t>
                      </a: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5214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10,16%</a:t>
                      </a: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9708098"/>
                  </a:ext>
                </a:extLst>
              </a:tr>
            </a:tbl>
          </a:graphicData>
        </a:graphic>
      </p:graphicFrame>
      <p:sp>
        <p:nvSpPr>
          <p:cNvPr id="28" name="Прямоугольник 27"/>
          <p:cNvSpPr/>
          <p:nvPr/>
        </p:nvSpPr>
        <p:spPr>
          <a:xfrm>
            <a:off x="229060" y="1095439"/>
            <a:ext cx="4598972" cy="414593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55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Консолидированный объем                            финансовой поддержки МСП с участием НГС,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55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включая прямые кредиты АО «МСП Банк», млрд руб.</a:t>
            </a:r>
            <a:endParaRPr kumimoji="0" lang="ru-RU" sz="155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Calibri" panose="020F0502020204030204" pitchFamily="34" charset="0"/>
              <a:cs typeface="+mn-cs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79860" y="8088690"/>
            <a:ext cx="7835440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1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** В рамках утвержденных стандартов работы НГС поток заявок в сегменте до 25 млн рублей направлен в РГО</a:t>
            </a:r>
            <a:endParaRPr kumimoji="0" lang="ru-RU" sz="1000" b="0" i="1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5009751" y="4232549"/>
            <a:ext cx="7067950" cy="400110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1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* АО «МСП Банк» осуществляет прямое кредитование субъектов МСП с 2016 года; в 2018 году средняя процентная ставка по кредитам АО «МСП Банк» на инвестиционные цели  составила </a:t>
            </a:r>
            <a:r>
              <a:rPr kumimoji="0" lang="ru-RU" sz="1000" b="1" i="1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7,7</a:t>
            </a:r>
            <a:r>
              <a:rPr kumimoji="0" lang="ru-RU" sz="1000" b="0" i="1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% годовых</a:t>
            </a:r>
            <a:endParaRPr kumimoji="0" lang="ru-RU" sz="1000" b="0" i="1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193675" y="7264225"/>
            <a:ext cx="12095442" cy="125964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1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Calibri" panose="020F0502020204030204" pitchFamily="34" charset="0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Объем гарантийной поддержки участниками НГС нарастающим итогом  за 2015-2019 гг.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–                                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млрд руб. 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Calibri" panose="020F0502020204030204" pitchFamily="34" charset="0"/>
              <a:cs typeface="+mn-cs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97015" y="7566861"/>
            <a:ext cx="1202637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Корпорацией проведены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33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выездных стратегических сессии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в субъектах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РФ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, по результатам которых отобраны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165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приоритетных инвестиционных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проектов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для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оказания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финансовой поддержки в рамках НГС 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3722416" y="1897433"/>
            <a:ext cx="118687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план</a:t>
            </a:r>
            <a:endParaRPr kumimoji="0" lang="ru-RU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Calibri" panose="020F0502020204030204" pitchFamily="34" charset="0"/>
              <a:cs typeface="+mn-cs"/>
            </a:endParaRPr>
          </a:p>
        </p:txBody>
      </p:sp>
      <p:pic>
        <p:nvPicPr>
          <p:cNvPr id="25" name="Рисунок 2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779279" y="52362"/>
            <a:ext cx="1535238" cy="772005"/>
          </a:xfrm>
          <a:prstGeom prst="rect">
            <a:avLst/>
          </a:prstGeom>
        </p:spPr>
      </p:pic>
      <p:sp>
        <p:nvSpPr>
          <p:cNvPr id="9" name="Прямоугольник 8"/>
          <p:cNvSpPr/>
          <p:nvPr/>
        </p:nvSpPr>
        <p:spPr>
          <a:xfrm>
            <a:off x="7834912" y="7142452"/>
            <a:ext cx="141737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Black" panose="020B0A04020102020204" pitchFamily="34" charset="0"/>
                <a:ea typeface="Calibri" panose="020F0502020204030204" pitchFamily="34" charset="0"/>
                <a:cs typeface="+mn-cs"/>
              </a:rPr>
              <a:t>469,5</a:t>
            </a:r>
            <a:endParaRPr kumimoji="0" lang="ru-RU" sz="3200" b="0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</a:endParaRPr>
          </a:p>
        </p:txBody>
      </p:sp>
      <p:cxnSp>
        <p:nvCxnSpPr>
          <p:cNvPr id="31" name="Прямая соединительная линия 30"/>
          <p:cNvCxnSpPr/>
          <p:nvPr/>
        </p:nvCxnSpPr>
        <p:spPr>
          <a:xfrm>
            <a:off x="282575" y="900113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Прямоугольник 31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2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3245092" y="3706508"/>
            <a:ext cx="1677214" cy="1066996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Calibri" panose="020F0502020204030204" pitchFamily="34" charset="0"/>
              <a:cs typeface="+mn-cs"/>
            </a:endParaRPr>
          </a:p>
        </p:txBody>
      </p:sp>
      <p:grpSp>
        <p:nvGrpSpPr>
          <p:cNvPr id="26" name="Группа 25"/>
          <p:cNvGrpSpPr/>
          <p:nvPr/>
        </p:nvGrpSpPr>
        <p:grpSpPr>
          <a:xfrm>
            <a:off x="391105" y="3765159"/>
            <a:ext cx="4370655" cy="1077088"/>
            <a:chOff x="193675" y="3765159"/>
            <a:chExt cx="4571094" cy="1077088"/>
          </a:xfrm>
        </p:grpSpPr>
        <p:sp>
          <p:nvSpPr>
            <p:cNvPr id="29" name="Прямоугольник 28"/>
            <p:cNvSpPr/>
            <p:nvPr/>
          </p:nvSpPr>
          <p:spPr>
            <a:xfrm>
              <a:off x="193675" y="3775251"/>
              <a:ext cx="2569114" cy="1066996"/>
            </a:xfrm>
            <a:prstGeom prst="rect">
              <a:avLst/>
            </a:prstGeom>
            <a:noFill/>
          </p:spPr>
          <p:txBody>
            <a:bodyPr wrap="square" anchor="ctr" anchorCtr="0">
              <a:no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ED7D31"/>
                  </a:solidFill>
                  <a:effectLst/>
                  <a:uLnTx/>
                  <a:uFillTx/>
                  <a:latin typeface="Arial Narrow" panose="020B0606020202030204" pitchFamily="34" charset="0"/>
                  <a:ea typeface="Calibri" panose="020F0502020204030204" pitchFamily="34" charset="0"/>
                  <a:cs typeface="+mn-cs"/>
                </a:rPr>
                <a:t>Объем финансовой поддержки  </a:t>
              </a:r>
              <a:r>
                <a:rPr kumimoji="0" 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ED7D31"/>
                  </a:solidFill>
                  <a:effectLst/>
                  <a:uLnTx/>
                  <a:uFillTx/>
                  <a:latin typeface="Arial Narrow" panose="020B0606020202030204" pitchFamily="34" charset="0"/>
                  <a:ea typeface="Calibri" panose="020F0502020204030204" pitchFamily="34" charset="0"/>
                  <a:cs typeface="+mn-cs"/>
                </a:rPr>
                <a:t>нарастающим </a:t>
              </a:r>
              <a:r>
                <a:rPr kumimoji="0" lang="ru-RU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ED7D31"/>
                  </a:solidFill>
                  <a:effectLst/>
                  <a:uLnTx/>
                  <a:uFillTx/>
                  <a:latin typeface="Arial Narrow" panose="020B0606020202030204" pitchFamily="34" charset="0"/>
                  <a:ea typeface="Calibri" panose="020F0502020204030204" pitchFamily="34" charset="0"/>
                  <a:cs typeface="+mn-cs"/>
                </a:rPr>
                <a:t>итогом за 2015-2019 гг. </a:t>
              </a:r>
              <a:r>
                <a:rPr kumimoji="0" lang="ru-RU" sz="16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ED7D31"/>
                  </a:solidFill>
                  <a:effectLst/>
                  <a:uLnTx/>
                  <a:uFillTx/>
                  <a:latin typeface="Arial Narrow" panose="020B0606020202030204" pitchFamily="34" charset="0"/>
                  <a:ea typeface="Calibri" panose="020F0502020204030204" pitchFamily="34" charset="0"/>
                  <a:cs typeface="+mn-cs"/>
                </a:rPr>
                <a:t>–</a:t>
              </a:r>
              <a:r>
                <a:rPr kumimoji="0" lang="ru-RU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ED7D31"/>
                  </a:solidFill>
                  <a:effectLst/>
                  <a:uLnTx/>
                  <a:uFillTx/>
                  <a:latin typeface="Arial Narrow" panose="020B0606020202030204" pitchFamily="34" charset="0"/>
                  <a:ea typeface="Calibri" panose="020F0502020204030204" pitchFamily="34" charset="0"/>
                  <a:cs typeface="+mn-cs"/>
                </a:rPr>
                <a:t> </a:t>
              </a:r>
              <a:endPara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endParaRPr>
            </a:p>
          </p:txBody>
        </p:sp>
        <p:sp>
          <p:nvSpPr>
            <p:cNvPr id="33" name="Прямоугольник 32"/>
            <p:cNvSpPr/>
            <p:nvPr/>
          </p:nvSpPr>
          <p:spPr>
            <a:xfrm>
              <a:off x="3016675" y="3765159"/>
              <a:ext cx="1748094" cy="1066996"/>
            </a:xfrm>
            <a:prstGeom prst="rect">
              <a:avLst/>
            </a:prstGeom>
            <a:noFill/>
          </p:spPr>
          <p:txBody>
            <a:bodyPr wrap="square" anchor="ctr" anchorCtr="0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ED7D31"/>
                  </a:solidFill>
                  <a:effectLst/>
                  <a:uLnTx/>
                  <a:uFillTx/>
                  <a:latin typeface="Arial Narrow" panose="020B0606020202030204" pitchFamily="34" charset="0"/>
                  <a:ea typeface="Calibri" panose="020F0502020204030204" pitchFamily="34" charset="0"/>
                  <a:cs typeface="+mn-cs"/>
                </a:rPr>
                <a:t>трлн руб.</a:t>
              </a:r>
              <a:endPara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endParaRPr>
            </a:p>
          </p:txBody>
        </p:sp>
        <p:sp>
          <p:nvSpPr>
            <p:cNvPr id="34" name="Прямоугольник 33"/>
            <p:cNvSpPr/>
            <p:nvPr/>
          </p:nvSpPr>
          <p:spPr>
            <a:xfrm>
              <a:off x="2830556" y="3949684"/>
              <a:ext cx="646331" cy="6463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36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ED7D31"/>
                  </a:solidFill>
                  <a:effectLst/>
                  <a:uLnTx/>
                  <a:uFillTx/>
                  <a:latin typeface="Arial Black" panose="020B0A04020102020204" pitchFamily="34" charset="0"/>
                  <a:ea typeface="Calibri" panose="020F0502020204030204" pitchFamily="34" charset="0"/>
                  <a:cs typeface="+mn-cs"/>
                </a:rPr>
                <a:t>2 </a:t>
              </a:r>
              <a:endParaRPr kumimoji="0" lang="ru-RU" sz="3600" b="0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966508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Рисунок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sp>
        <p:nvSpPr>
          <p:cNvPr id="30" name="TextBox 29"/>
          <p:cNvSpPr txBox="1"/>
          <p:nvPr/>
        </p:nvSpPr>
        <p:spPr>
          <a:xfrm>
            <a:off x="2235537" y="45337"/>
            <a:ext cx="8267364" cy="851085"/>
          </a:xfrm>
          <a:prstGeom prst="rect">
            <a:avLst/>
          </a:prstGeom>
          <a:noFill/>
        </p:spPr>
        <p:txBody>
          <a:bodyPr wrap="square" lIns="72000" tIns="36000" rIns="0" bIns="36000" rtlCol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ограмма льготного лизинга оборудования для субъектов индивидуального и малого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едпринимательства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11914632" y="8330454"/>
            <a:ext cx="391994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13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282575" y="900113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Рисунок 2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69599" y="54867"/>
            <a:ext cx="1549399" cy="779127"/>
          </a:xfrm>
          <a:prstGeom prst="rect">
            <a:avLst/>
          </a:prstGeom>
        </p:spPr>
      </p:pic>
      <p:sp>
        <p:nvSpPr>
          <p:cNvPr id="16" name="Прямоугольник 15"/>
          <p:cNvSpPr/>
          <p:nvPr/>
        </p:nvSpPr>
        <p:spPr>
          <a:xfrm>
            <a:off x="223837" y="1067197"/>
            <a:ext cx="1215390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В рамках сводного плана приоритетного проекта «Малый бизнес и поддержка индивидуальной предпринимательской инициативы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»*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созданы АО «РЛК Республики Татарстан», АО «РЛК Республики Башкортостан», АО «РЛК Ярославской области» и АО «РЛК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Республики Саха (Якутия)»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с уставным капиталом каждой компании 2 млрд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руб.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 Narrow" panose="020B0606020202030204" pitchFamily="34" charset="0"/>
              <a:ea typeface="Calibri" panose="020F0502020204030204" pitchFamily="34" charset="0"/>
              <a:cs typeface="+mn-cs"/>
            </a:endParaRPr>
          </a:p>
        </p:txBody>
      </p:sp>
      <p:sp>
        <p:nvSpPr>
          <p:cNvPr id="106" name="Прямоугольник 105"/>
          <p:cNvSpPr/>
          <p:nvPr/>
        </p:nvSpPr>
        <p:spPr>
          <a:xfrm>
            <a:off x="384715" y="7841786"/>
            <a:ext cx="12215274" cy="596030"/>
          </a:xfrm>
          <a:prstGeom prst="rect">
            <a:avLst/>
          </a:prstGeom>
        </p:spPr>
        <p:txBody>
          <a:bodyPr wrap="square" lIns="72000" tIns="108000" rIns="36000" bIns="0" anchor="t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*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иоритетный проект 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«Малый бизнес и поддержка индивидуальной предпринимательской инициативы» (протокол от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7.12.2016 № 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5)</a:t>
            </a:r>
            <a:endParaRPr kumimoji="0" lang="en-US" sz="1000" b="0" i="0" u="none" strike="noStrike" kern="1200" cap="none" spc="0" normalizeH="0" baseline="0" noProof="0" dirty="0" smtClean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*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* 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 том числе в рамках реализации мероприятий по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азвитию сельскохозяйственной кооперации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*** ЮЛ и ИП, отнесенные к категории субъекта «</a:t>
            </a:r>
            <a:r>
              <a:rPr kumimoji="0" lang="ru-RU" sz="10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Микропредприятия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» или «Малые предприятия» в соответствии с Федеральным законом от 24 июля 2007 г. № 209-ФЗ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**** 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 соответствии с законодательством РФ о валютном регулировании и валютном контроле</a:t>
            </a:r>
          </a:p>
        </p:txBody>
      </p:sp>
      <p:sp>
        <p:nvSpPr>
          <p:cNvPr id="242" name="TextBox 241"/>
          <p:cNvSpPr txBox="1"/>
          <p:nvPr/>
        </p:nvSpPr>
        <p:spPr>
          <a:xfrm>
            <a:off x="627511" y="1852157"/>
            <a:ext cx="4848542" cy="330669"/>
          </a:xfrm>
          <a:prstGeom prst="rect">
            <a:avLst/>
          </a:prstGeom>
          <a:solidFill>
            <a:srgbClr val="5B9BD5">
              <a:lumMod val="50000"/>
            </a:srgbClr>
          </a:solidFill>
        </p:spPr>
        <p:txBody>
          <a:bodyPr wrap="square" lIns="0" rtlCol="0" anchor="ctr" anchorCtr="0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000" b="1" i="0" u="none" strike="noStrike" cap="none" spc="0" normalizeH="0" baseline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</a:defRPr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едмет лизинга</a:t>
            </a:r>
          </a:p>
        </p:txBody>
      </p:sp>
      <p:graphicFrame>
        <p:nvGraphicFramePr>
          <p:cNvPr id="243" name="Таблица 242"/>
          <p:cNvGraphicFramePr>
            <a:graphicFrameLocks noGrp="1"/>
          </p:cNvGraphicFramePr>
          <p:nvPr>
            <p:extLst/>
          </p:nvPr>
        </p:nvGraphicFramePr>
        <p:xfrm>
          <a:off x="5631047" y="2259495"/>
          <a:ext cx="6721150" cy="1789920"/>
        </p:xfrm>
        <a:graphic>
          <a:graphicData uri="http://schemas.openxmlformats.org/drawingml/2006/table">
            <a:tbl>
              <a:tblPr/>
              <a:tblGrid>
                <a:gridCol w="2040643">
                  <a:extLst>
                    <a:ext uri="{9D8B030D-6E8A-4147-A177-3AD203B41FA5}">
                      <a16:colId xmlns:a16="http://schemas.microsoft.com/office/drawing/2014/main" val="2985683231"/>
                    </a:ext>
                  </a:extLst>
                </a:gridCol>
                <a:gridCol w="4680507">
                  <a:extLst>
                    <a:ext uri="{9D8B030D-6E8A-4147-A177-3AD203B41FA5}">
                      <a16:colId xmlns:a16="http://schemas.microsoft.com/office/drawing/2014/main" val="1334048016"/>
                    </a:ext>
                  </a:extLst>
                </a:gridCol>
              </a:tblGrid>
              <a:tr h="517522">
                <a:tc>
                  <a:txBody>
                    <a:bodyPr/>
                    <a:lstStyle>
                      <a:lvl1pPr marL="0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62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24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39986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649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11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79973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635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297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88900" indent="0" algn="l" defTabSz="1093324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ru-RU" sz="1600" kern="1200" dirty="0" smtClean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+mn-cs"/>
                        </a:rPr>
                        <a:t>Процентная ставка </a:t>
                      </a:r>
                      <a:endParaRPr lang="ru-RU" sz="1600" kern="1200" dirty="0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36000" marR="36000" marT="36000" marB="3600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F5FE"/>
                    </a:solidFill>
                  </a:tcPr>
                </a:tc>
                <a:tc>
                  <a:txBody>
                    <a:bodyPr/>
                    <a:lstStyle>
                      <a:lvl1pPr marL="0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62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24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39986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649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11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79973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635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297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b"/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% </a:t>
                      </a:r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одовых - для российского оборудования</a:t>
                      </a:r>
                    </a:p>
                    <a:p>
                      <a:pPr algn="l" fontAlgn="b"/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% </a:t>
                      </a:r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одовых - для иностранного оборудования</a:t>
                      </a:r>
                    </a:p>
                  </a:txBody>
                  <a:tcPr marL="36000" marR="36000" marT="36000" marB="3600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2610129"/>
                  </a:ext>
                </a:extLst>
              </a:tr>
              <a:tr h="517522">
                <a:tc>
                  <a:txBody>
                    <a:bodyPr/>
                    <a:lstStyle>
                      <a:lvl1pPr marL="0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62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24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39986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649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11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79973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635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297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88900" indent="0" algn="l" defTabSz="1093324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ru-RU" sz="1600" kern="1200" dirty="0" smtClean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+mn-cs"/>
                        </a:rPr>
                        <a:t>Сумма финансирования</a:t>
                      </a:r>
                      <a:endParaRPr lang="ru-RU" sz="1600" kern="1200" dirty="0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36000" marR="36000" marT="36000" marB="3600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F5FE"/>
                    </a:solidFill>
                  </a:tcPr>
                </a:tc>
                <a:tc>
                  <a:txBody>
                    <a:bodyPr/>
                    <a:lstStyle>
                      <a:lvl1pPr marL="0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62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24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39986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649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11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79973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635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297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От </a:t>
                      </a:r>
                      <a:r>
                        <a:rPr kumimoji="0" lang="ru-RU" sz="16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2,5 млн</a:t>
                      </a:r>
                      <a:r>
                        <a:rPr kumimoji="0" lang="ru-RU" sz="1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рублей до </a:t>
                      </a:r>
                      <a:r>
                        <a:rPr kumimoji="0" lang="ru-RU" sz="16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200 млн </a:t>
                      </a:r>
                      <a:r>
                        <a:rPr kumimoji="0" lang="ru-RU" sz="1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рублей</a:t>
                      </a:r>
                      <a:endParaRPr kumimoji="0" lang="ru-RU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3520796"/>
                  </a:ext>
                </a:extLst>
              </a:tr>
              <a:tr h="310025">
                <a:tc>
                  <a:txBody>
                    <a:bodyPr/>
                    <a:lstStyle>
                      <a:lvl1pPr marL="0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62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24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39986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649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11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79973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635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297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</a:rPr>
                        <a:t>Авансовый платеж</a:t>
                      </a: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F5FE"/>
                    </a:solidFill>
                  </a:tcPr>
                </a:tc>
                <a:tc>
                  <a:txBody>
                    <a:bodyPr/>
                    <a:lstStyle>
                      <a:lvl1pPr marL="0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62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24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39986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649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11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79973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635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297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От </a:t>
                      </a:r>
                      <a:r>
                        <a:rPr kumimoji="0" lang="ru-RU" sz="16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0%</a:t>
                      </a:r>
                      <a:r>
                        <a:rPr kumimoji="0" lang="ru-RU" sz="1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от стоимости предмета лизинга</a:t>
                      </a:r>
                      <a:endParaRPr kumimoji="0" lang="ru-RU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4195246"/>
                  </a:ext>
                </a:extLst>
              </a:tr>
              <a:tr h="310025">
                <a:tc>
                  <a:txBody>
                    <a:bodyPr/>
                    <a:lstStyle>
                      <a:lvl1pPr marL="0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62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24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39986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649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11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79973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635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297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</a:rPr>
                        <a:t>Срок лизинга</a:t>
                      </a: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F5FE"/>
                    </a:solidFill>
                  </a:tcPr>
                </a:tc>
                <a:tc>
                  <a:txBody>
                    <a:bodyPr/>
                    <a:lstStyle>
                      <a:lvl1pPr marL="0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62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24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39986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649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11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79973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635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297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До </a:t>
                      </a:r>
                      <a:r>
                        <a:rPr kumimoji="0" lang="ru-RU" sz="16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84</a:t>
                      </a:r>
                      <a:r>
                        <a:rPr kumimoji="0" lang="ru-RU" sz="1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месяцев </a:t>
                      </a:r>
                      <a:endParaRPr kumimoji="0" lang="ru-RU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94084773"/>
                  </a:ext>
                </a:extLst>
              </a:tr>
            </a:tbl>
          </a:graphicData>
        </a:graphic>
      </p:graphicFrame>
      <p:sp>
        <p:nvSpPr>
          <p:cNvPr id="244" name="TextBox 243"/>
          <p:cNvSpPr txBox="1"/>
          <p:nvPr/>
        </p:nvSpPr>
        <p:spPr>
          <a:xfrm>
            <a:off x="5631046" y="1862863"/>
            <a:ext cx="6687951" cy="330669"/>
          </a:xfrm>
          <a:prstGeom prst="rect">
            <a:avLst/>
          </a:prstGeom>
          <a:solidFill>
            <a:srgbClr val="5B9BD5">
              <a:lumMod val="50000"/>
            </a:srgbClr>
          </a:solidFill>
        </p:spPr>
        <p:txBody>
          <a:bodyPr wrap="square" lIns="0" rtlCol="0" anchor="ctr" anchorCtr="0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000" b="1" i="0" u="none" strike="noStrike" cap="none" spc="0" normalizeH="0" baseline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</a:defRPr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араметры </a:t>
            </a:r>
            <a:r>
              <a:rPr kumimoji="0" lang="ru-RU" sz="20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одукта</a:t>
            </a:r>
            <a:endParaRPr kumimoji="0" lang="ru-RU" sz="2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245" name="Прямоугольник 244"/>
          <p:cNvSpPr/>
          <p:nvPr/>
        </p:nvSpPr>
        <p:spPr>
          <a:xfrm>
            <a:off x="452284" y="6080573"/>
            <a:ext cx="4662168" cy="1336110"/>
          </a:xfrm>
          <a:prstGeom prst="rect">
            <a:avLst/>
          </a:prstGeom>
        </p:spPr>
        <p:txBody>
          <a:bodyPr wrap="square" lIns="72000" tIns="108000" rIns="36000" bIns="0" anchor="t">
            <a:noAutofit/>
          </a:bodyPr>
          <a:lstStyle/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5750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борудование, предназначенное для осуществления оптовой и розничной торговой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еятельности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5750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легковые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, грузовые и пассажирские транспортные средства (транспортные средства, на которые выдаются ПТС или ПСМ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)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5750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одные суда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5750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оздушные суда и другая авиационная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техника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5750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движной состав железнодорожного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транспорта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246" name="TextBox 245"/>
          <p:cNvSpPr txBox="1"/>
          <p:nvPr/>
        </p:nvSpPr>
        <p:spPr>
          <a:xfrm>
            <a:off x="1055093" y="5530866"/>
            <a:ext cx="473304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иды имущества вне рамок программы (финансирование не осуществляется)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pSp>
        <p:nvGrpSpPr>
          <p:cNvPr id="247" name="Группа 246"/>
          <p:cNvGrpSpPr/>
          <p:nvPr/>
        </p:nvGrpSpPr>
        <p:grpSpPr>
          <a:xfrm>
            <a:off x="411750" y="5590675"/>
            <a:ext cx="560554" cy="526713"/>
            <a:chOff x="490441" y="5638826"/>
            <a:chExt cx="560554" cy="526713"/>
          </a:xfrm>
        </p:grpSpPr>
        <p:sp>
          <p:nvSpPr>
            <p:cNvPr id="248" name="Равнобедренный треугольник 247"/>
            <p:cNvSpPr/>
            <p:nvPr/>
          </p:nvSpPr>
          <p:spPr>
            <a:xfrm>
              <a:off x="490441" y="5638826"/>
              <a:ext cx="556097" cy="479393"/>
            </a:xfrm>
            <a:prstGeom prst="triangle">
              <a:avLst/>
            </a:prstGeom>
            <a:solidFill>
              <a:sysClr val="window" lastClr="FFFFFF"/>
            </a:solidFill>
            <a:ln w="38100" cap="flat" cmpd="sng" algn="ctr">
              <a:solidFill>
                <a:srgbClr val="F5750B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249" name="TextBox 248"/>
            <p:cNvSpPr txBox="1"/>
            <p:nvPr/>
          </p:nvSpPr>
          <p:spPr>
            <a:xfrm>
              <a:off x="494898" y="5642319"/>
              <a:ext cx="556097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8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!</a:t>
              </a:r>
              <a:endParaRPr kumimoji="0" lang="ru-RU" sz="24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</p:grpSp>
      <p:cxnSp>
        <p:nvCxnSpPr>
          <p:cNvPr id="250" name="Прямая соединительная линия 249"/>
          <p:cNvCxnSpPr/>
          <p:nvPr/>
        </p:nvCxnSpPr>
        <p:spPr>
          <a:xfrm>
            <a:off x="411179" y="6161350"/>
            <a:ext cx="4680472" cy="0"/>
          </a:xfrm>
          <a:prstGeom prst="line">
            <a:avLst/>
          </a:prstGeom>
          <a:noFill/>
          <a:ln w="6350" cap="flat" cmpd="sng" algn="ctr">
            <a:solidFill>
              <a:srgbClr val="F5750B"/>
            </a:solidFill>
            <a:prstDash val="solid"/>
            <a:miter lim="800000"/>
          </a:ln>
          <a:effectLst/>
        </p:spPr>
      </p:cxnSp>
      <p:grpSp>
        <p:nvGrpSpPr>
          <p:cNvPr id="252" name="Группа 251"/>
          <p:cNvGrpSpPr/>
          <p:nvPr/>
        </p:nvGrpSpPr>
        <p:grpSpPr>
          <a:xfrm>
            <a:off x="344603" y="2110484"/>
            <a:ext cx="4803837" cy="705483"/>
            <a:chOff x="467999" y="2183934"/>
            <a:chExt cx="5280556" cy="705483"/>
          </a:xfrm>
        </p:grpSpPr>
        <p:sp>
          <p:nvSpPr>
            <p:cNvPr id="290" name="TextBox 289"/>
            <p:cNvSpPr txBox="1"/>
            <p:nvPr/>
          </p:nvSpPr>
          <p:spPr>
            <a:xfrm>
              <a:off x="489871" y="2183934"/>
              <a:ext cx="5236811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Новое, ранее не использованное или не введенное в эксплуатацию оборудование</a:t>
              </a:r>
            </a:p>
          </p:txBody>
        </p:sp>
        <p:sp>
          <p:nvSpPr>
            <p:cNvPr id="291" name="Правая круглая скобка 290"/>
            <p:cNvSpPr/>
            <p:nvPr/>
          </p:nvSpPr>
          <p:spPr>
            <a:xfrm rot="16200000">
              <a:off x="3055716" y="196579"/>
              <a:ext cx="105121" cy="5280556"/>
            </a:xfrm>
            <a:prstGeom prst="rightBracket">
              <a:avLst>
                <a:gd name="adj" fmla="val 89321"/>
              </a:avLst>
            </a:prstGeom>
            <a:noFill/>
            <a:ln w="6350" cap="flat" cmpd="sng" algn="ctr">
              <a:solidFill>
                <a:srgbClr val="5B9BD5">
                  <a:lumMod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292" name="Скругленный прямоугольник 291"/>
          <p:cNvSpPr/>
          <p:nvPr/>
        </p:nvSpPr>
        <p:spPr>
          <a:xfrm>
            <a:off x="5631045" y="4609618"/>
            <a:ext cx="6687952" cy="3084767"/>
          </a:xfrm>
          <a:prstGeom prst="roundRect">
            <a:avLst>
              <a:gd name="adj" fmla="val 2930"/>
            </a:avLst>
          </a:prstGeom>
          <a:solidFill>
            <a:sysClr val="window" lastClr="FFFFFF">
              <a:lumMod val="95000"/>
            </a:sysClr>
          </a:solidFill>
          <a:ln w="3175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293" name="Freeform 21"/>
          <p:cNvSpPr>
            <a:spLocks noChangeAspect="1"/>
          </p:cNvSpPr>
          <p:nvPr/>
        </p:nvSpPr>
        <p:spPr bwMode="auto">
          <a:xfrm>
            <a:off x="5909663" y="4743863"/>
            <a:ext cx="990848" cy="951436"/>
          </a:xfrm>
          <a:custGeom>
            <a:avLst/>
            <a:gdLst/>
            <a:ahLst/>
            <a:cxnLst>
              <a:cxn ang="0">
                <a:pos x="60" y="55"/>
              </a:cxn>
              <a:cxn ang="0">
                <a:pos x="47" y="42"/>
              </a:cxn>
              <a:cxn ang="0">
                <a:pos x="52" y="32"/>
              </a:cxn>
              <a:cxn ang="0">
                <a:pos x="55" y="25"/>
              </a:cxn>
              <a:cxn ang="0">
                <a:pos x="54" y="21"/>
              </a:cxn>
              <a:cxn ang="0">
                <a:pos x="55" y="14"/>
              </a:cxn>
              <a:cxn ang="0">
                <a:pos x="39" y="0"/>
              </a:cxn>
              <a:cxn ang="0">
                <a:pos x="22" y="14"/>
              </a:cxn>
              <a:cxn ang="0">
                <a:pos x="23" y="21"/>
              </a:cxn>
              <a:cxn ang="0">
                <a:pos x="22" y="25"/>
              </a:cxn>
              <a:cxn ang="0">
                <a:pos x="26" y="32"/>
              </a:cxn>
              <a:cxn ang="0">
                <a:pos x="30" y="42"/>
              </a:cxn>
              <a:cxn ang="0">
                <a:pos x="17" y="55"/>
              </a:cxn>
              <a:cxn ang="0">
                <a:pos x="0" y="65"/>
              </a:cxn>
              <a:cxn ang="0">
                <a:pos x="0" y="74"/>
              </a:cxn>
              <a:cxn ang="0">
                <a:pos x="39" y="74"/>
              </a:cxn>
              <a:cxn ang="0">
                <a:pos x="77" y="74"/>
              </a:cxn>
              <a:cxn ang="0">
                <a:pos x="77" y="65"/>
              </a:cxn>
              <a:cxn ang="0">
                <a:pos x="60" y="55"/>
              </a:cxn>
            </a:cxnLst>
            <a:rect l="0" t="0" r="r" b="b"/>
            <a:pathLst>
              <a:path w="77" h="74">
                <a:moveTo>
                  <a:pt x="60" y="55"/>
                </a:moveTo>
                <a:cubicBezTo>
                  <a:pt x="50" y="51"/>
                  <a:pt x="47" y="48"/>
                  <a:pt x="47" y="42"/>
                </a:cubicBezTo>
                <a:cubicBezTo>
                  <a:pt x="47" y="38"/>
                  <a:pt x="50" y="39"/>
                  <a:pt x="52" y="32"/>
                </a:cubicBezTo>
                <a:cubicBezTo>
                  <a:pt x="52" y="29"/>
                  <a:pt x="55" y="31"/>
                  <a:pt x="55" y="25"/>
                </a:cubicBezTo>
                <a:cubicBezTo>
                  <a:pt x="55" y="22"/>
                  <a:pt x="54" y="21"/>
                  <a:pt x="54" y="21"/>
                </a:cubicBezTo>
                <a:cubicBezTo>
                  <a:pt x="54" y="21"/>
                  <a:pt x="55" y="17"/>
                  <a:pt x="55" y="14"/>
                </a:cubicBezTo>
                <a:cubicBezTo>
                  <a:pt x="55" y="10"/>
                  <a:pt x="53" y="0"/>
                  <a:pt x="39" y="0"/>
                </a:cubicBezTo>
                <a:cubicBezTo>
                  <a:pt x="25" y="0"/>
                  <a:pt x="22" y="10"/>
                  <a:pt x="22" y="14"/>
                </a:cubicBezTo>
                <a:cubicBezTo>
                  <a:pt x="23" y="17"/>
                  <a:pt x="23" y="21"/>
                  <a:pt x="23" y="21"/>
                </a:cubicBezTo>
                <a:cubicBezTo>
                  <a:pt x="23" y="21"/>
                  <a:pt x="22" y="22"/>
                  <a:pt x="22" y="25"/>
                </a:cubicBezTo>
                <a:cubicBezTo>
                  <a:pt x="22" y="31"/>
                  <a:pt x="25" y="29"/>
                  <a:pt x="26" y="32"/>
                </a:cubicBezTo>
                <a:cubicBezTo>
                  <a:pt x="27" y="39"/>
                  <a:pt x="30" y="38"/>
                  <a:pt x="30" y="42"/>
                </a:cubicBezTo>
                <a:cubicBezTo>
                  <a:pt x="30" y="48"/>
                  <a:pt x="27" y="51"/>
                  <a:pt x="17" y="55"/>
                </a:cubicBezTo>
                <a:cubicBezTo>
                  <a:pt x="7" y="59"/>
                  <a:pt x="0" y="62"/>
                  <a:pt x="0" y="65"/>
                </a:cubicBezTo>
                <a:cubicBezTo>
                  <a:pt x="0" y="68"/>
                  <a:pt x="0" y="74"/>
                  <a:pt x="0" y="74"/>
                </a:cubicBezTo>
                <a:cubicBezTo>
                  <a:pt x="39" y="74"/>
                  <a:pt x="39" y="74"/>
                  <a:pt x="39" y="74"/>
                </a:cubicBezTo>
                <a:cubicBezTo>
                  <a:pt x="77" y="74"/>
                  <a:pt x="77" y="74"/>
                  <a:pt x="77" y="74"/>
                </a:cubicBezTo>
                <a:cubicBezTo>
                  <a:pt x="77" y="74"/>
                  <a:pt x="77" y="68"/>
                  <a:pt x="77" y="65"/>
                </a:cubicBezTo>
                <a:cubicBezTo>
                  <a:pt x="77" y="62"/>
                  <a:pt x="71" y="59"/>
                  <a:pt x="60" y="55"/>
                </a:cubicBezTo>
                <a:close/>
              </a:path>
            </a:pathLst>
          </a:custGeom>
          <a:solidFill>
            <a:srgbClr val="1F4E79"/>
          </a:solidFill>
          <a:ln w="19050">
            <a:noFill/>
            <a:round/>
            <a:headEnd/>
            <a:tailEnd/>
          </a:ln>
        </p:spPr>
        <p:txBody>
          <a:bodyPr vert="horz" wrap="square" lIns="98694" tIns="49347" rIns="98694" bIns="49347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869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294" name="Прямоугольник 293"/>
          <p:cNvSpPr/>
          <p:nvPr/>
        </p:nvSpPr>
        <p:spPr>
          <a:xfrm>
            <a:off x="7034108" y="4678274"/>
            <a:ext cx="5261401" cy="1550024"/>
          </a:xfrm>
          <a:prstGeom prst="rect">
            <a:avLst/>
          </a:prstGeom>
        </p:spPr>
        <p:txBody>
          <a:bodyPr wrap="square" lIns="72000" tIns="108000" rIns="36000" bIns="0" anchor="t">
            <a:noAutofit/>
          </a:bodyPr>
          <a:lstStyle/>
          <a:p>
            <a:pPr marL="0" marR="0" lvl="0" indent="0" algn="l" defTabSz="957263" rtl="0" eaLnBrk="1" fontAlgn="auto" latinLnBrk="0" hangingPunct="1">
              <a:lnSpc>
                <a:spcPct val="106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убъекты индивидуального и малого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едпринимательства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ИМП)</a:t>
            </a: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*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**, в том числе поставщики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рупнейших заказчиков, определяемых Правительством Российской Федерации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, включенные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 Единый реестр субъектов малого и среднего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едпринимательства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295" name="TextBox 294"/>
          <p:cNvSpPr txBox="1"/>
          <p:nvPr/>
        </p:nvSpPr>
        <p:spPr>
          <a:xfrm>
            <a:off x="5854608" y="5687694"/>
            <a:ext cx="110095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офиль клиента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1F4E79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296" name="L-Shape 10"/>
          <p:cNvSpPr/>
          <p:nvPr/>
        </p:nvSpPr>
        <p:spPr>
          <a:xfrm rot="13701821">
            <a:off x="7357137" y="6472862"/>
            <a:ext cx="226876" cy="226876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1F4E7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297" name="Прямоугольник 296"/>
          <p:cNvSpPr/>
          <p:nvPr/>
        </p:nvSpPr>
        <p:spPr>
          <a:xfrm>
            <a:off x="5622846" y="6417023"/>
            <a:ext cx="180036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59536" rtl="0" eaLnBrk="1" fontAlgn="t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еличина дохода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1F4E79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298" name="Прямоугольник 297"/>
          <p:cNvSpPr/>
          <p:nvPr/>
        </p:nvSpPr>
        <p:spPr>
          <a:xfrm>
            <a:off x="7630725" y="6417023"/>
            <a:ext cx="143661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859536" rtl="0" eaLnBrk="1" fontAlgn="t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о 800 млн руб.</a:t>
            </a:r>
          </a:p>
        </p:txBody>
      </p:sp>
      <p:sp>
        <p:nvSpPr>
          <p:cNvPr id="299" name="L-Shape 10"/>
          <p:cNvSpPr/>
          <p:nvPr/>
        </p:nvSpPr>
        <p:spPr>
          <a:xfrm rot="13701821">
            <a:off x="7345793" y="6997910"/>
            <a:ext cx="249564" cy="249564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1F4E7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300" name="Прямоугольник 299"/>
          <p:cNvSpPr/>
          <p:nvPr/>
        </p:nvSpPr>
        <p:spPr>
          <a:xfrm>
            <a:off x="5589259" y="6799527"/>
            <a:ext cx="183394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59536" rtl="0" eaLnBrk="1" fontAlgn="t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реднесписочная численность сотрудников</a:t>
            </a:r>
          </a:p>
        </p:txBody>
      </p:sp>
      <p:sp>
        <p:nvSpPr>
          <p:cNvPr id="301" name="Прямоугольник 300"/>
          <p:cNvSpPr/>
          <p:nvPr/>
        </p:nvSpPr>
        <p:spPr>
          <a:xfrm>
            <a:off x="7630725" y="6984193"/>
            <a:ext cx="139172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859536" rtl="0" eaLnBrk="1" fontAlgn="t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о 100 человек</a:t>
            </a:r>
          </a:p>
        </p:txBody>
      </p:sp>
      <p:grpSp>
        <p:nvGrpSpPr>
          <p:cNvPr id="302" name="Группа 301"/>
          <p:cNvGrpSpPr/>
          <p:nvPr/>
        </p:nvGrpSpPr>
        <p:grpSpPr>
          <a:xfrm>
            <a:off x="9359656" y="7001631"/>
            <a:ext cx="3029027" cy="584775"/>
            <a:chOff x="9643864" y="7042001"/>
            <a:chExt cx="3029027" cy="584775"/>
          </a:xfrm>
        </p:grpSpPr>
        <p:sp>
          <p:nvSpPr>
            <p:cNvPr id="303" name="L-Shape 10"/>
            <p:cNvSpPr/>
            <p:nvPr/>
          </p:nvSpPr>
          <p:spPr>
            <a:xfrm rot="13701821">
              <a:off x="10914841" y="7209606"/>
              <a:ext cx="249564" cy="249564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1F4E79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304" name="Прямоугольник 303"/>
            <p:cNvSpPr/>
            <p:nvPr/>
          </p:nvSpPr>
          <p:spPr>
            <a:xfrm>
              <a:off x="9643864" y="7042001"/>
              <a:ext cx="1318871" cy="5847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r" defTabSz="859536" rtl="0" eaLnBrk="1" fontAlgn="t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1F4E79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Место регистрации</a:t>
              </a:r>
            </a:p>
          </p:txBody>
        </p:sp>
        <p:sp>
          <p:nvSpPr>
            <p:cNvPr id="305" name="Прямоугольник 304"/>
            <p:cNvSpPr/>
            <p:nvPr/>
          </p:nvSpPr>
          <p:spPr>
            <a:xfrm>
              <a:off x="11201013" y="7165111"/>
              <a:ext cx="1471878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859536" rtl="0" eaLnBrk="1" fontAlgn="t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Резидент РФ**</a:t>
              </a:r>
              <a:r>
                <a:rPr kumimoji="0" lang="en-US" sz="1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*</a:t>
              </a:r>
              <a:r>
                <a:rPr kumimoji="0" lang="ru-RU" sz="1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*</a:t>
              </a:r>
              <a:endPara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306" name="L-Shape 10"/>
          <p:cNvSpPr/>
          <p:nvPr/>
        </p:nvSpPr>
        <p:spPr>
          <a:xfrm rot="13701821">
            <a:off x="10628395" y="6496875"/>
            <a:ext cx="249564" cy="249564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1F4E7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307" name="Прямоугольник 306"/>
          <p:cNvSpPr/>
          <p:nvPr/>
        </p:nvSpPr>
        <p:spPr>
          <a:xfrm>
            <a:off x="8865317" y="6329270"/>
            <a:ext cx="183394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59536" rtl="0" eaLnBrk="1" fontAlgn="t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рок ведения бизнеса</a:t>
            </a:r>
          </a:p>
        </p:txBody>
      </p:sp>
      <p:sp>
        <p:nvSpPr>
          <p:cNvPr id="308" name="Прямоугольник 307"/>
          <p:cNvSpPr/>
          <p:nvPr/>
        </p:nvSpPr>
        <p:spPr>
          <a:xfrm>
            <a:off x="11035405" y="6452380"/>
            <a:ext cx="1119833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859536" rtl="0" eaLnBrk="1" fontAlgn="t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т</a:t>
            </a: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2 мес.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309" name="TextBox 308"/>
          <p:cNvSpPr txBox="1"/>
          <p:nvPr/>
        </p:nvSpPr>
        <p:spPr>
          <a:xfrm>
            <a:off x="5631046" y="4174856"/>
            <a:ext cx="6687951" cy="330669"/>
          </a:xfrm>
          <a:prstGeom prst="rect">
            <a:avLst/>
          </a:prstGeom>
          <a:solidFill>
            <a:srgbClr val="5B9BD5">
              <a:lumMod val="50000"/>
            </a:srgbClr>
          </a:solidFill>
        </p:spPr>
        <p:txBody>
          <a:bodyPr wrap="square" lIns="0" rtlCol="0" anchor="ctr" anchorCtr="0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000" b="1" i="0" u="none" strike="noStrike" cap="none" spc="0" normalizeH="0" baseline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</a:defRPr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Требования к лизингополучателю</a:t>
            </a:r>
          </a:p>
        </p:txBody>
      </p:sp>
      <p:sp>
        <p:nvSpPr>
          <p:cNvPr id="77" name="Прямоугольник 76"/>
          <p:cNvSpPr/>
          <p:nvPr/>
        </p:nvSpPr>
        <p:spPr>
          <a:xfrm>
            <a:off x="384714" y="3492458"/>
            <a:ext cx="4706937" cy="532992"/>
          </a:xfrm>
          <a:prstGeom prst="rect">
            <a:avLst/>
          </a:prstGeom>
          <a:solidFill>
            <a:srgbClr val="5B9BD5">
              <a:lumMod val="60000"/>
              <a:lumOff val="40000"/>
            </a:srgbClr>
          </a:solidFill>
          <a:ln w="63500" cap="flat" cmpd="thickThin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892175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омышленное оборудование </a:t>
            </a:r>
          </a:p>
        </p:txBody>
      </p:sp>
      <p:sp>
        <p:nvSpPr>
          <p:cNvPr id="78" name="Прямоугольник 77"/>
          <p:cNvSpPr/>
          <p:nvPr/>
        </p:nvSpPr>
        <p:spPr>
          <a:xfrm>
            <a:off x="384714" y="4703759"/>
            <a:ext cx="4706937" cy="773703"/>
          </a:xfrm>
          <a:prstGeom prst="rect">
            <a:avLst/>
          </a:prstGeom>
          <a:solidFill>
            <a:srgbClr val="5B9BD5">
              <a:lumMod val="60000"/>
              <a:lumOff val="40000"/>
            </a:srgbClr>
          </a:solidFill>
          <a:ln w="63500" cap="flat" cmpd="thickThin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892175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очее оборудование </a:t>
            </a:r>
            <a: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медицинское оборудование, оборудование в </a:t>
            </a: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бласти спорта, туризма и гостиничного хозяйства)</a:t>
            </a:r>
            <a:endParaRPr kumimoji="0" lang="ru-RU" sz="14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79" name="Прямоугольник 78"/>
          <p:cNvSpPr/>
          <p:nvPr/>
        </p:nvSpPr>
        <p:spPr>
          <a:xfrm>
            <a:off x="384714" y="4098109"/>
            <a:ext cx="4706937" cy="532992"/>
          </a:xfrm>
          <a:prstGeom prst="rect">
            <a:avLst/>
          </a:prstGeom>
          <a:solidFill>
            <a:srgbClr val="5B9BD5">
              <a:lumMod val="60000"/>
              <a:lumOff val="40000"/>
            </a:srgbClr>
          </a:solidFill>
          <a:ln w="63500" cap="flat" cmpd="thickThin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892175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борудование </a:t>
            </a: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 сфере переработки и хранения с/х продукции**</a:t>
            </a:r>
          </a:p>
        </p:txBody>
      </p:sp>
      <p:sp>
        <p:nvSpPr>
          <p:cNvPr id="80" name="Прямоугольник 79"/>
          <p:cNvSpPr/>
          <p:nvPr/>
        </p:nvSpPr>
        <p:spPr>
          <a:xfrm>
            <a:off x="384714" y="2886807"/>
            <a:ext cx="4706937" cy="532992"/>
          </a:xfrm>
          <a:prstGeom prst="rect">
            <a:avLst/>
          </a:prstGeom>
          <a:solidFill>
            <a:srgbClr val="5B9BD5">
              <a:lumMod val="60000"/>
              <a:lumOff val="40000"/>
            </a:srgbClr>
          </a:solidFill>
          <a:ln w="63500" cap="flat" cmpd="thickThin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892175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ысокотехнологичное и инновационное оборудование</a:t>
            </a:r>
          </a:p>
        </p:txBody>
      </p:sp>
      <p:grpSp>
        <p:nvGrpSpPr>
          <p:cNvPr id="81" name="Group 1136"/>
          <p:cNvGrpSpPr/>
          <p:nvPr/>
        </p:nvGrpSpPr>
        <p:grpSpPr>
          <a:xfrm>
            <a:off x="567717" y="2976612"/>
            <a:ext cx="518892" cy="349966"/>
            <a:chOff x="6375401" y="5816600"/>
            <a:chExt cx="652463" cy="400050"/>
          </a:xfrm>
          <a:solidFill>
            <a:sysClr val="windowText" lastClr="000000"/>
          </a:solidFill>
        </p:grpSpPr>
        <p:sp>
          <p:nvSpPr>
            <p:cNvPr id="82" name="Freeform 142"/>
            <p:cNvSpPr>
              <a:spLocks noEditPoints="1"/>
            </p:cNvSpPr>
            <p:nvPr/>
          </p:nvSpPr>
          <p:spPr bwMode="auto">
            <a:xfrm>
              <a:off x="6499226" y="5816600"/>
              <a:ext cx="406400" cy="400050"/>
            </a:xfrm>
            <a:custGeom>
              <a:avLst/>
              <a:gdLst>
                <a:gd name="T0" fmla="*/ 123 w 139"/>
                <a:gd name="T1" fmla="*/ 137 h 137"/>
                <a:gd name="T2" fmla="*/ 16 w 139"/>
                <a:gd name="T3" fmla="*/ 137 h 137"/>
                <a:gd name="T4" fmla="*/ 0 w 139"/>
                <a:gd name="T5" fmla="*/ 121 h 137"/>
                <a:gd name="T6" fmla="*/ 0 w 139"/>
                <a:gd name="T7" fmla="*/ 17 h 137"/>
                <a:gd name="T8" fmla="*/ 16 w 139"/>
                <a:gd name="T9" fmla="*/ 0 h 137"/>
                <a:gd name="T10" fmla="*/ 123 w 139"/>
                <a:gd name="T11" fmla="*/ 0 h 137"/>
                <a:gd name="T12" fmla="*/ 139 w 139"/>
                <a:gd name="T13" fmla="*/ 17 h 137"/>
                <a:gd name="T14" fmla="*/ 139 w 139"/>
                <a:gd name="T15" fmla="*/ 121 h 137"/>
                <a:gd name="T16" fmla="*/ 123 w 139"/>
                <a:gd name="T17" fmla="*/ 137 h 137"/>
                <a:gd name="T18" fmla="*/ 16 w 139"/>
                <a:gd name="T19" fmla="*/ 12 h 137"/>
                <a:gd name="T20" fmla="*/ 12 w 139"/>
                <a:gd name="T21" fmla="*/ 17 h 137"/>
                <a:gd name="T22" fmla="*/ 12 w 139"/>
                <a:gd name="T23" fmla="*/ 121 h 137"/>
                <a:gd name="T24" fmla="*/ 16 w 139"/>
                <a:gd name="T25" fmla="*/ 125 h 137"/>
                <a:gd name="T26" fmla="*/ 123 w 139"/>
                <a:gd name="T27" fmla="*/ 125 h 137"/>
                <a:gd name="T28" fmla="*/ 127 w 139"/>
                <a:gd name="T29" fmla="*/ 121 h 137"/>
                <a:gd name="T30" fmla="*/ 127 w 139"/>
                <a:gd name="T31" fmla="*/ 17 h 137"/>
                <a:gd name="T32" fmla="*/ 123 w 139"/>
                <a:gd name="T33" fmla="*/ 12 h 137"/>
                <a:gd name="T34" fmla="*/ 16 w 139"/>
                <a:gd name="T35" fmla="*/ 12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9" h="137">
                  <a:moveTo>
                    <a:pt x="123" y="137"/>
                  </a:moveTo>
                  <a:cubicBezTo>
                    <a:pt x="16" y="137"/>
                    <a:pt x="16" y="137"/>
                    <a:pt x="16" y="137"/>
                  </a:cubicBezTo>
                  <a:cubicBezTo>
                    <a:pt x="7" y="137"/>
                    <a:pt x="0" y="130"/>
                    <a:pt x="0" y="121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7" y="0"/>
                    <a:pt x="16" y="0"/>
                  </a:cubicBezTo>
                  <a:cubicBezTo>
                    <a:pt x="123" y="0"/>
                    <a:pt x="123" y="0"/>
                    <a:pt x="123" y="0"/>
                  </a:cubicBezTo>
                  <a:cubicBezTo>
                    <a:pt x="132" y="0"/>
                    <a:pt x="139" y="8"/>
                    <a:pt x="139" y="17"/>
                  </a:cubicBezTo>
                  <a:cubicBezTo>
                    <a:pt x="139" y="121"/>
                    <a:pt x="139" y="121"/>
                    <a:pt x="139" y="121"/>
                  </a:cubicBezTo>
                  <a:cubicBezTo>
                    <a:pt x="139" y="130"/>
                    <a:pt x="132" y="137"/>
                    <a:pt x="123" y="137"/>
                  </a:cubicBezTo>
                  <a:close/>
                  <a:moveTo>
                    <a:pt x="16" y="12"/>
                  </a:moveTo>
                  <a:cubicBezTo>
                    <a:pt x="14" y="12"/>
                    <a:pt x="12" y="14"/>
                    <a:pt x="12" y="17"/>
                  </a:cubicBezTo>
                  <a:cubicBezTo>
                    <a:pt x="12" y="121"/>
                    <a:pt x="12" y="121"/>
                    <a:pt x="12" y="121"/>
                  </a:cubicBezTo>
                  <a:cubicBezTo>
                    <a:pt x="12" y="123"/>
                    <a:pt x="14" y="125"/>
                    <a:pt x="16" y="125"/>
                  </a:cubicBezTo>
                  <a:cubicBezTo>
                    <a:pt x="123" y="125"/>
                    <a:pt x="123" y="125"/>
                    <a:pt x="123" y="125"/>
                  </a:cubicBezTo>
                  <a:cubicBezTo>
                    <a:pt x="125" y="125"/>
                    <a:pt x="127" y="123"/>
                    <a:pt x="127" y="121"/>
                  </a:cubicBezTo>
                  <a:cubicBezTo>
                    <a:pt x="127" y="17"/>
                    <a:pt x="127" y="17"/>
                    <a:pt x="127" y="17"/>
                  </a:cubicBezTo>
                  <a:cubicBezTo>
                    <a:pt x="127" y="14"/>
                    <a:pt x="125" y="12"/>
                    <a:pt x="123" y="12"/>
                  </a:cubicBezTo>
                  <a:lnTo>
                    <a:pt x="16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83" name="Freeform 143"/>
            <p:cNvSpPr>
              <a:spLocks noEditPoints="1"/>
            </p:cNvSpPr>
            <p:nvPr/>
          </p:nvSpPr>
          <p:spPr bwMode="auto">
            <a:xfrm>
              <a:off x="6375401" y="5842000"/>
              <a:ext cx="100013" cy="96838"/>
            </a:xfrm>
            <a:custGeom>
              <a:avLst/>
              <a:gdLst>
                <a:gd name="T0" fmla="*/ 17 w 34"/>
                <a:gd name="T1" fmla="*/ 33 h 33"/>
                <a:gd name="T2" fmla="*/ 0 w 34"/>
                <a:gd name="T3" fmla="*/ 16 h 33"/>
                <a:gd name="T4" fmla="*/ 17 w 34"/>
                <a:gd name="T5" fmla="*/ 0 h 33"/>
                <a:gd name="T6" fmla="*/ 34 w 34"/>
                <a:gd name="T7" fmla="*/ 16 h 33"/>
                <a:gd name="T8" fmla="*/ 17 w 34"/>
                <a:gd name="T9" fmla="*/ 33 h 33"/>
                <a:gd name="T10" fmla="*/ 17 w 34"/>
                <a:gd name="T11" fmla="*/ 12 h 33"/>
                <a:gd name="T12" fmla="*/ 12 w 34"/>
                <a:gd name="T13" fmla="*/ 16 h 33"/>
                <a:gd name="T14" fmla="*/ 17 w 34"/>
                <a:gd name="T15" fmla="*/ 21 h 33"/>
                <a:gd name="T16" fmla="*/ 22 w 34"/>
                <a:gd name="T17" fmla="*/ 16 h 33"/>
                <a:gd name="T18" fmla="*/ 17 w 34"/>
                <a:gd name="T19" fmla="*/ 1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" h="33">
                  <a:moveTo>
                    <a:pt x="17" y="33"/>
                  </a:moveTo>
                  <a:cubicBezTo>
                    <a:pt x="7" y="33"/>
                    <a:pt x="0" y="26"/>
                    <a:pt x="0" y="16"/>
                  </a:cubicBezTo>
                  <a:cubicBezTo>
                    <a:pt x="0" y="7"/>
                    <a:pt x="7" y="0"/>
                    <a:pt x="17" y="0"/>
                  </a:cubicBezTo>
                  <a:cubicBezTo>
                    <a:pt x="26" y="0"/>
                    <a:pt x="34" y="7"/>
                    <a:pt x="34" y="16"/>
                  </a:cubicBezTo>
                  <a:cubicBezTo>
                    <a:pt x="34" y="26"/>
                    <a:pt x="26" y="33"/>
                    <a:pt x="17" y="33"/>
                  </a:cubicBezTo>
                  <a:close/>
                  <a:moveTo>
                    <a:pt x="17" y="12"/>
                  </a:moveTo>
                  <a:cubicBezTo>
                    <a:pt x="14" y="12"/>
                    <a:pt x="12" y="14"/>
                    <a:pt x="12" y="16"/>
                  </a:cubicBezTo>
                  <a:cubicBezTo>
                    <a:pt x="12" y="19"/>
                    <a:pt x="14" y="21"/>
                    <a:pt x="17" y="21"/>
                  </a:cubicBezTo>
                  <a:cubicBezTo>
                    <a:pt x="19" y="21"/>
                    <a:pt x="22" y="19"/>
                    <a:pt x="22" y="16"/>
                  </a:cubicBezTo>
                  <a:cubicBezTo>
                    <a:pt x="22" y="14"/>
                    <a:pt x="19" y="12"/>
                    <a:pt x="17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84" name="Freeform 144"/>
            <p:cNvSpPr>
              <a:spLocks noEditPoints="1"/>
            </p:cNvSpPr>
            <p:nvPr/>
          </p:nvSpPr>
          <p:spPr bwMode="auto">
            <a:xfrm>
              <a:off x="6375401" y="5967413"/>
              <a:ext cx="100013" cy="96838"/>
            </a:xfrm>
            <a:custGeom>
              <a:avLst/>
              <a:gdLst>
                <a:gd name="T0" fmla="*/ 17 w 34"/>
                <a:gd name="T1" fmla="*/ 33 h 33"/>
                <a:gd name="T2" fmla="*/ 0 w 34"/>
                <a:gd name="T3" fmla="*/ 16 h 33"/>
                <a:gd name="T4" fmla="*/ 17 w 34"/>
                <a:gd name="T5" fmla="*/ 0 h 33"/>
                <a:gd name="T6" fmla="*/ 34 w 34"/>
                <a:gd name="T7" fmla="*/ 16 h 33"/>
                <a:gd name="T8" fmla="*/ 17 w 34"/>
                <a:gd name="T9" fmla="*/ 33 h 33"/>
                <a:gd name="T10" fmla="*/ 17 w 34"/>
                <a:gd name="T11" fmla="*/ 12 h 33"/>
                <a:gd name="T12" fmla="*/ 12 w 34"/>
                <a:gd name="T13" fmla="*/ 16 h 33"/>
                <a:gd name="T14" fmla="*/ 17 w 34"/>
                <a:gd name="T15" fmla="*/ 21 h 33"/>
                <a:gd name="T16" fmla="*/ 22 w 34"/>
                <a:gd name="T17" fmla="*/ 16 h 33"/>
                <a:gd name="T18" fmla="*/ 17 w 34"/>
                <a:gd name="T19" fmla="*/ 1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" h="33">
                  <a:moveTo>
                    <a:pt x="17" y="33"/>
                  </a:moveTo>
                  <a:cubicBezTo>
                    <a:pt x="7" y="33"/>
                    <a:pt x="0" y="26"/>
                    <a:pt x="0" y="16"/>
                  </a:cubicBezTo>
                  <a:cubicBezTo>
                    <a:pt x="0" y="7"/>
                    <a:pt x="7" y="0"/>
                    <a:pt x="17" y="0"/>
                  </a:cubicBezTo>
                  <a:cubicBezTo>
                    <a:pt x="26" y="0"/>
                    <a:pt x="34" y="7"/>
                    <a:pt x="34" y="16"/>
                  </a:cubicBezTo>
                  <a:cubicBezTo>
                    <a:pt x="34" y="26"/>
                    <a:pt x="26" y="33"/>
                    <a:pt x="17" y="33"/>
                  </a:cubicBezTo>
                  <a:close/>
                  <a:moveTo>
                    <a:pt x="17" y="12"/>
                  </a:moveTo>
                  <a:cubicBezTo>
                    <a:pt x="14" y="12"/>
                    <a:pt x="12" y="14"/>
                    <a:pt x="12" y="16"/>
                  </a:cubicBezTo>
                  <a:cubicBezTo>
                    <a:pt x="12" y="19"/>
                    <a:pt x="14" y="21"/>
                    <a:pt x="17" y="21"/>
                  </a:cubicBezTo>
                  <a:cubicBezTo>
                    <a:pt x="19" y="21"/>
                    <a:pt x="22" y="19"/>
                    <a:pt x="22" y="16"/>
                  </a:cubicBezTo>
                  <a:cubicBezTo>
                    <a:pt x="22" y="14"/>
                    <a:pt x="19" y="12"/>
                    <a:pt x="17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85" name="Freeform 145"/>
            <p:cNvSpPr>
              <a:spLocks noEditPoints="1"/>
            </p:cNvSpPr>
            <p:nvPr/>
          </p:nvSpPr>
          <p:spPr bwMode="auto">
            <a:xfrm>
              <a:off x="6375401" y="6091238"/>
              <a:ext cx="100013" cy="98425"/>
            </a:xfrm>
            <a:custGeom>
              <a:avLst/>
              <a:gdLst>
                <a:gd name="T0" fmla="*/ 17 w 34"/>
                <a:gd name="T1" fmla="*/ 34 h 34"/>
                <a:gd name="T2" fmla="*/ 0 w 34"/>
                <a:gd name="T3" fmla="*/ 17 h 34"/>
                <a:gd name="T4" fmla="*/ 17 w 34"/>
                <a:gd name="T5" fmla="*/ 0 h 34"/>
                <a:gd name="T6" fmla="*/ 34 w 34"/>
                <a:gd name="T7" fmla="*/ 17 h 34"/>
                <a:gd name="T8" fmla="*/ 17 w 34"/>
                <a:gd name="T9" fmla="*/ 34 h 34"/>
                <a:gd name="T10" fmla="*/ 17 w 34"/>
                <a:gd name="T11" fmla="*/ 12 h 34"/>
                <a:gd name="T12" fmla="*/ 12 w 34"/>
                <a:gd name="T13" fmla="*/ 17 h 34"/>
                <a:gd name="T14" fmla="*/ 17 w 34"/>
                <a:gd name="T15" fmla="*/ 22 h 34"/>
                <a:gd name="T16" fmla="*/ 22 w 34"/>
                <a:gd name="T17" fmla="*/ 17 h 34"/>
                <a:gd name="T18" fmla="*/ 17 w 34"/>
                <a:gd name="T19" fmla="*/ 12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" h="34">
                  <a:moveTo>
                    <a:pt x="17" y="34"/>
                  </a:moveTo>
                  <a:cubicBezTo>
                    <a:pt x="7" y="34"/>
                    <a:pt x="0" y="27"/>
                    <a:pt x="0" y="17"/>
                  </a:cubicBezTo>
                  <a:cubicBezTo>
                    <a:pt x="0" y="8"/>
                    <a:pt x="7" y="0"/>
                    <a:pt x="17" y="0"/>
                  </a:cubicBezTo>
                  <a:cubicBezTo>
                    <a:pt x="26" y="0"/>
                    <a:pt x="34" y="8"/>
                    <a:pt x="34" y="17"/>
                  </a:cubicBezTo>
                  <a:cubicBezTo>
                    <a:pt x="34" y="27"/>
                    <a:pt x="26" y="34"/>
                    <a:pt x="17" y="34"/>
                  </a:cubicBezTo>
                  <a:close/>
                  <a:moveTo>
                    <a:pt x="17" y="12"/>
                  </a:moveTo>
                  <a:cubicBezTo>
                    <a:pt x="14" y="12"/>
                    <a:pt x="12" y="15"/>
                    <a:pt x="12" y="17"/>
                  </a:cubicBezTo>
                  <a:cubicBezTo>
                    <a:pt x="12" y="20"/>
                    <a:pt x="14" y="22"/>
                    <a:pt x="17" y="22"/>
                  </a:cubicBezTo>
                  <a:cubicBezTo>
                    <a:pt x="19" y="22"/>
                    <a:pt x="22" y="20"/>
                    <a:pt x="22" y="17"/>
                  </a:cubicBezTo>
                  <a:cubicBezTo>
                    <a:pt x="22" y="15"/>
                    <a:pt x="19" y="12"/>
                    <a:pt x="17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86" name="Freeform 146"/>
            <p:cNvSpPr>
              <a:spLocks/>
            </p:cNvSpPr>
            <p:nvPr/>
          </p:nvSpPr>
          <p:spPr bwMode="auto">
            <a:xfrm>
              <a:off x="6440488" y="5872163"/>
              <a:ext cx="93663" cy="34925"/>
            </a:xfrm>
            <a:custGeom>
              <a:avLst/>
              <a:gdLst>
                <a:gd name="T0" fmla="*/ 26 w 32"/>
                <a:gd name="T1" fmla="*/ 12 h 12"/>
                <a:gd name="T2" fmla="*/ 6 w 32"/>
                <a:gd name="T3" fmla="*/ 12 h 12"/>
                <a:gd name="T4" fmla="*/ 0 w 32"/>
                <a:gd name="T5" fmla="*/ 6 h 12"/>
                <a:gd name="T6" fmla="*/ 6 w 32"/>
                <a:gd name="T7" fmla="*/ 0 h 12"/>
                <a:gd name="T8" fmla="*/ 26 w 32"/>
                <a:gd name="T9" fmla="*/ 0 h 12"/>
                <a:gd name="T10" fmla="*/ 32 w 32"/>
                <a:gd name="T11" fmla="*/ 6 h 12"/>
                <a:gd name="T12" fmla="*/ 26 w 32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12">
                  <a:moveTo>
                    <a:pt x="26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9" y="0"/>
                    <a:pt x="32" y="3"/>
                    <a:pt x="32" y="6"/>
                  </a:cubicBezTo>
                  <a:cubicBezTo>
                    <a:pt x="32" y="10"/>
                    <a:pt x="29" y="12"/>
                    <a:pt x="2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87" name="Freeform 147"/>
            <p:cNvSpPr>
              <a:spLocks/>
            </p:cNvSpPr>
            <p:nvPr/>
          </p:nvSpPr>
          <p:spPr bwMode="auto">
            <a:xfrm>
              <a:off x="6440488" y="6000750"/>
              <a:ext cx="93663" cy="34925"/>
            </a:xfrm>
            <a:custGeom>
              <a:avLst/>
              <a:gdLst>
                <a:gd name="T0" fmla="*/ 26 w 32"/>
                <a:gd name="T1" fmla="*/ 12 h 12"/>
                <a:gd name="T2" fmla="*/ 6 w 32"/>
                <a:gd name="T3" fmla="*/ 12 h 12"/>
                <a:gd name="T4" fmla="*/ 0 w 32"/>
                <a:gd name="T5" fmla="*/ 6 h 12"/>
                <a:gd name="T6" fmla="*/ 6 w 32"/>
                <a:gd name="T7" fmla="*/ 0 h 12"/>
                <a:gd name="T8" fmla="*/ 26 w 32"/>
                <a:gd name="T9" fmla="*/ 0 h 12"/>
                <a:gd name="T10" fmla="*/ 32 w 32"/>
                <a:gd name="T11" fmla="*/ 6 h 12"/>
                <a:gd name="T12" fmla="*/ 26 w 32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12">
                  <a:moveTo>
                    <a:pt x="26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9" y="0"/>
                    <a:pt x="32" y="2"/>
                    <a:pt x="32" y="6"/>
                  </a:cubicBezTo>
                  <a:cubicBezTo>
                    <a:pt x="32" y="9"/>
                    <a:pt x="29" y="12"/>
                    <a:pt x="2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88" name="Freeform 148"/>
            <p:cNvSpPr>
              <a:spLocks/>
            </p:cNvSpPr>
            <p:nvPr/>
          </p:nvSpPr>
          <p:spPr bwMode="auto">
            <a:xfrm>
              <a:off x="6440488" y="6122988"/>
              <a:ext cx="93663" cy="34925"/>
            </a:xfrm>
            <a:custGeom>
              <a:avLst/>
              <a:gdLst>
                <a:gd name="T0" fmla="*/ 26 w 32"/>
                <a:gd name="T1" fmla="*/ 12 h 12"/>
                <a:gd name="T2" fmla="*/ 6 w 32"/>
                <a:gd name="T3" fmla="*/ 12 h 12"/>
                <a:gd name="T4" fmla="*/ 0 w 32"/>
                <a:gd name="T5" fmla="*/ 6 h 12"/>
                <a:gd name="T6" fmla="*/ 6 w 32"/>
                <a:gd name="T7" fmla="*/ 0 h 12"/>
                <a:gd name="T8" fmla="*/ 26 w 32"/>
                <a:gd name="T9" fmla="*/ 0 h 12"/>
                <a:gd name="T10" fmla="*/ 32 w 32"/>
                <a:gd name="T11" fmla="*/ 6 h 12"/>
                <a:gd name="T12" fmla="*/ 26 w 32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12">
                  <a:moveTo>
                    <a:pt x="26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9" y="0"/>
                    <a:pt x="32" y="3"/>
                    <a:pt x="32" y="6"/>
                  </a:cubicBezTo>
                  <a:cubicBezTo>
                    <a:pt x="32" y="10"/>
                    <a:pt x="29" y="12"/>
                    <a:pt x="2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89" name="Freeform 149"/>
            <p:cNvSpPr>
              <a:spLocks noEditPoints="1"/>
            </p:cNvSpPr>
            <p:nvPr/>
          </p:nvSpPr>
          <p:spPr bwMode="auto">
            <a:xfrm>
              <a:off x="6927851" y="6091238"/>
              <a:ext cx="100013" cy="98425"/>
            </a:xfrm>
            <a:custGeom>
              <a:avLst/>
              <a:gdLst>
                <a:gd name="T0" fmla="*/ 17 w 34"/>
                <a:gd name="T1" fmla="*/ 34 h 34"/>
                <a:gd name="T2" fmla="*/ 0 w 34"/>
                <a:gd name="T3" fmla="*/ 17 h 34"/>
                <a:gd name="T4" fmla="*/ 17 w 34"/>
                <a:gd name="T5" fmla="*/ 0 h 34"/>
                <a:gd name="T6" fmla="*/ 34 w 34"/>
                <a:gd name="T7" fmla="*/ 17 h 34"/>
                <a:gd name="T8" fmla="*/ 17 w 34"/>
                <a:gd name="T9" fmla="*/ 34 h 34"/>
                <a:gd name="T10" fmla="*/ 17 w 34"/>
                <a:gd name="T11" fmla="*/ 12 h 34"/>
                <a:gd name="T12" fmla="*/ 12 w 34"/>
                <a:gd name="T13" fmla="*/ 17 h 34"/>
                <a:gd name="T14" fmla="*/ 17 w 34"/>
                <a:gd name="T15" fmla="*/ 22 h 34"/>
                <a:gd name="T16" fmla="*/ 22 w 34"/>
                <a:gd name="T17" fmla="*/ 17 h 34"/>
                <a:gd name="T18" fmla="*/ 17 w 34"/>
                <a:gd name="T19" fmla="*/ 12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" h="34">
                  <a:moveTo>
                    <a:pt x="17" y="34"/>
                  </a:moveTo>
                  <a:cubicBezTo>
                    <a:pt x="8" y="34"/>
                    <a:pt x="0" y="27"/>
                    <a:pt x="0" y="17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26" y="0"/>
                    <a:pt x="34" y="8"/>
                    <a:pt x="34" y="17"/>
                  </a:cubicBezTo>
                  <a:cubicBezTo>
                    <a:pt x="34" y="27"/>
                    <a:pt x="26" y="34"/>
                    <a:pt x="17" y="34"/>
                  </a:cubicBezTo>
                  <a:close/>
                  <a:moveTo>
                    <a:pt x="17" y="12"/>
                  </a:moveTo>
                  <a:cubicBezTo>
                    <a:pt x="14" y="12"/>
                    <a:pt x="12" y="15"/>
                    <a:pt x="12" y="17"/>
                  </a:cubicBezTo>
                  <a:cubicBezTo>
                    <a:pt x="12" y="20"/>
                    <a:pt x="14" y="22"/>
                    <a:pt x="17" y="22"/>
                  </a:cubicBezTo>
                  <a:cubicBezTo>
                    <a:pt x="19" y="22"/>
                    <a:pt x="22" y="20"/>
                    <a:pt x="22" y="17"/>
                  </a:cubicBezTo>
                  <a:cubicBezTo>
                    <a:pt x="22" y="15"/>
                    <a:pt x="19" y="12"/>
                    <a:pt x="17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90" name="Freeform 150"/>
            <p:cNvSpPr>
              <a:spLocks noEditPoints="1"/>
            </p:cNvSpPr>
            <p:nvPr/>
          </p:nvSpPr>
          <p:spPr bwMode="auto">
            <a:xfrm>
              <a:off x="6927851" y="5967413"/>
              <a:ext cx="100013" cy="96838"/>
            </a:xfrm>
            <a:custGeom>
              <a:avLst/>
              <a:gdLst>
                <a:gd name="T0" fmla="*/ 17 w 34"/>
                <a:gd name="T1" fmla="*/ 33 h 33"/>
                <a:gd name="T2" fmla="*/ 0 w 34"/>
                <a:gd name="T3" fmla="*/ 16 h 33"/>
                <a:gd name="T4" fmla="*/ 17 w 34"/>
                <a:gd name="T5" fmla="*/ 0 h 33"/>
                <a:gd name="T6" fmla="*/ 34 w 34"/>
                <a:gd name="T7" fmla="*/ 16 h 33"/>
                <a:gd name="T8" fmla="*/ 17 w 34"/>
                <a:gd name="T9" fmla="*/ 33 h 33"/>
                <a:gd name="T10" fmla="*/ 17 w 34"/>
                <a:gd name="T11" fmla="*/ 12 h 33"/>
                <a:gd name="T12" fmla="*/ 12 w 34"/>
                <a:gd name="T13" fmla="*/ 16 h 33"/>
                <a:gd name="T14" fmla="*/ 17 w 34"/>
                <a:gd name="T15" fmla="*/ 21 h 33"/>
                <a:gd name="T16" fmla="*/ 22 w 34"/>
                <a:gd name="T17" fmla="*/ 16 h 33"/>
                <a:gd name="T18" fmla="*/ 17 w 34"/>
                <a:gd name="T19" fmla="*/ 1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" h="33">
                  <a:moveTo>
                    <a:pt x="17" y="33"/>
                  </a:moveTo>
                  <a:cubicBezTo>
                    <a:pt x="8" y="33"/>
                    <a:pt x="0" y="26"/>
                    <a:pt x="0" y="16"/>
                  </a:cubicBezTo>
                  <a:cubicBezTo>
                    <a:pt x="0" y="7"/>
                    <a:pt x="8" y="0"/>
                    <a:pt x="17" y="0"/>
                  </a:cubicBezTo>
                  <a:cubicBezTo>
                    <a:pt x="26" y="0"/>
                    <a:pt x="34" y="7"/>
                    <a:pt x="34" y="16"/>
                  </a:cubicBezTo>
                  <a:cubicBezTo>
                    <a:pt x="34" y="26"/>
                    <a:pt x="26" y="33"/>
                    <a:pt x="17" y="33"/>
                  </a:cubicBezTo>
                  <a:close/>
                  <a:moveTo>
                    <a:pt x="17" y="12"/>
                  </a:moveTo>
                  <a:cubicBezTo>
                    <a:pt x="14" y="12"/>
                    <a:pt x="12" y="14"/>
                    <a:pt x="12" y="16"/>
                  </a:cubicBezTo>
                  <a:cubicBezTo>
                    <a:pt x="12" y="19"/>
                    <a:pt x="14" y="21"/>
                    <a:pt x="17" y="21"/>
                  </a:cubicBezTo>
                  <a:cubicBezTo>
                    <a:pt x="19" y="21"/>
                    <a:pt x="22" y="19"/>
                    <a:pt x="22" y="16"/>
                  </a:cubicBezTo>
                  <a:cubicBezTo>
                    <a:pt x="22" y="14"/>
                    <a:pt x="19" y="12"/>
                    <a:pt x="17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91" name="Freeform 151"/>
            <p:cNvSpPr>
              <a:spLocks noEditPoints="1"/>
            </p:cNvSpPr>
            <p:nvPr/>
          </p:nvSpPr>
          <p:spPr bwMode="auto">
            <a:xfrm>
              <a:off x="6927851" y="5842000"/>
              <a:ext cx="100013" cy="96838"/>
            </a:xfrm>
            <a:custGeom>
              <a:avLst/>
              <a:gdLst>
                <a:gd name="T0" fmla="*/ 17 w 34"/>
                <a:gd name="T1" fmla="*/ 33 h 33"/>
                <a:gd name="T2" fmla="*/ 0 w 34"/>
                <a:gd name="T3" fmla="*/ 16 h 33"/>
                <a:gd name="T4" fmla="*/ 17 w 34"/>
                <a:gd name="T5" fmla="*/ 0 h 33"/>
                <a:gd name="T6" fmla="*/ 34 w 34"/>
                <a:gd name="T7" fmla="*/ 16 h 33"/>
                <a:gd name="T8" fmla="*/ 17 w 34"/>
                <a:gd name="T9" fmla="*/ 33 h 33"/>
                <a:gd name="T10" fmla="*/ 17 w 34"/>
                <a:gd name="T11" fmla="*/ 12 h 33"/>
                <a:gd name="T12" fmla="*/ 12 w 34"/>
                <a:gd name="T13" fmla="*/ 16 h 33"/>
                <a:gd name="T14" fmla="*/ 17 w 34"/>
                <a:gd name="T15" fmla="*/ 21 h 33"/>
                <a:gd name="T16" fmla="*/ 22 w 34"/>
                <a:gd name="T17" fmla="*/ 16 h 33"/>
                <a:gd name="T18" fmla="*/ 17 w 34"/>
                <a:gd name="T19" fmla="*/ 1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" h="33">
                  <a:moveTo>
                    <a:pt x="17" y="33"/>
                  </a:moveTo>
                  <a:cubicBezTo>
                    <a:pt x="8" y="33"/>
                    <a:pt x="0" y="26"/>
                    <a:pt x="0" y="16"/>
                  </a:cubicBezTo>
                  <a:cubicBezTo>
                    <a:pt x="0" y="7"/>
                    <a:pt x="8" y="0"/>
                    <a:pt x="17" y="0"/>
                  </a:cubicBezTo>
                  <a:cubicBezTo>
                    <a:pt x="26" y="0"/>
                    <a:pt x="34" y="7"/>
                    <a:pt x="34" y="16"/>
                  </a:cubicBezTo>
                  <a:cubicBezTo>
                    <a:pt x="34" y="26"/>
                    <a:pt x="26" y="33"/>
                    <a:pt x="17" y="33"/>
                  </a:cubicBezTo>
                  <a:close/>
                  <a:moveTo>
                    <a:pt x="17" y="12"/>
                  </a:moveTo>
                  <a:cubicBezTo>
                    <a:pt x="14" y="12"/>
                    <a:pt x="12" y="14"/>
                    <a:pt x="12" y="16"/>
                  </a:cubicBezTo>
                  <a:cubicBezTo>
                    <a:pt x="12" y="19"/>
                    <a:pt x="14" y="21"/>
                    <a:pt x="17" y="21"/>
                  </a:cubicBezTo>
                  <a:cubicBezTo>
                    <a:pt x="19" y="21"/>
                    <a:pt x="22" y="19"/>
                    <a:pt x="22" y="16"/>
                  </a:cubicBezTo>
                  <a:cubicBezTo>
                    <a:pt x="22" y="14"/>
                    <a:pt x="19" y="12"/>
                    <a:pt x="17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92" name="Freeform 152"/>
            <p:cNvSpPr>
              <a:spLocks/>
            </p:cNvSpPr>
            <p:nvPr/>
          </p:nvSpPr>
          <p:spPr bwMode="auto">
            <a:xfrm>
              <a:off x="6870701" y="6122988"/>
              <a:ext cx="92075" cy="34925"/>
            </a:xfrm>
            <a:custGeom>
              <a:avLst/>
              <a:gdLst>
                <a:gd name="T0" fmla="*/ 26 w 32"/>
                <a:gd name="T1" fmla="*/ 12 h 12"/>
                <a:gd name="T2" fmla="*/ 6 w 32"/>
                <a:gd name="T3" fmla="*/ 12 h 12"/>
                <a:gd name="T4" fmla="*/ 0 w 32"/>
                <a:gd name="T5" fmla="*/ 6 h 12"/>
                <a:gd name="T6" fmla="*/ 6 w 32"/>
                <a:gd name="T7" fmla="*/ 0 h 12"/>
                <a:gd name="T8" fmla="*/ 26 w 32"/>
                <a:gd name="T9" fmla="*/ 0 h 12"/>
                <a:gd name="T10" fmla="*/ 32 w 32"/>
                <a:gd name="T11" fmla="*/ 6 h 12"/>
                <a:gd name="T12" fmla="*/ 26 w 32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12">
                  <a:moveTo>
                    <a:pt x="26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9" y="0"/>
                    <a:pt x="32" y="3"/>
                    <a:pt x="32" y="6"/>
                  </a:cubicBezTo>
                  <a:cubicBezTo>
                    <a:pt x="32" y="10"/>
                    <a:pt x="29" y="12"/>
                    <a:pt x="2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93" name="Freeform 153"/>
            <p:cNvSpPr>
              <a:spLocks/>
            </p:cNvSpPr>
            <p:nvPr/>
          </p:nvSpPr>
          <p:spPr bwMode="auto">
            <a:xfrm>
              <a:off x="6870701" y="5997575"/>
              <a:ext cx="92075" cy="34925"/>
            </a:xfrm>
            <a:custGeom>
              <a:avLst/>
              <a:gdLst>
                <a:gd name="T0" fmla="*/ 26 w 32"/>
                <a:gd name="T1" fmla="*/ 12 h 12"/>
                <a:gd name="T2" fmla="*/ 6 w 32"/>
                <a:gd name="T3" fmla="*/ 12 h 12"/>
                <a:gd name="T4" fmla="*/ 0 w 32"/>
                <a:gd name="T5" fmla="*/ 6 h 12"/>
                <a:gd name="T6" fmla="*/ 6 w 32"/>
                <a:gd name="T7" fmla="*/ 0 h 12"/>
                <a:gd name="T8" fmla="*/ 26 w 32"/>
                <a:gd name="T9" fmla="*/ 0 h 12"/>
                <a:gd name="T10" fmla="*/ 32 w 32"/>
                <a:gd name="T11" fmla="*/ 6 h 12"/>
                <a:gd name="T12" fmla="*/ 26 w 32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12">
                  <a:moveTo>
                    <a:pt x="26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9" y="0"/>
                    <a:pt x="32" y="3"/>
                    <a:pt x="32" y="6"/>
                  </a:cubicBezTo>
                  <a:cubicBezTo>
                    <a:pt x="32" y="9"/>
                    <a:pt x="29" y="12"/>
                    <a:pt x="2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94" name="Freeform 154"/>
            <p:cNvSpPr>
              <a:spLocks/>
            </p:cNvSpPr>
            <p:nvPr/>
          </p:nvSpPr>
          <p:spPr bwMode="auto">
            <a:xfrm>
              <a:off x="6870701" y="5872163"/>
              <a:ext cx="92075" cy="34925"/>
            </a:xfrm>
            <a:custGeom>
              <a:avLst/>
              <a:gdLst>
                <a:gd name="T0" fmla="*/ 26 w 32"/>
                <a:gd name="T1" fmla="*/ 12 h 12"/>
                <a:gd name="T2" fmla="*/ 6 w 32"/>
                <a:gd name="T3" fmla="*/ 12 h 12"/>
                <a:gd name="T4" fmla="*/ 0 w 32"/>
                <a:gd name="T5" fmla="*/ 6 h 12"/>
                <a:gd name="T6" fmla="*/ 6 w 32"/>
                <a:gd name="T7" fmla="*/ 0 h 12"/>
                <a:gd name="T8" fmla="*/ 26 w 32"/>
                <a:gd name="T9" fmla="*/ 0 h 12"/>
                <a:gd name="T10" fmla="*/ 32 w 32"/>
                <a:gd name="T11" fmla="*/ 6 h 12"/>
                <a:gd name="T12" fmla="*/ 26 w 32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12">
                  <a:moveTo>
                    <a:pt x="26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9" y="0"/>
                    <a:pt x="32" y="3"/>
                    <a:pt x="32" y="6"/>
                  </a:cubicBezTo>
                  <a:cubicBezTo>
                    <a:pt x="32" y="10"/>
                    <a:pt x="29" y="12"/>
                    <a:pt x="2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95" name="Freeform 155"/>
            <p:cNvSpPr>
              <a:spLocks/>
            </p:cNvSpPr>
            <p:nvPr/>
          </p:nvSpPr>
          <p:spPr bwMode="auto">
            <a:xfrm>
              <a:off x="6503988" y="6053138"/>
              <a:ext cx="158750" cy="153988"/>
            </a:xfrm>
            <a:custGeom>
              <a:avLst/>
              <a:gdLst>
                <a:gd name="T0" fmla="*/ 7 w 54"/>
                <a:gd name="T1" fmla="*/ 53 h 53"/>
                <a:gd name="T2" fmla="*/ 3 w 54"/>
                <a:gd name="T3" fmla="*/ 52 h 53"/>
                <a:gd name="T4" fmla="*/ 3 w 54"/>
                <a:gd name="T5" fmla="*/ 43 h 53"/>
                <a:gd name="T6" fmla="*/ 44 w 54"/>
                <a:gd name="T7" fmla="*/ 2 h 53"/>
                <a:gd name="T8" fmla="*/ 52 w 54"/>
                <a:gd name="T9" fmla="*/ 2 h 53"/>
                <a:gd name="T10" fmla="*/ 52 w 54"/>
                <a:gd name="T11" fmla="*/ 11 h 53"/>
                <a:gd name="T12" fmla="*/ 11 w 54"/>
                <a:gd name="T13" fmla="*/ 52 h 53"/>
                <a:gd name="T14" fmla="*/ 7 w 54"/>
                <a:gd name="T1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4" h="53">
                  <a:moveTo>
                    <a:pt x="7" y="53"/>
                  </a:moveTo>
                  <a:cubicBezTo>
                    <a:pt x="6" y="53"/>
                    <a:pt x="4" y="53"/>
                    <a:pt x="3" y="52"/>
                  </a:cubicBezTo>
                  <a:cubicBezTo>
                    <a:pt x="0" y="49"/>
                    <a:pt x="0" y="46"/>
                    <a:pt x="3" y="43"/>
                  </a:cubicBezTo>
                  <a:cubicBezTo>
                    <a:pt x="44" y="2"/>
                    <a:pt x="44" y="2"/>
                    <a:pt x="44" y="2"/>
                  </a:cubicBezTo>
                  <a:cubicBezTo>
                    <a:pt x="46" y="0"/>
                    <a:pt x="50" y="0"/>
                    <a:pt x="52" y="2"/>
                  </a:cubicBezTo>
                  <a:cubicBezTo>
                    <a:pt x="54" y="5"/>
                    <a:pt x="54" y="9"/>
                    <a:pt x="52" y="11"/>
                  </a:cubicBezTo>
                  <a:cubicBezTo>
                    <a:pt x="11" y="52"/>
                    <a:pt x="11" y="52"/>
                    <a:pt x="11" y="52"/>
                  </a:cubicBezTo>
                  <a:cubicBezTo>
                    <a:pt x="10" y="53"/>
                    <a:pt x="9" y="53"/>
                    <a:pt x="7" y="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96" name="Freeform 156"/>
            <p:cNvSpPr>
              <a:spLocks noEditPoints="1"/>
            </p:cNvSpPr>
            <p:nvPr/>
          </p:nvSpPr>
          <p:spPr bwMode="auto">
            <a:xfrm>
              <a:off x="6618288" y="5935663"/>
              <a:ext cx="166688" cy="163513"/>
            </a:xfrm>
            <a:custGeom>
              <a:avLst/>
              <a:gdLst>
                <a:gd name="T0" fmla="*/ 40 w 57"/>
                <a:gd name="T1" fmla="*/ 56 h 56"/>
                <a:gd name="T2" fmla="*/ 16 w 57"/>
                <a:gd name="T3" fmla="*/ 56 h 56"/>
                <a:gd name="T4" fmla="*/ 0 w 57"/>
                <a:gd name="T5" fmla="*/ 39 h 56"/>
                <a:gd name="T6" fmla="*/ 0 w 57"/>
                <a:gd name="T7" fmla="*/ 16 h 56"/>
                <a:gd name="T8" fmla="*/ 16 w 57"/>
                <a:gd name="T9" fmla="*/ 0 h 56"/>
                <a:gd name="T10" fmla="*/ 40 w 57"/>
                <a:gd name="T11" fmla="*/ 0 h 56"/>
                <a:gd name="T12" fmla="*/ 57 w 57"/>
                <a:gd name="T13" fmla="*/ 16 h 56"/>
                <a:gd name="T14" fmla="*/ 57 w 57"/>
                <a:gd name="T15" fmla="*/ 39 h 56"/>
                <a:gd name="T16" fmla="*/ 40 w 57"/>
                <a:gd name="T17" fmla="*/ 56 h 56"/>
                <a:gd name="T18" fmla="*/ 16 w 57"/>
                <a:gd name="T19" fmla="*/ 12 h 56"/>
                <a:gd name="T20" fmla="*/ 12 w 57"/>
                <a:gd name="T21" fmla="*/ 16 h 56"/>
                <a:gd name="T22" fmla="*/ 12 w 57"/>
                <a:gd name="T23" fmla="*/ 39 h 56"/>
                <a:gd name="T24" fmla="*/ 16 w 57"/>
                <a:gd name="T25" fmla="*/ 44 h 56"/>
                <a:gd name="T26" fmla="*/ 40 w 57"/>
                <a:gd name="T27" fmla="*/ 44 h 56"/>
                <a:gd name="T28" fmla="*/ 45 w 57"/>
                <a:gd name="T29" fmla="*/ 39 h 56"/>
                <a:gd name="T30" fmla="*/ 45 w 57"/>
                <a:gd name="T31" fmla="*/ 16 h 56"/>
                <a:gd name="T32" fmla="*/ 40 w 57"/>
                <a:gd name="T33" fmla="*/ 12 h 56"/>
                <a:gd name="T34" fmla="*/ 16 w 57"/>
                <a:gd name="T35" fmla="*/ 12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7" h="56">
                  <a:moveTo>
                    <a:pt x="40" y="56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7" y="56"/>
                    <a:pt x="0" y="48"/>
                    <a:pt x="0" y="39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9" y="0"/>
                    <a:pt x="57" y="7"/>
                    <a:pt x="57" y="16"/>
                  </a:cubicBezTo>
                  <a:cubicBezTo>
                    <a:pt x="57" y="39"/>
                    <a:pt x="57" y="39"/>
                    <a:pt x="57" y="39"/>
                  </a:cubicBezTo>
                  <a:cubicBezTo>
                    <a:pt x="57" y="48"/>
                    <a:pt x="49" y="56"/>
                    <a:pt x="40" y="56"/>
                  </a:cubicBezTo>
                  <a:close/>
                  <a:moveTo>
                    <a:pt x="16" y="12"/>
                  </a:moveTo>
                  <a:cubicBezTo>
                    <a:pt x="14" y="12"/>
                    <a:pt x="12" y="14"/>
                    <a:pt x="12" y="16"/>
                  </a:cubicBezTo>
                  <a:cubicBezTo>
                    <a:pt x="12" y="39"/>
                    <a:pt x="12" y="39"/>
                    <a:pt x="12" y="39"/>
                  </a:cubicBezTo>
                  <a:cubicBezTo>
                    <a:pt x="12" y="42"/>
                    <a:pt x="14" y="44"/>
                    <a:pt x="16" y="44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43" y="44"/>
                    <a:pt x="45" y="42"/>
                    <a:pt x="45" y="39"/>
                  </a:cubicBezTo>
                  <a:cubicBezTo>
                    <a:pt x="45" y="16"/>
                    <a:pt x="45" y="16"/>
                    <a:pt x="45" y="16"/>
                  </a:cubicBezTo>
                  <a:cubicBezTo>
                    <a:pt x="45" y="14"/>
                    <a:pt x="43" y="12"/>
                    <a:pt x="40" y="12"/>
                  </a:cubicBezTo>
                  <a:lnTo>
                    <a:pt x="16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97" name="Group 1007"/>
          <p:cNvGrpSpPr/>
          <p:nvPr/>
        </p:nvGrpSpPr>
        <p:grpSpPr>
          <a:xfrm>
            <a:off x="625563" y="3562009"/>
            <a:ext cx="381507" cy="377997"/>
            <a:chOff x="6081713" y="3393050"/>
            <a:chExt cx="923925" cy="915425"/>
          </a:xfrm>
          <a:solidFill>
            <a:sysClr val="windowText" lastClr="000000"/>
          </a:solidFill>
        </p:grpSpPr>
        <p:sp>
          <p:nvSpPr>
            <p:cNvPr id="98" name="Freeform 1183"/>
            <p:cNvSpPr>
              <a:spLocks/>
            </p:cNvSpPr>
            <p:nvPr/>
          </p:nvSpPr>
          <p:spPr bwMode="auto">
            <a:xfrm>
              <a:off x="6289675" y="3530600"/>
              <a:ext cx="196850" cy="38100"/>
            </a:xfrm>
            <a:custGeom>
              <a:avLst/>
              <a:gdLst>
                <a:gd name="T0" fmla="*/ 55 w 61"/>
                <a:gd name="T1" fmla="*/ 12 h 12"/>
                <a:gd name="T2" fmla="*/ 6 w 61"/>
                <a:gd name="T3" fmla="*/ 12 h 12"/>
                <a:gd name="T4" fmla="*/ 0 w 61"/>
                <a:gd name="T5" fmla="*/ 6 h 12"/>
                <a:gd name="T6" fmla="*/ 6 w 61"/>
                <a:gd name="T7" fmla="*/ 0 h 12"/>
                <a:gd name="T8" fmla="*/ 55 w 61"/>
                <a:gd name="T9" fmla="*/ 0 h 12"/>
                <a:gd name="T10" fmla="*/ 61 w 61"/>
                <a:gd name="T11" fmla="*/ 6 h 12"/>
                <a:gd name="T12" fmla="*/ 55 w 61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1" h="12">
                  <a:moveTo>
                    <a:pt x="55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58" y="0"/>
                    <a:pt x="61" y="3"/>
                    <a:pt x="61" y="6"/>
                  </a:cubicBezTo>
                  <a:cubicBezTo>
                    <a:pt x="61" y="10"/>
                    <a:pt x="58" y="12"/>
                    <a:pt x="55" y="12"/>
                  </a:cubicBezTo>
                  <a:close/>
                </a:path>
              </a:pathLst>
            </a:custGeom>
            <a:grpFill/>
            <a:ln w="9525">
              <a:solidFill>
                <a:sysClr val="windowText" lastClr="000000"/>
              </a:solidFill>
              <a:round/>
              <a:headEnd/>
              <a:tailEnd/>
            </a:ln>
            <a:extLst/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99" name="Freeform 1184"/>
            <p:cNvSpPr>
              <a:spLocks/>
            </p:cNvSpPr>
            <p:nvPr/>
          </p:nvSpPr>
          <p:spPr bwMode="auto">
            <a:xfrm>
              <a:off x="6081713" y="4270375"/>
              <a:ext cx="923925" cy="38100"/>
            </a:xfrm>
            <a:custGeom>
              <a:avLst/>
              <a:gdLst>
                <a:gd name="T0" fmla="*/ 280 w 286"/>
                <a:gd name="T1" fmla="*/ 12 h 12"/>
                <a:gd name="T2" fmla="*/ 6 w 286"/>
                <a:gd name="T3" fmla="*/ 12 h 12"/>
                <a:gd name="T4" fmla="*/ 0 w 286"/>
                <a:gd name="T5" fmla="*/ 6 h 12"/>
                <a:gd name="T6" fmla="*/ 6 w 286"/>
                <a:gd name="T7" fmla="*/ 0 h 12"/>
                <a:gd name="T8" fmla="*/ 280 w 286"/>
                <a:gd name="T9" fmla="*/ 0 h 12"/>
                <a:gd name="T10" fmla="*/ 286 w 286"/>
                <a:gd name="T11" fmla="*/ 6 h 12"/>
                <a:gd name="T12" fmla="*/ 280 w 286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6" h="12">
                  <a:moveTo>
                    <a:pt x="280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280" y="0"/>
                    <a:pt x="280" y="0"/>
                    <a:pt x="280" y="0"/>
                  </a:cubicBezTo>
                  <a:cubicBezTo>
                    <a:pt x="283" y="0"/>
                    <a:pt x="286" y="3"/>
                    <a:pt x="286" y="6"/>
                  </a:cubicBezTo>
                  <a:cubicBezTo>
                    <a:pt x="286" y="10"/>
                    <a:pt x="283" y="12"/>
                    <a:pt x="280" y="12"/>
                  </a:cubicBezTo>
                  <a:close/>
                </a:path>
              </a:pathLst>
            </a:custGeom>
            <a:grpFill/>
            <a:ln w="9525">
              <a:solidFill>
                <a:sysClr val="windowText" lastClr="000000"/>
              </a:solidFill>
              <a:round/>
              <a:headEnd/>
              <a:tailEnd/>
            </a:ln>
            <a:extLst/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100" name="Freeform 1185"/>
            <p:cNvSpPr>
              <a:spLocks/>
            </p:cNvSpPr>
            <p:nvPr/>
          </p:nvSpPr>
          <p:spPr bwMode="auto">
            <a:xfrm>
              <a:off x="6365878" y="3393050"/>
              <a:ext cx="488549" cy="105800"/>
            </a:xfrm>
            <a:custGeom>
              <a:avLst/>
              <a:gdLst>
                <a:gd name="T0" fmla="*/ 6 w 235"/>
                <a:gd name="T1" fmla="*/ 97 h 97"/>
                <a:gd name="T2" fmla="*/ 5 w 235"/>
                <a:gd name="T3" fmla="*/ 97 h 97"/>
                <a:gd name="T4" fmla="*/ 0 w 235"/>
                <a:gd name="T5" fmla="*/ 90 h 97"/>
                <a:gd name="T6" fmla="*/ 45 w 235"/>
                <a:gd name="T7" fmla="*/ 52 h 97"/>
                <a:gd name="T8" fmla="*/ 68 w 235"/>
                <a:gd name="T9" fmla="*/ 59 h 97"/>
                <a:gd name="T10" fmla="*/ 111 w 235"/>
                <a:gd name="T11" fmla="*/ 36 h 97"/>
                <a:gd name="T12" fmla="*/ 132 w 235"/>
                <a:gd name="T13" fmla="*/ 40 h 97"/>
                <a:gd name="T14" fmla="*/ 161 w 235"/>
                <a:gd name="T15" fmla="*/ 27 h 97"/>
                <a:gd name="T16" fmla="*/ 198 w 235"/>
                <a:gd name="T17" fmla="*/ 0 h 97"/>
                <a:gd name="T18" fmla="*/ 235 w 235"/>
                <a:gd name="T19" fmla="*/ 28 h 97"/>
                <a:gd name="T20" fmla="*/ 230 w 235"/>
                <a:gd name="T21" fmla="*/ 36 h 97"/>
                <a:gd name="T22" fmla="*/ 223 w 235"/>
                <a:gd name="T23" fmla="*/ 31 h 97"/>
                <a:gd name="T24" fmla="*/ 198 w 235"/>
                <a:gd name="T25" fmla="*/ 12 h 97"/>
                <a:gd name="T26" fmla="*/ 172 w 235"/>
                <a:gd name="T27" fmla="*/ 35 h 97"/>
                <a:gd name="T28" fmla="*/ 169 w 235"/>
                <a:gd name="T29" fmla="*/ 39 h 97"/>
                <a:gd name="T30" fmla="*/ 164 w 235"/>
                <a:gd name="T31" fmla="*/ 40 h 97"/>
                <a:gd name="T32" fmla="*/ 158 w 235"/>
                <a:gd name="T33" fmla="*/ 39 h 97"/>
                <a:gd name="T34" fmla="*/ 140 w 235"/>
                <a:gd name="T35" fmla="*/ 51 h 97"/>
                <a:gd name="T36" fmla="*/ 136 w 235"/>
                <a:gd name="T37" fmla="*/ 54 h 97"/>
                <a:gd name="T38" fmla="*/ 131 w 235"/>
                <a:gd name="T39" fmla="*/ 53 h 97"/>
                <a:gd name="T40" fmla="*/ 111 w 235"/>
                <a:gd name="T41" fmla="*/ 48 h 97"/>
                <a:gd name="T42" fmla="*/ 75 w 235"/>
                <a:gd name="T43" fmla="*/ 70 h 97"/>
                <a:gd name="T44" fmla="*/ 71 w 235"/>
                <a:gd name="T45" fmla="*/ 73 h 97"/>
                <a:gd name="T46" fmla="*/ 66 w 235"/>
                <a:gd name="T47" fmla="*/ 72 h 97"/>
                <a:gd name="T48" fmla="*/ 45 w 235"/>
                <a:gd name="T49" fmla="*/ 64 h 97"/>
                <a:gd name="T50" fmla="*/ 12 w 235"/>
                <a:gd name="T51" fmla="*/ 92 h 97"/>
                <a:gd name="T52" fmla="*/ 6 w 235"/>
                <a:gd name="T53" fmla="*/ 97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35" h="97">
                  <a:moveTo>
                    <a:pt x="6" y="97"/>
                  </a:moveTo>
                  <a:cubicBezTo>
                    <a:pt x="6" y="97"/>
                    <a:pt x="5" y="97"/>
                    <a:pt x="5" y="97"/>
                  </a:cubicBezTo>
                  <a:cubicBezTo>
                    <a:pt x="2" y="96"/>
                    <a:pt x="0" y="93"/>
                    <a:pt x="0" y="90"/>
                  </a:cubicBezTo>
                  <a:cubicBezTo>
                    <a:pt x="4" y="68"/>
                    <a:pt x="23" y="52"/>
                    <a:pt x="45" y="52"/>
                  </a:cubicBezTo>
                  <a:cubicBezTo>
                    <a:pt x="54" y="52"/>
                    <a:pt x="61" y="54"/>
                    <a:pt x="68" y="59"/>
                  </a:cubicBezTo>
                  <a:cubicBezTo>
                    <a:pt x="78" y="45"/>
                    <a:pt x="94" y="36"/>
                    <a:pt x="111" y="36"/>
                  </a:cubicBezTo>
                  <a:cubicBezTo>
                    <a:pt x="118" y="36"/>
                    <a:pt x="125" y="37"/>
                    <a:pt x="132" y="40"/>
                  </a:cubicBezTo>
                  <a:cubicBezTo>
                    <a:pt x="138" y="31"/>
                    <a:pt x="150" y="26"/>
                    <a:pt x="161" y="27"/>
                  </a:cubicBezTo>
                  <a:cubicBezTo>
                    <a:pt x="166" y="11"/>
                    <a:pt x="181" y="0"/>
                    <a:pt x="198" y="0"/>
                  </a:cubicBezTo>
                  <a:cubicBezTo>
                    <a:pt x="215" y="0"/>
                    <a:pt x="230" y="11"/>
                    <a:pt x="235" y="28"/>
                  </a:cubicBezTo>
                  <a:cubicBezTo>
                    <a:pt x="235" y="31"/>
                    <a:pt x="234" y="35"/>
                    <a:pt x="230" y="36"/>
                  </a:cubicBezTo>
                  <a:cubicBezTo>
                    <a:pt x="227" y="36"/>
                    <a:pt x="224" y="34"/>
                    <a:pt x="223" y="31"/>
                  </a:cubicBezTo>
                  <a:cubicBezTo>
                    <a:pt x="220" y="20"/>
                    <a:pt x="210" y="12"/>
                    <a:pt x="198" y="12"/>
                  </a:cubicBezTo>
                  <a:cubicBezTo>
                    <a:pt x="185" y="12"/>
                    <a:pt x="173" y="22"/>
                    <a:pt x="172" y="35"/>
                  </a:cubicBezTo>
                  <a:cubicBezTo>
                    <a:pt x="172" y="36"/>
                    <a:pt x="171" y="38"/>
                    <a:pt x="169" y="39"/>
                  </a:cubicBezTo>
                  <a:cubicBezTo>
                    <a:pt x="168" y="40"/>
                    <a:pt x="166" y="40"/>
                    <a:pt x="164" y="40"/>
                  </a:cubicBezTo>
                  <a:cubicBezTo>
                    <a:pt x="162" y="39"/>
                    <a:pt x="160" y="39"/>
                    <a:pt x="158" y="39"/>
                  </a:cubicBezTo>
                  <a:cubicBezTo>
                    <a:pt x="150" y="39"/>
                    <a:pt x="143" y="43"/>
                    <a:pt x="140" y="51"/>
                  </a:cubicBezTo>
                  <a:cubicBezTo>
                    <a:pt x="139" y="52"/>
                    <a:pt x="138" y="53"/>
                    <a:pt x="136" y="54"/>
                  </a:cubicBezTo>
                  <a:cubicBezTo>
                    <a:pt x="135" y="54"/>
                    <a:pt x="133" y="54"/>
                    <a:pt x="131" y="53"/>
                  </a:cubicBezTo>
                  <a:cubicBezTo>
                    <a:pt x="125" y="50"/>
                    <a:pt x="118" y="48"/>
                    <a:pt x="111" y="48"/>
                  </a:cubicBezTo>
                  <a:cubicBezTo>
                    <a:pt x="96" y="48"/>
                    <a:pt x="82" y="56"/>
                    <a:pt x="75" y="70"/>
                  </a:cubicBezTo>
                  <a:cubicBezTo>
                    <a:pt x="75" y="71"/>
                    <a:pt x="73" y="73"/>
                    <a:pt x="71" y="73"/>
                  </a:cubicBezTo>
                  <a:cubicBezTo>
                    <a:pt x="70" y="73"/>
                    <a:pt x="68" y="73"/>
                    <a:pt x="66" y="72"/>
                  </a:cubicBezTo>
                  <a:cubicBezTo>
                    <a:pt x="60" y="67"/>
                    <a:pt x="53" y="64"/>
                    <a:pt x="45" y="64"/>
                  </a:cubicBezTo>
                  <a:cubicBezTo>
                    <a:pt x="29" y="64"/>
                    <a:pt x="15" y="76"/>
                    <a:pt x="12" y="92"/>
                  </a:cubicBezTo>
                  <a:cubicBezTo>
                    <a:pt x="12" y="95"/>
                    <a:pt x="9" y="97"/>
                    <a:pt x="6" y="97"/>
                  </a:cubicBezTo>
                  <a:close/>
                </a:path>
              </a:pathLst>
            </a:custGeom>
            <a:grpFill/>
            <a:ln w="9525">
              <a:solidFill>
                <a:sysClr val="windowText" lastClr="000000"/>
              </a:solidFill>
              <a:round/>
              <a:headEnd/>
              <a:tailEnd/>
            </a:ln>
            <a:extLst/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101" name="Freeform 1186"/>
            <p:cNvSpPr>
              <a:spLocks/>
            </p:cNvSpPr>
            <p:nvPr/>
          </p:nvSpPr>
          <p:spPr bwMode="auto">
            <a:xfrm>
              <a:off x="6153150" y="3983038"/>
              <a:ext cx="180975" cy="258763"/>
            </a:xfrm>
            <a:custGeom>
              <a:avLst/>
              <a:gdLst>
                <a:gd name="T0" fmla="*/ 6 w 56"/>
                <a:gd name="T1" fmla="*/ 80 h 80"/>
                <a:gd name="T2" fmla="*/ 0 w 56"/>
                <a:gd name="T3" fmla="*/ 74 h 80"/>
                <a:gd name="T4" fmla="*/ 0 w 56"/>
                <a:gd name="T5" fmla="*/ 19 h 80"/>
                <a:gd name="T6" fmla="*/ 13 w 56"/>
                <a:gd name="T7" fmla="*/ 0 h 80"/>
                <a:gd name="T8" fmla="*/ 50 w 56"/>
                <a:gd name="T9" fmla="*/ 0 h 80"/>
                <a:gd name="T10" fmla="*/ 56 w 56"/>
                <a:gd name="T11" fmla="*/ 6 h 80"/>
                <a:gd name="T12" fmla="*/ 50 w 56"/>
                <a:gd name="T13" fmla="*/ 12 h 80"/>
                <a:gd name="T14" fmla="*/ 14 w 56"/>
                <a:gd name="T15" fmla="*/ 12 h 80"/>
                <a:gd name="T16" fmla="*/ 12 w 56"/>
                <a:gd name="T17" fmla="*/ 19 h 80"/>
                <a:gd name="T18" fmla="*/ 12 w 56"/>
                <a:gd name="T19" fmla="*/ 74 h 80"/>
                <a:gd name="T20" fmla="*/ 6 w 56"/>
                <a:gd name="T21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6" h="80">
                  <a:moveTo>
                    <a:pt x="6" y="80"/>
                  </a:moveTo>
                  <a:cubicBezTo>
                    <a:pt x="3" y="80"/>
                    <a:pt x="0" y="77"/>
                    <a:pt x="0" y="74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8"/>
                    <a:pt x="6" y="0"/>
                    <a:pt x="13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53" y="0"/>
                    <a:pt x="56" y="3"/>
                    <a:pt x="56" y="6"/>
                  </a:cubicBezTo>
                  <a:cubicBezTo>
                    <a:pt x="56" y="9"/>
                    <a:pt x="53" y="12"/>
                    <a:pt x="50" y="12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3" y="13"/>
                    <a:pt x="12" y="15"/>
                    <a:pt x="12" y="19"/>
                  </a:cubicBezTo>
                  <a:cubicBezTo>
                    <a:pt x="12" y="74"/>
                    <a:pt x="12" y="74"/>
                    <a:pt x="12" y="74"/>
                  </a:cubicBezTo>
                  <a:cubicBezTo>
                    <a:pt x="12" y="77"/>
                    <a:pt x="9" y="80"/>
                    <a:pt x="6" y="80"/>
                  </a:cubicBezTo>
                  <a:close/>
                </a:path>
              </a:pathLst>
            </a:custGeom>
            <a:grpFill/>
            <a:ln w="9525">
              <a:solidFill>
                <a:sysClr val="windowText" lastClr="000000"/>
              </a:solidFill>
              <a:round/>
              <a:headEnd/>
              <a:tailEnd/>
            </a:ln>
            <a:extLst/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102" name="Freeform 1187"/>
            <p:cNvSpPr>
              <a:spLocks/>
            </p:cNvSpPr>
            <p:nvPr/>
          </p:nvSpPr>
          <p:spPr bwMode="auto">
            <a:xfrm>
              <a:off x="6308725" y="3586163"/>
              <a:ext cx="147638" cy="652463"/>
            </a:xfrm>
            <a:custGeom>
              <a:avLst/>
              <a:gdLst>
                <a:gd name="T0" fmla="*/ 40 w 46"/>
                <a:gd name="T1" fmla="*/ 202 h 202"/>
                <a:gd name="T2" fmla="*/ 34 w 46"/>
                <a:gd name="T3" fmla="*/ 196 h 202"/>
                <a:gd name="T4" fmla="*/ 34 w 46"/>
                <a:gd name="T5" fmla="*/ 12 h 202"/>
                <a:gd name="T6" fmla="*/ 12 w 46"/>
                <a:gd name="T7" fmla="*/ 12 h 202"/>
                <a:gd name="T8" fmla="*/ 12 w 46"/>
                <a:gd name="T9" fmla="*/ 196 h 202"/>
                <a:gd name="T10" fmla="*/ 6 w 46"/>
                <a:gd name="T11" fmla="*/ 202 h 202"/>
                <a:gd name="T12" fmla="*/ 0 w 46"/>
                <a:gd name="T13" fmla="*/ 196 h 202"/>
                <a:gd name="T14" fmla="*/ 0 w 46"/>
                <a:gd name="T15" fmla="*/ 6 h 202"/>
                <a:gd name="T16" fmla="*/ 6 w 46"/>
                <a:gd name="T17" fmla="*/ 0 h 202"/>
                <a:gd name="T18" fmla="*/ 40 w 46"/>
                <a:gd name="T19" fmla="*/ 0 h 202"/>
                <a:gd name="T20" fmla="*/ 46 w 46"/>
                <a:gd name="T21" fmla="*/ 6 h 202"/>
                <a:gd name="T22" fmla="*/ 46 w 46"/>
                <a:gd name="T23" fmla="*/ 196 h 202"/>
                <a:gd name="T24" fmla="*/ 40 w 46"/>
                <a:gd name="T25" fmla="*/ 202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6" h="202">
                  <a:moveTo>
                    <a:pt x="40" y="202"/>
                  </a:moveTo>
                  <a:cubicBezTo>
                    <a:pt x="36" y="202"/>
                    <a:pt x="34" y="200"/>
                    <a:pt x="34" y="196"/>
                  </a:cubicBezTo>
                  <a:cubicBezTo>
                    <a:pt x="34" y="12"/>
                    <a:pt x="34" y="12"/>
                    <a:pt x="34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196"/>
                    <a:pt x="12" y="196"/>
                    <a:pt x="12" y="196"/>
                  </a:cubicBezTo>
                  <a:cubicBezTo>
                    <a:pt x="12" y="200"/>
                    <a:pt x="10" y="202"/>
                    <a:pt x="6" y="202"/>
                  </a:cubicBezTo>
                  <a:cubicBezTo>
                    <a:pt x="3" y="202"/>
                    <a:pt x="0" y="200"/>
                    <a:pt x="0" y="19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3" y="0"/>
                    <a:pt x="46" y="2"/>
                    <a:pt x="46" y="6"/>
                  </a:cubicBezTo>
                  <a:cubicBezTo>
                    <a:pt x="46" y="196"/>
                    <a:pt x="46" y="196"/>
                    <a:pt x="46" y="196"/>
                  </a:cubicBezTo>
                  <a:cubicBezTo>
                    <a:pt x="46" y="200"/>
                    <a:pt x="43" y="202"/>
                    <a:pt x="40" y="202"/>
                  </a:cubicBezTo>
                  <a:close/>
                </a:path>
              </a:pathLst>
            </a:custGeom>
            <a:grpFill/>
            <a:ln w="9525">
              <a:solidFill>
                <a:sysClr val="windowText" lastClr="000000"/>
              </a:solidFill>
              <a:round/>
              <a:headEnd/>
              <a:tailEnd/>
            </a:ln>
            <a:extLst/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103" name="Freeform 1188"/>
            <p:cNvSpPr>
              <a:spLocks/>
            </p:cNvSpPr>
            <p:nvPr/>
          </p:nvSpPr>
          <p:spPr bwMode="auto">
            <a:xfrm>
              <a:off x="6464300" y="3860800"/>
              <a:ext cx="496888" cy="374650"/>
            </a:xfrm>
            <a:custGeom>
              <a:avLst/>
              <a:gdLst>
                <a:gd name="T0" fmla="*/ 148 w 154"/>
                <a:gd name="T1" fmla="*/ 116 h 116"/>
                <a:gd name="T2" fmla="*/ 142 w 154"/>
                <a:gd name="T3" fmla="*/ 110 h 116"/>
                <a:gd name="T4" fmla="*/ 142 w 154"/>
                <a:gd name="T5" fmla="*/ 31 h 116"/>
                <a:gd name="T6" fmla="*/ 129 w 154"/>
                <a:gd name="T7" fmla="*/ 16 h 116"/>
                <a:gd name="T8" fmla="*/ 108 w 154"/>
                <a:gd name="T9" fmla="*/ 34 h 116"/>
                <a:gd name="T10" fmla="*/ 100 w 154"/>
                <a:gd name="T11" fmla="*/ 33 h 116"/>
                <a:gd name="T12" fmla="*/ 79 w 154"/>
                <a:gd name="T13" fmla="*/ 14 h 116"/>
                <a:gd name="T14" fmla="*/ 58 w 154"/>
                <a:gd name="T15" fmla="*/ 33 h 116"/>
                <a:gd name="T16" fmla="*/ 50 w 154"/>
                <a:gd name="T17" fmla="*/ 33 h 116"/>
                <a:gd name="T18" fmla="*/ 31 w 154"/>
                <a:gd name="T19" fmla="*/ 15 h 116"/>
                <a:gd name="T20" fmla="*/ 10 w 154"/>
                <a:gd name="T21" fmla="*/ 33 h 116"/>
                <a:gd name="T22" fmla="*/ 2 w 154"/>
                <a:gd name="T23" fmla="*/ 33 h 116"/>
                <a:gd name="T24" fmla="*/ 2 w 154"/>
                <a:gd name="T25" fmla="*/ 24 h 116"/>
                <a:gd name="T26" fmla="*/ 27 w 154"/>
                <a:gd name="T27" fmla="*/ 3 h 116"/>
                <a:gd name="T28" fmla="*/ 35 w 154"/>
                <a:gd name="T29" fmla="*/ 3 h 116"/>
                <a:gd name="T30" fmla="*/ 54 w 154"/>
                <a:gd name="T31" fmla="*/ 21 h 116"/>
                <a:gd name="T32" fmla="*/ 75 w 154"/>
                <a:gd name="T33" fmla="*/ 2 h 116"/>
                <a:gd name="T34" fmla="*/ 83 w 154"/>
                <a:gd name="T35" fmla="*/ 2 h 116"/>
                <a:gd name="T36" fmla="*/ 104 w 154"/>
                <a:gd name="T37" fmla="*/ 21 h 116"/>
                <a:gd name="T38" fmla="*/ 126 w 154"/>
                <a:gd name="T39" fmla="*/ 2 h 116"/>
                <a:gd name="T40" fmla="*/ 130 w 154"/>
                <a:gd name="T41" fmla="*/ 1 h 116"/>
                <a:gd name="T42" fmla="*/ 134 w 154"/>
                <a:gd name="T43" fmla="*/ 3 h 116"/>
                <a:gd name="T44" fmla="*/ 152 w 154"/>
                <a:gd name="T45" fmla="*/ 25 h 116"/>
                <a:gd name="T46" fmla="*/ 154 w 154"/>
                <a:gd name="T47" fmla="*/ 29 h 116"/>
                <a:gd name="T48" fmla="*/ 154 w 154"/>
                <a:gd name="T49" fmla="*/ 110 h 116"/>
                <a:gd name="T50" fmla="*/ 148 w 154"/>
                <a:gd name="T51" fmla="*/ 116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54" h="116">
                  <a:moveTo>
                    <a:pt x="148" y="116"/>
                  </a:moveTo>
                  <a:cubicBezTo>
                    <a:pt x="145" y="116"/>
                    <a:pt x="142" y="114"/>
                    <a:pt x="142" y="110"/>
                  </a:cubicBezTo>
                  <a:cubicBezTo>
                    <a:pt x="142" y="31"/>
                    <a:pt x="142" y="31"/>
                    <a:pt x="142" y="31"/>
                  </a:cubicBezTo>
                  <a:cubicBezTo>
                    <a:pt x="129" y="16"/>
                    <a:pt x="129" y="16"/>
                    <a:pt x="129" y="16"/>
                  </a:cubicBezTo>
                  <a:cubicBezTo>
                    <a:pt x="108" y="34"/>
                    <a:pt x="108" y="34"/>
                    <a:pt x="108" y="34"/>
                  </a:cubicBezTo>
                  <a:cubicBezTo>
                    <a:pt x="105" y="35"/>
                    <a:pt x="102" y="35"/>
                    <a:pt x="100" y="33"/>
                  </a:cubicBezTo>
                  <a:cubicBezTo>
                    <a:pt x="79" y="14"/>
                    <a:pt x="79" y="14"/>
                    <a:pt x="79" y="14"/>
                  </a:cubicBezTo>
                  <a:cubicBezTo>
                    <a:pt x="58" y="33"/>
                    <a:pt x="58" y="33"/>
                    <a:pt x="58" y="33"/>
                  </a:cubicBezTo>
                  <a:cubicBezTo>
                    <a:pt x="55" y="35"/>
                    <a:pt x="52" y="35"/>
                    <a:pt x="50" y="33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0" y="33"/>
                    <a:pt x="10" y="33"/>
                    <a:pt x="10" y="33"/>
                  </a:cubicBezTo>
                  <a:cubicBezTo>
                    <a:pt x="8" y="36"/>
                    <a:pt x="4" y="35"/>
                    <a:pt x="2" y="33"/>
                  </a:cubicBezTo>
                  <a:cubicBezTo>
                    <a:pt x="0" y="30"/>
                    <a:pt x="0" y="27"/>
                    <a:pt x="2" y="24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29" y="1"/>
                    <a:pt x="33" y="1"/>
                    <a:pt x="35" y="3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75" y="2"/>
                    <a:pt x="75" y="2"/>
                    <a:pt x="75" y="2"/>
                  </a:cubicBezTo>
                  <a:cubicBezTo>
                    <a:pt x="77" y="0"/>
                    <a:pt x="81" y="0"/>
                    <a:pt x="83" y="2"/>
                  </a:cubicBezTo>
                  <a:cubicBezTo>
                    <a:pt x="104" y="21"/>
                    <a:pt x="104" y="21"/>
                    <a:pt x="104" y="21"/>
                  </a:cubicBezTo>
                  <a:cubicBezTo>
                    <a:pt x="126" y="2"/>
                    <a:pt x="126" y="2"/>
                    <a:pt x="126" y="2"/>
                  </a:cubicBezTo>
                  <a:cubicBezTo>
                    <a:pt x="127" y="1"/>
                    <a:pt x="129" y="1"/>
                    <a:pt x="130" y="1"/>
                  </a:cubicBezTo>
                  <a:cubicBezTo>
                    <a:pt x="132" y="1"/>
                    <a:pt x="133" y="2"/>
                    <a:pt x="134" y="3"/>
                  </a:cubicBezTo>
                  <a:cubicBezTo>
                    <a:pt x="152" y="25"/>
                    <a:pt x="152" y="25"/>
                    <a:pt x="152" y="25"/>
                  </a:cubicBezTo>
                  <a:cubicBezTo>
                    <a:pt x="153" y="26"/>
                    <a:pt x="154" y="28"/>
                    <a:pt x="154" y="29"/>
                  </a:cubicBezTo>
                  <a:cubicBezTo>
                    <a:pt x="154" y="110"/>
                    <a:pt x="154" y="110"/>
                    <a:pt x="154" y="110"/>
                  </a:cubicBezTo>
                  <a:cubicBezTo>
                    <a:pt x="154" y="114"/>
                    <a:pt x="151" y="116"/>
                    <a:pt x="148" y="116"/>
                  </a:cubicBezTo>
                  <a:close/>
                </a:path>
              </a:pathLst>
            </a:custGeom>
            <a:grpFill/>
            <a:ln w="9525">
              <a:solidFill>
                <a:sysClr val="windowText" lastClr="000000"/>
              </a:solidFill>
              <a:round/>
              <a:headEnd/>
              <a:tailEnd/>
            </a:ln>
            <a:extLst/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104" name="Freeform 1189"/>
            <p:cNvSpPr>
              <a:spLocks/>
            </p:cNvSpPr>
            <p:nvPr/>
          </p:nvSpPr>
          <p:spPr bwMode="auto">
            <a:xfrm>
              <a:off x="6489700" y="4027488"/>
              <a:ext cx="390525" cy="39688"/>
            </a:xfrm>
            <a:custGeom>
              <a:avLst/>
              <a:gdLst>
                <a:gd name="T0" fmla="*/ 115 w 121"/>
                <a:gd name="T1" fmla="*/ 12 h 12"/>
                <a:gd name="T2" fmla="*/ 6 w 121"/>
                <a:gd name="T3" fmla="*/ 12 h 12"/>
                <a:gd name="T4" fmla="*/ 0 w 121"/>
                <a:gd name="T5" fmla="*/ 6 h 12"/>
                <a:gd name="T6" fmla="*/ 6 w 121"/>
                <a:gd name="T7" fmla="*/ 0 h 12"/>
                <a:gd name="T8" fmla="*/ 115 w 121"/>
                <a:gd name="T9" fmla="*/ 0 h 12"/>
                <a:gd name="T10" fmla="*/ 121 w 121"/>
                <a:gd name="T11" fmla="*/ 6 h 12"/>
                <a:gd name="T12" fmla="*/ 115 w 121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1" h="12">
                  <a:moveTo>
                    <a:pt x="115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15" y="0"/>
                    <a:pt x="115" y="0"/>
                    <a:pt x="115" y="0"/>
                  </a:cubicBezTo>
                  <a:cubicBezTo>
                    <a:pt x="119" y="0"/>
                    <a:pt x="121" y="3"/>
                    <a:pt x="121" y="6"/>
                  </a:cubicBezTo>
                  <a:cubicBezTo>
                    <a:pt x="121" y="10"/>
                    <a:pt x="119" y="12"/>
                    <a:pt x="115" y="12"/>
                  </a:cubicBezTo>
                  <a:close/>
                </a:path>
              </a:pathLst>
            </a:custGeom>
            <a:grpFill/>
            <a:ln w="9525">
              <a:solidFill>
                <a:sysClr val="windowText" lastClr="000000"/>
              </a:solidFill>
              <a:round/>
              <a:headEnd/>
              <a:tailEnd/>
            </a:ln>
            <a:extLst/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105" name="Group 1064"/>
          <p:cNvGrpSpPr/>
          <p:nvPr/>
        </p:nvGrpSpPr>
        <p:grpSpPr>
          <a:xfrm>
            <a:off x="628289" y="4166059"/>
            <a:ext cx="406988" cy="372739"/>
            <a:chOff x="9929813" y="3343275"/>
            <a:chExt cx="400050" cy="962025"/>
          </a:xfrm>
          <a:solidFill>
            <a:sysClr val="windowText" lastClr="000000"/>
          </a:solidFill>
        </p:grpSpPr>
        <p:sp>
          <p:nvSpPr>
            <p:cNvPr id="107" name="Freeform 1250"/>
            <p:cNvSpPr>
              <a:spLocks/>
            </p:cNvSpPr>
            <p:nvPr/>
          </p:nvSpPr>
          <p:spPr bwMode="auto">
            <a:xfrm>
              <a:off x="10013950" y="4273550"/>
              <a:ext cx="234950" cy="31750"/>
            </a:xfrm>
            <a:custGeom>
              <a:avLst/>
              <a:gdLst>
                <a:gd name="T0" fmla="*/ 68 w 73"/>
                <a:gd name="T1" fmla="*/ 10 h 10"/>
                <a:gd name="T2" fmla="*/ 5 w 73"/>
                <a:gd name="T3" fmla="*/ 10 h 10"/>
                <a:gd name="T4" fmla="*/ 0 w 73"/>
                <a:gd name="T5" fmla="*/ 5 h 10"/>
                <a:gd name="T6" fmla="*/ 5 w 73"/>
                <a:gd name="T7" fmla="*/ 0 h 10"/>
                <a:gd name="T8" fmla="*/ 68 w 73"/>
                <a:gd name="T9" fmla="*/ 0 h 10"/>
                <a:gd name="T10" fmla="*/ 73 w 73"/>
                <a:gd name="T11" fmla="*/ 5 h 10"/>
                <a:gd name="T12" fmla="*/ 68 w 73"/>
                <a:gd name="T13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" h="10">
                  <a:moveTo>
                    <a:pt x="68" y="10"/>
                  </a:moveTo>
                  <a:cubicBezTo>
                    <a:pt x="5" y="10"/>
                    <a:pt x="5" y="10"/>
                    <a:pt x="5" y="10"/>
                  </a:cubicBezTo>
                  <a:cubicBezTo>
                    <a:pt x="2" y="10"/>
                    <a:pt x="0" y="8"/>
                    <a:pt x="0" y="5"/>
                  </a:cubicBezTo>
                  <a:cubicBezTo>
                    <a:pt x="0" y="3"/>
                    <a:pt x="2" y="0"/>
                    <a:pt x="5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70" y="0"/>
                    <a:pt x="73" y="3"/>
                    <a:pt x="73" y="5"/>
                  </a:cubicBezTo>
                  <a:cubicBezTo>
                    <a:pt x="73" y="8"/>
                    <a:pt x="70" y="10"/>
                    <a:pt x="68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108" name="Freeform 1251"/>
            <p:cNvSpPr>
              <a:spLocks/>
            </p:cNvSpPr>
            <p:nvPr/>
          </p:nvSpPr>
          <p:spPr bwMode="auto">
            <a:xfrm>
              <a:off x="10117138" y="4073525"/>
              <a:ext cx="31750" cy="196850"/>
            </a:xfrm>
            <a:custGeom>
              <a:avLst/>
              <a:gdLst>
                <a:gd name="T0" fmla="*/ 5 w 10"/>
                <a:gd name="T1" fmla="*/ 61 h 61"/>
                <a:gd name="T2" fmla="*/ 0 w 10"/>
                <a:gd name="T3" fmla="*/ 56 h 61"/>
                <a:gd name="T4" fmla="*/ 0 w 10"/>
                <a:gd name="T5" fmla="*/ 5 h 61"/>
                <a:gd name="T6" fmla="*/ 5 w 10"/>
                <a:gd name="T7" fmla="*/ 0 h 61"/>
                <a:gd name="T8" fmla="*/ 10 w 10"/>
                <a:gd name="T9" fmla="*/ 5 h 61"/>
                <a:gd name="T10" fmla="*/ 10 w 10"/>
                <a:gd name="T11" fmla="*/ 56 h 61"/>
                <a:gd name="T12" fmla="*/ 5 w 10"/>
                <a:gd name="T13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61">
                  <a:moveTo>
                    <a:pt x="5" y="61"/>
                  </a:moveTo>
                  <a:cubicBezTo>
                    <a:pt x="2" y="61"/>
                    <a:pt x="0" y="59"/>
                    <a:pt x="0" y="56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8" y="0"/>
                    <a:pt x="10" y="2"/>
                    <a:pt x="10" y="5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10" y="59"/>
                    <a:pt x="8" y="61"/>
                    <a:pt x="5" y="6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109" name="Freeform 1252"/>
            <p:cNvSpPr>
              <a:spLocks noEditPoints="1"/>
            </p:cNvSpPr>
            <p:nvPr/>
          </p:nvSpPr>
          <p:spPr bwMode="auto">
            <a:xfrm>
              <a:off x="9929813" y="3860800"/>
              <a:ext cx="200025" cy="203200"/>
            </a:xfrm>
            <a:custGeom>
              <a:avLst/>
              <a:gdLst>
                <a:gd name="T0" fmla="*/ 56 w 62"/>
                <a:gd name="T1" fmla="*/ 63 h 63"/>
                <a:gd name="T2" fmla="*/ 56 w 62"/>
                <a:gd name="T3" fmla="*/ 63 h 63"/>
                <a:gd name="T4" fmla="*/ 16 w 62"/>
                <a:gd name="T5" fmla="*/ 46 h 63"/>
                <a:gd name="T6" fmla="*/ 1 w 62"/>
                <a:gd name="T7" fmla="*/ 5 h 63"/>
                <a:gd name="T8" fmla="*/ 2 w 62"/>
                <a:gd name="T9" fmla="*/ 2 h 63"/>
                <a:gd name="T10" fmla="*/ 6 w 62"/>
                <a:gd name="T11" fmla="*/ 0 h 63"/>
                <a:gd name="T12" fmla="*/ 61 w 62"/>
                <a:gd name="T13" fmla="*/ 58 h 63"/>
                <a:gd name="T14" fmla="*/ 56 w 62"/>
                <a:gd name="T15" fmla="*/ 63 h 63"/>
                <a:gd name="T16" fmla="*/ 11 w 62"/>
                <a:gd name="T17" fmla="*/ 11 h 63"/>
                <a:gd name="T18" fmla="*/ 24 w 62"/>
                <a:gd name="T19" fmla="*/ 39 h 63"/>
                <a:gd name="T20" fmla="*/ 51 w 62"/>
                <a:gd name="T21" fmla="*/ 53 h 63"/>
                <a:gd name="T22" fmla="*/ 11 w 62"/>
                <a:gd name="T23" fmla="*/ 1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2" h="63">
                  <a:moveTo>
                    <a:pt x="56" y="63"/>
                  </a:moveTo>
                  <a:cubicBezTo>
                    <a:pt x="56" y="63"/>
                    <a:pt x="56" y="63"/>
                    <a:pt x="56" y="63"/>
                  </a:cubicBezTo>
                  <a:cubicBezTo>
                    <a:pt x="41" y="63"/>
                    <a:pt x="27" y="56"/>
                    <a:pt x="16" y="46"/>
                  </a:cubicBezTo>
                  <a:cubicBezTo>
                    <a:pt x="6" y="35"/>
                    <a:pt x="0" y="20"/>
                    <a:pt x="1" y="5"/>
                  </a:cubicBezTo>
                  <a:cubicBezTo>
                    <a:pt x="1" y="4"/>
                    <a:pt x="1" y="2"/>
                    <a:pt x="2" y="2"/>
                  </a:cubicBezTo>
                  <a:cubicBezTo>
                    <a:pt x="3" y="1"/>
                    <a:pt x="4" y="0"/>
                    <a:pt x="6" y="0"/>
                  </a:cubicBezTo>
                  <a:cubicBezTo>
                    <a:pt x="37" y="1"/>
                    <a:pt x="62" y="27"/>
                    <a:pt x="61" y="58"/>
                  </a:cubicBezTo>
                  <a:cubicBezTo>
                    <a:pt x="61" y="61"/>
                    <a:pt x="59" y="63"/>
                    <a:pt x="56" y="63"/>
                  </a:cubicBezTo>
                  <a:close/>
                  <a:moveTo>
                    <a:pt x="11" y="11"/>
                  </a:moveTo>
                  <a:cubicBezTo>
                    <a:pt x="12" y="21"/>
                    <a:pt x="16" y="31"/>
                    <a:pt x="24" y="39"/>
                  </a:cubicBezTo>
                  <a:cubicBezTo>
                    <a:pt x="31" y="46"/>
                    <a:pt x="41" y="51"/>
                    <a:pt x="51" y="53"/>
                  </a:cubicBezTo>
                  <a:cubicBezTo>
                    <a:pt x="49" y="31"/>
                    <a:pt x="32" y="14"/>
                    <a:pt x="11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110" name="Freeform 1253"/>
            <p:cNvSpPr>
              <a:spLocks noEditPoints="1"/>
            </p:cNvSpPr>
            <p:nvPr/>
          </p:nvSpPr>
          <p:spPr bwMode="auto">
            <a:xfrm>
              <a:off x="10133013" y="3860800"/>
              <a:ext cx="196850" cy="203200"/>
            </a:xfrm>
            <a:custGeom>
              <a:avLst/>
              <a:gdLst>
                <a:gd name="T0" fmla="*/ 5 w 61"/>
                <a:gd name="T1" fmla="*/ 63 h 63"/>
                <a:gd name="T2" fmla="*/ 0 w 61"/>
                <a:gd name="T3" fmla="*/ 58 h 63"/>
                <a:gd name="T4" fmla="*/ 56 w 61"/>
                <a:gd name="T5" fmla="*/ 0 h 63"/>
                <a:gd name="T6" fmla="*/ 59 w 61"/>
                <a:gd name="T7" fmla="*/ 2 h 63"/>
                <a:gd name="T8" fmla="*/ 61 w 61"/>
                <a:gd name="T9" fmla="*/ 5 h 63"/>
                <a:gd name="T10" fmla="*/ 45 w 61"/>
                <a:gd name="T11" fmla="*/ 46 h 63"/>
                <a:gd name="T12" fmla="*/ 5 w 61"/>
                <a:gd name="T13" fmla="*/ 63 h 63"/>
                <a:gd name="T14" fmla="*/ 5 w 61"/>
                <a:gd name="T15" fmla="*/ 63 h 63"/>
                <a:gd name="T16" fmla="*/ 51 w 61"/>
                <a:gd name="T17" fmla="*/ 11 h 63"/>
                <a:gd name="T18" fmla="*/ 10 w 61"/>
                <a:gd name="T19" fmla="*/ 53 h 63"/>
                <a:gd name="T20" fmla="*/ 38 w 61"/>
                <a:gd name="T21" fmla="*/ 39 h 63"/>
                <a:gd name="T22" fmla="*/ 51 w 61"/>
                <a:gd name="T23" fmla="*/ 1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1" h="63">
                  <a:moveTo>
                    <a:pt x="5" y="63"/>
                  </a:moveTo>
                  <a:cubicBezTo>
                    <a:pt x="3" y="63"/>
                    <a:pt x="0" y="61"/>
                    <a:pt x="0" y="58"/>
                  </a:cubicBezTo>
                  <a:cubicBezTo>
                    <a:pt x="0" y="27"/>
                    <a:pt x="24" y="1"/>
                    <a:pt x="56" y="0"/>
                  </a:cubicBezTo>
                  <a:cubicBezTo>
                    <a:pt x="57" y="0"/>
                    <a:pt x="58" y="1"/>
                    <a:pt x="59" y="2"/>
                  </a:cubicBezTo>
                  <a:cubicBezTo>
                    <a:pt x="60" y="2"/>
                    <a:pt x="61" y="4"/>
                    <a:pt x="61" y="5"/>
                  </a:cubicBezTo>
                  <a:cubicBezTo>
                    <a:pt x="61" y="20"/>
                    <a:pt x="56" y="35"/>
                    <a:pt x="45" y="46"/>
                  </a:cubicBezTo>
                  <a:cubicBezTo>
                    <a:pt x="35" y="56"/>
                    <a:pt x="21" y="63"/>
                    <a:pt x="5" y="63"/>
                  </a:cubicBezTo>
                  <a:cubicBezTo>
                    <a:pt x="5" y="63"/>
                    <a:pt x="5" y="63"/>
                    <a:pt x="5" y="63"/>
                  </a:cubicBezTo>
                  <a:close/>
                  <a:moveTo>
                    <a:pt x="51" y="11"/>
                  </a:moveTo>
                  <a:cubicBezTo>
                    <a:pt x="29" y="14"/>
                    <a:pt x="12" y="31"/>
                    <a:pt x="10" y="53"/>
                  </a:cubicBezTo>
                  <a:cubicBezTo>
                    <a:pt x="21" y="51"/>
                    <a:pt x="30" y="46"/>
                    <a:pt x="38" y="39"/>
                  </a:cubicBezTo>
                  <a:cubicBezTo>
                    <a:pt x="45" y="31"/>
                    <a:pt x="50" y="21"/>
                    <a:pt x="51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111" name="Freeform 1254"/>
            <p:cNvSpPr>
              <a:spLocks noEditPoints="1"/>
            </p:cNvSpPr>
            <p:nvPr/>
          </p:nvSpPr>
          <p:spPr bwMode="auto">
            <a:xfrm>
              <a:off x="9929813" y="3692525"/>
              <a:ext cx="196850" cy="203200"/>
            </a:xfrm>
            <a:custGeom>
              <a:avLst/>
              <a:gdLst>
                <a:gd name="T0" fmla="*/ 56 w 61"/>
                <a:gd name="T1" fmla="*/ 63 h 63"/>
                <a:gd name="T2" fmla="*/ 56 w 61"/>
                <a:gd name="T3" fmla="*/ 63 h 63"/>
                <a:gd name="T4" fmla="*/ 16 w 61"/>
                <a:gd name="T5" fmla="*/ 45 h 63"/>
                <a:gd name="T6" fmla="*/ 1 w 61"/>
                <a:gd name="T7" fmla="*/ 5 h 63"/>
                <a:gd name="T8" fmla="*/ 6 w 61"/>
                <a:gd name="T9" fmla="*/ 0 h 63"/>
                <a:gd name="T10" fmla="*/ 45 w 61"/>
                <a:gd name="T11" fmla="*/ 17 h 63"/>
                <a:gd name="T12" fmla="*/ 61 w 61"/>
                <a:gd name="T13" fmla="*/ 58 h 63"/>
                <a:gd name="T14" fmla="*/ 56 w 61"/>
                <a:gd name="T15" fmla="*/ 63 h 63"/>
                <a:gd name="T16" fmla="*/ 11 w 61"/>
                <a:gd name="T17" fmla="*/ 10 h 63"/>
                <a:gd name="T18" fmla="*/ 24 w 61"/>
                <a:gd name="T19" fmla="*/ 38 h 63"/>
                <a:gd name="T20" fmla="*/ 51 w 61"/>
                <a:gd name="T21" fmla="*/ 52 h 63"/>
                <a:gd name="T22" fmla="*/ 38 w 61"/>
                <a:gd name="T23" fmla="*/ 24 h 63"/>
                <a:gd name="T24" fmla="*/ 11 w 61"/>
                <a:gd name="T25" fmla="*/ 1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1" h="63">
                  <a:moveTo>
                    <a:pt x="56" y="63"/>
                  </a:moveTo>
                  <a:cubicBezTo>
                    <a:pt x="56" y="63"/>
                    <a:pt x="56" y="63"/>
                    <a:pt x="56" y="63"/>
                  </a:cubicBezTo>
                  <a:cubicBezTo>
                    <a:pt x="41" y="62"/>
                    <a:pt x="27" y="56"/>
                    <a:pt x="16" y="45"/>
                  </a:cubicBezTo>
                  <a:cubicBezTo>
                    <a:pt x="6" y="34"/>
                    <a:pt x="0" y="20"/>
                    <a:pt x="1" y="5"/>
                  </a:cubicBezTo>
                  <a:cubicBezTo>
                    <a:pt x="1" y="2"/>
                    <a:pt x="3" y="0"/>
                    <a:pt x="6" y="0"/>
                  </a:cubicBezTo>
                  <a:cubicBezTo>
                    <a:pt x="21" y="0"/>
                    <a:pt x="35" y="6"/>
                    <a:pt x="45" y="17"/>
                  </a:cubicBezTo>
                  <a:cubicBezTo>
                    <a:pt x="56" y="28"/>
                    <a:pt x="61" y="43"/>
                    <a:pt x="61" y="58"/>
                  </a:cubicBezTo>
                  <a:cubicBezTo>
                    <a:pt x="61" y="60"/>
                    <a:pt x="59" y="63"/>
                    <a:pt x="56" y="63"/>
                  </a:cubicBezTo>
                  <a:close/>
                  <a:moveTo>
                    <a:pt x="11" y="10"/>
                  </a:moveTo>
                  <a:cubicBezTo>
                    <a:pt x="12" y="21"/>
                    <a:pt x="16" y="30"/>
                    <a:pt x="24" y="38"/>
                  </a:cubicBezTo>
                  <a:cubicBezTo>
                    <a:pt x="31" y="46"/>
                    <a:pt x="41" y="51"/>
                    <a:pt x="51" y="52"/>
                  </a:cubicBezTo>
                  <a:cubicBezTo>
                    <a:pt x="50" y="42"/>
                    <a:pt x="46" y="32"/>
                    <a:pt x="38" y="24"/>
                  </a:cubicBezTo>
                  <a:cubicBezTo>
                    <a:pt x="31" y="16"/>
                    <a:pt x="21" y="12"/>
                    <a:pt x="11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112" name="Freeform 1255"/>
            <p:cNvSpPr>
              <a:spLocks noEditPoints="1"/>
            </p:cNvSpPr>
            <p:nvPr/>
          </p:nvSpPr>
          <p:spPr bwMode="auto">
            <a:xfrm>
              <a:off x="10133013" y="3692525"/>
              <a:ext cx="196850" cy="203200"/>
            </a:xfrm>
            <a:custGeom>
              <a:avLst/>
              <a:gdLst>
                <a:gd name="T0" fmla="*/ 5 w 61"/>
                <a:gd name="T1" fmla="*/ 63 h 63"/>
                <a:gd name="T2" fmla="*/ 0 w 61"/>
                <a:gd name="T3" fmla="*/ 58 h 63"/>
                <a:gd name="T4" fmla="*/ 16 w 61"/>
                <a:gd name="T5" fmla="*/ 17 h 63"/>
                <a:gd name="T6" fmla="*/ 56 w 61"/>
                <a:gd name="T7" fmla="*/ 0 h 63"/>
                <a:gd name="T8" fmla="*/ 61 w 61"/>
                <a:gd name="T9" fmla="*/ 5 h 63"/>
                <a:gd name="T10" fmla="*/ 45 w 61"/>
                <a:gd name="T11" fmla="*/ 45 h 63"/>
                <a:gd name="T12" fmla="*/ 5 w 61"/>
                <a:gd name="T13" fmla="*/ 63 h 63"/>
                <a:gd name="T14" fmla="*/ 5 w 61"/>
                <a:gd name="T15" fmla="*/ 63 h 63"/>
                <a:gd name="T16" fmla="*/ 51 w 61"/>
                <a:gd name="T17" fmla="*/ 10 h 63"/>
                <a:gd name="T18" fmla="*/ 23 w 61"/>
                <a:gd name="T19" fmla="*/ 24 h 63"/>
                <a:gd name="T20" fmla="*/ 10 w 61"/>
                <a:gd name="T21" fmla="*/ 52 h 63"/>
                <a:gd name="T22" fmla="*/ 38 w 61"/>
                <a:gd name="T23" fmla="*/ 38 h 63"/>
                <a:gd name="T24" fmla="*/ 51 w 61"/>
                <a:gd name="T25" fmla="*/ 1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1" h="63">
                  <a:moveTo>
                    <a:pt x="5" y="63"/>
                  </a:moveTo>
                  <a:cubicBezTo>
                    <a:pt x="3" y="63"/>
                    <a:pt x="0" y="60"/>
                    <a:pt x="0" y="58"/>
                  </a:cubicBezTo>
                  <a:cubicBezTo>
                    <a:pt x="0" y="43"/>
                    <a:pt x="6" y="28"/>
                    <a:pt x="16" y="17"/>
                  </a:cubicBezTo>
                  <a:cubicBezTo>
                    <a:pt x="26" y="6"/>
                    <a:pt x="41" y="0"/>
                    <a:pt x="56" y="0"/>
                  </a:cubicBezTo>
                  <a:cubicBezTo>
                    <a:pt x="59" y="0"/>
                    <a:pt x="61" y="2"/>
                    <a:pt x="61" y="5"/>
                  </a:cubicBezTo>
                  <a:cubicBezTo>
                    <a:pt x="61" y="20"/>
                    <a:pt x="56" y="34"/>
                    <a:pt x="45" y="45"/>
                  </a:cubicBezTo>
                  <a:cubicBezTo>
                    <a:pt x="35" y="56"/>
                    <a:pt x="21" y="62"/>
                    <a:pt x="5" y="63"/>
                  </a:cubicBezTo>
                  <a:cubicBezTo>
                    <a:pt x="5" y="63"/>
                    <a:pt x="5" y="63"/>
                    <a:pt x="5" y="63"/>
                  </a:cubicBezTo>
                  <a:close/>
                  <a:moveTo>
                    <a:pt x="51" y="10"/>
                  </a:moveTo>
                  <a:cubicBezTo>
                    <a:pt x="40" y="12"/>
                    <a:pt x="31" y="16"/>
                    <a:pt x="23" y="24"/>
                  </a:cubicBezTo>
                  <a:cubicBezTo>
                    <a:pt x="16" y="32"/>
                    <a:pt x="11" y="42"/>
                    <a:pt x="10" y="52"/>
                  </a:cubicBezTo>
                  <a:cubicBezTo>
                    <a:pt x="21" y="51"/>
                    <a:pt x="30" y="46"/>
                    <a:pt x="38" y="38"/>
                  </a:cubicBezTo>
                  <a:cubicBezTo>
                    <a:pt x="45" y="30"/>
                    <a:pt x="50" y="21"/>
                    <a:pt x="51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113" name="Freeform 1256"/>
            <p:cNvSpPr>
              <a:spLocks noEditPoints="1"/>
            </p:cNvSpPr>
            <p:nvPr/>
          </p:nvSpPr>
          <p:spPr bwMode="auto">
            <a:xfrm>
              <a:off x="9929813" y="3521075"/>
              <a:ext cx="200025" cy="203200"/>
            </a:xfrm>
            <a:custGeom>
              <a:avLst/>
              <a:gdLst>
                <a:gd name="T0" fmla="*/ 56 w 62"/>
                <a:gd name="T1" fmla="*/ 63 h 63"/>
                <a:gd name="T2" fmla="*/ 56 w 62"/>
                <a:gd name="T3" fmla="*/ 63 h 63"/>
                <a:gd name="T4" fmla="*/ 1 w 62"/>
                <a:gd name="T5" fmla="*/ 5 h 63"/>
                <a:gd name="T6" fmla="*/ 2 w 62"/>
                <a:gd name="T7" fmla="*/ 2 h 63"/>
                <a:gd name="T8" fmla="*/ 6 w 62"/>
                <a:gd name="T9" fmla="*/ 0 h 63"/>
                <a:gd name="T10" fmla="*/ 61 w 62"/>
                <a:gd name="T11" fmla="*/ 58 h 63"/>
                <a:gd name="T12" fmla="*/ 60 w 62"/>
                <a:gd name="T13" fmla="*/ 62 h 63"/>
                <a:gd name="T14" fmla="*/ 56 w 62"/>
                <a:gd name="T15" fmla="*/ 63 h 63"/>
                <a:gd name="T16" fmla="*/ 11 w 62"/>
                <a:gd name="T17" fmla="*/ 11 h 63"/>
                <a:gd name="T18" fmla="*/ 51 w 62"/>
                <a:gd name="T19" fmla="*/ 53 h 63"/>
                <a:gd name="T20" fmla="*/ 11 w 62"/>
                <a:gd name="T21" fmla="*/ 1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63">
                  <a:moveTo>
                    <a:pt x="56" y="63"/>
                  </a:moveTo>
                  <a:cubicBezTo>
                    <a:pt x="56" y="63"/>
                    <a:pt x="56" y="63"/>
                    <a:pt x="56" y="63"/>
                  </a:cubicBezTo>
                  <a:cubicBezTo>
                    <a:pt x="25" y="62"/>
                    <a:pt x="0" y="36"/>
                    <a:pt x="1" y="5"/>
                  </a:cubicBezTo>
                  <a:cubicBezTo>
                    <a:pt x="1" y="4"/>
                    <a:pt x="1" y="3"/>
                    <a:pt x="2" y="2"/>
                  </a:cubicBezTo>
                  <a:cubicBezTo>
                    <a:pt x="3" y="1"/>
                    <a:pt x="4" y="0"/>
                    <a:pt x="6" y="0"/>
                  </a:cubicBezTo>
                  <a:cubicBezTo>
                    <a:pt x="37" y="1"/>
                    <a:pt x="62" y="27"/>
                    <a:pt x="61" y="58"/>
                  </a:cubicBezTo>
                  <a:cubicBezTo>
                    <a:pt x="61" y="60"/>
                    <a:pt x="61" y="61"/>
                    <a:pt x="60" y="62"/>
                  </a:cubicBezTo>
                  <a:cubicBezTo>
                    <a:pt x="59" y="63"/>
                    <a:pt x="57" y="63"/>
                    <a:pt x="56" y="63"/>
                  </a:cubicBezTo>
                  <a:close/>
                  <a:moveTo>
                    <a:pt x="11" y="11"/>
                  </a:moveTo>
                  <a:cubicBezTo>
                    <a:pt x="13" y="32"/>
                    <a:pt x="30" y="50"/>
                    <a:pt x="51" y="53"/>
                  </a:cubicBezTo>
                  <a:cubicBezTo>
                    <a:pt x="49" y="31"/>
                    <a:pt x="32" y="14"/>
                    <a:pt x="11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114" name="Freeform 1257"/>
            <p:cNvSpPr>
              <a:spLocks noEditPoints="1"/>
            </p:cNvSpPr>
            <p:nvPr/>
          </p:nvSpPr>
          <p:spPr bwMode="auto">
            <a:xfrm>
              <a:off x="10133013" y="3521075"/>
              <a:ext cx="196850" cy="203200"/>
            </a:xfrm>
            <a:custGeom>
              <a:avLst/>
              <a:gdLst>
                <a:gd name="T0" fmla="*/ 5 w 61"/>
                <a:gd name="T1" fmla="*/ 63 h 63"/>
                <a:gd name="T2" fmla="*/ 2 w 61"/>
                <a:gd name="T3" fmla="*/ 62 h 63"/>
                <a:gd name="T4" fmla="*/ 0 w 61"/>
                <a:gd name="T5" fmla="*/ 58 h 63"/>
                <a:gd name="T6" fmla="*/ 56 w 61"/>
                <a:gd name="T7" fmla="*/ 0 h 63"/>
                <a:gd name="T8" fmla="*/ 59 w 61"/>
                <a:gd name="T9" fmla="*/ 2 h 63"/>
                <a:gd name="T10" fmla="*/ 61 w 61"/>
                <a:gd name="T11" fmla="*/ 5 h 63"/>
                <a:gd name="T12" fmla="*/ 5 w 61"/>
                <a:gd name="T13" fmla="*/ 63 h 63"/>
                <a:gd name="T14" fmla="*/ 5 w 61"/>
                <a:gd name="T15" fmla="*/ 63 h 63"/>
                <a:gd name="T16" fmla="*/ 51 w 61"/>
                <a:gd name="T17" fmla="*/ 11 h 63"/>
                <a:gd name="T18" fmla="*/ 10 w 61"/>
                <a:gd name="T19" fmla="*/ 53 h 63"/>
                <a:gd name="T20" fmla="*/ 51 w 61"/>
                <a:gd name="T21" fmla="*/ 1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1" h="63">
                  <a:moveTo>
                    <a:pt x="5" y="63"/>
                  </a:moveTo>
                  <a:cubicBezTo>
                    <a:pt x="4" y="63"/>
                    <a:pt x="3" y="63"/>
                    <a:pt x="2" y="62"/>
                  </a:cubicBezTo>
                  <a:cubicBezTo>
                    <a:pt x="1" y="61"/>
                    <a:pt x="0" y="60"/>
                    <a:pt x="0" y="58"/>
                  </a:cubicBezTo>
                  <a:cubicBezTo>
                    <a:pt x="0" y="27"/>
                    <a:pt x="24" y="1"/>
                    <a:pt x="56" y="0"/>
                  </a:cubicBezTo>
                  <a:cubicBezTo>
                    <a:pt x="57" y="0"/>
                    <a:pt x="58" y="1"/>
                    <a:pt x="59" y="2"/>
                  </a:cubicBezTo>
                  <a:cubicBezTo>
                    <a:pt x="60" y="3"/>
                    <a:pt x="61" y="4"/>
                    <a:pt x="61" y="5"/>
                  </a:cubicBezTo>
                  <a:cubicBezTo>
                    <a:pt x="61" y="36"/>
                    <a:pt x="37" y="62"/>
                    <a:pt x="5" y="63"/>
                  </a:cubicBezTo>
                  <a:cubicBezTo>
                    <a:pt x="5" y="63"/>
                    <a:pt x="5" y="63"/>
                    <a:pt x="5" y="63"/>
                  </a:cubicBezTo>
                  <a:close/>
                  <a:moveTo>
                    <a:pt x="51" y="11"/>
                  </a:moveTo>
                  <a:cubicBezTo>
                    <a:pt x="29" y="14"/>
                    <a:pt x="12" y="31"/>
                    <a:pt x="10" y="53"/>
                  </a:cubicBezTo>
                  <a:cubicBezTo>
                    <a:pt x="32" y="50"/>
                    <a:pt x="49" y="32"/>
                    <a:pt x="51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115" name="Freeform 1258"/>
            <p:cNvSpPr>
              <a:spLocks noEditPoints="1"/>
            </p:cNvSpPr>
            <p:nvPr/>
          </p:nvSpPr>
          <p:spPr bwMode="auto">
            <a:xfrm>
              <a:off x="10048875" y="3343275"/>
              <a:ext cx="168275" cy="268288"/>
            </a:xfrm>
            <a:custGeom>
              <a:avLst/>
              <a:gdLst>
                <a:gd name="T0" fmla="*/ 27 w 52"/>
                <a:gd name="T1" fmla="*/ 83 h 83"/>
                <a:gd name="T2" fmla="*/ 24 w 52"/>
                <a:gd name="T3" fmla="*/ 82 h 83"/>
                <a:gd name="T4" fmla="*/ 22 w 52"/>
                <a:gd name="T5" fmla="*/ 2 h 83"/>
                <a:gd name="T6" fmla="*/ 25 w 52"/>
                <a:gd name="T7" fmla="*/ 0 h 83"/>
                <a:gd name="T8" fmla="*/ 29 w 52"/>
                <a:gd name="T9" fmla="*/ 2 h 83"/>
                <a:gd name="T10" fmla="*/ 31 w 52"/>
                <a:gd name="T11" fmla="*/ 82 h 83"/>
                <a:gd name="T12" fmla="*/ 27 w 52"/>
                <a:gd name="T13" fmla="*/ 83 h 83"/>
                <a:gd name="T14" fmla="*/ 27 w 52"/>
                <a:gd name="T15" fmla="*/ 83 h 83"/>
                <a:gd name="T16" fmla="*/ 26 w 52"/>
                <a:gd name="T17" fmla="*/ 13 h 83"/>
                <a:gd name="T18" fmla="*/ 27 w 52"/>
                <a:gd name="T19" fmla="*/ 71 h 83"/>
                <a:gd name="T20" fmla="*/ 26 w 52"/>
                <a:gd name="T21" fmla="*/ 1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2" h="83">
                  <a:moveTo>
                    <a:pt x="27" y="83"/>
                  </a:moveTo>
                  <a:cubicBezTo>
                    <a:pt x="26" y="83"/>
                    <a:pt x="25" y="83"/>
                    <a:pt x="24" y="82"/>
                  </a:cubicBezTo>
                  <a:cubicBezTo>
                    <a:pt x="1" y="60"/>
                    <a:pt x="0" y="24"/>
                    <a:pt x="22" y="2"/>
                  </a:cubicBezTo>
                  <a:cubicBezTo>
                    <a:pt x="23" y="1"/>
                    <a:pt x="24" y="0"/>
                    <a:pt x="25" y="0"/>
                  </a:cubicBezTo>
                  <a:cubicBezTo>
                    <a:pt x="27" y="0"/>
                    <a:pt x="28" y="1"/>
                    <a:pt x="29" y="2"/>
                  </a:cubicBezTo>
                  <a:cubicBezTo>
                    <a:pt x="51" y="23"/>
                    <a:pt x="52" y="59"/>
                    <a:pt x="31" y="82"/>
                  </a:cubicBezTo>
                  <a:cubicBezTo>
                    <a:pt x="30" y="83"/>
                    <a:pt x="29" y="83"/>
                    <a:pt x="27" y="83"/>
                  </a:cubicBezTo>
                  <a:cubicBezTo>
                    <a:pt x="27" y="83"/>
                    <a:pt x="27" y="83"/>
                    <a:pt x="27" y="83"/>
                  </a:cubicBezTo>
                  <a:close/>
                  <a:moveTo>
                    <a:pt x="26" y="13"/>
                  </a:moveTo>
                  <a:cubicBezTo>
                    <a:pt x="12" y="30"/>
                    <a:pt x="13" y="54"/>
                    <a:pt x="27" y="71"/>
                  </a:cubicBezTo>
                  <a:cubicBezTo>
                    <a:pt x="40" y="54"/>
                    <a:pt x="39" y="29"/>
                    <a:pt x="26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116" name="Group 842"/>
          <p:cNvGrpSpPr/>
          <p:nvPr/>
        </p:nvGrpSpPr>
        <p:grpSpPr>
          <a:xfrm>
            <a:off x="621103" y="4802719"/>
            <a:ext cx="443204" cy="545167"/>
            <a:chOff x="5417914" y="3926481"/>
            <a:chExt cx="517525" cy="636588"/>
          </a:xfrm>
          <a:solidFill>
            <a:schemeClr val="tx1"/>
          </a:solidFill>
        </p:grpSpPr>
        <p:sp>
          <p:nvSpPr>
            <p:cNvPr id="117" name="Freeform 5"/>
            <p:cNvSpPr>
              <a:spLocks noEditPoints="1"/>
            </p:cNvSpPr>
            <p:nvPr/>
          </p:nvSpPr>
          <p:spPr bwMode="auto">
            <a:xfrm>
              <a:off x="5417914" y="4148731"/>
              <a:ext cx="422275" cy="414338"/>
            </a:xfrm>
            <a:custGeom>
              <a:avLst/>
              <a:gdLst>
                <a:gd name="T0" fmla="*/ 239 w 617"/>
                <a:gd name="T1" fmla="*/ 597 h 605"/>
                <a:gd name="T2" fmla="*/ 223 w 617"/>
                <a:gd name="T3" fmla="*/ 556 h 605"/>
                <a:gd name="T4" fmla="*/ 133 w 617"/>
                <a:gd name="T5" fmla="*/ 500 h 605"/>
                <a:gd name="T6" fmla="*/ 127 w 617"/>
                <a:gd name="T7" fmla="*/ 503 h 605"/>
                <a:gd name="T8" fmla="*/ 48 w 617"/>
                <a:gd name="T9" fmla="*/ 463 h 605"/>
                <a:gd name="T10" fmla="*/ 78 w 617"/>
                <a:gd name="T11" fmla="*/ 355 h 605"/>
                <a:gd name="T12" fmla="*/ 1 w 617"/>
                <a:gd name="T13" fmla="*/ 292 h 605"/>
                <a:gd name="T14" fmla="*/ 46 w 617"/>
                <a:gd name="T15" fmla="*/ 219 h 605"/>
                <a:gd name="T16" fmla="*/ 108 w 617"/>
                <a:gd name="T17" fmla="*/ 131 h 605"/>
                <a:gd name="T18" fmla="*/ 99 w 617"/>
                <a:gd name="T19" fmla="*/ 82 h 605"/>
                <a:gd name="T20" fmla="*/ 186 w 617"/>
                <a:gd name="T21" fmla="*/ 64 h 605"/>
                <a:gd name="T22" fmla="*/ 299 w 617"/>
                <a:gd name="T23" fmla="*/ 14 h 605"/>
                <a:gd name="T24" fmla="*/ 394 w 617"/>
                <a:gd name="T25" fmla="*/ 26 h 605"/>
                <a:gd name="T26" fmla="*/ 400 w 617"/>
                <a:gd name="T27" fmla="*/ 72 h 605"/>
                <a:gd name="T28" fmla="*/ 485 w 617"/>
                <a:gd name="T29" fmla="*/ 105 h 605"/>
                <a:gd name="T30" fmla="*/ 533 w 617"/>
                <a:gd name="T31" fmla="*/ 97 h 605"/>
                <a:gd name="T32" fmla="*/ 547 w 617"/>
                <a:gd name="T33" fmla="*/ 189 h 605"/>
                <a:gd name="T34" fmla="*/ 603 w 617"/>
                <a:gd name="T35" fmla="*/ 294 h 605"/>
                <a:gd name="T36" fmla="*/ 590 w 617"/>
                <a:gd name="T37" fmla="*/ 387 h 605"/>
                <a:gd name="T38" fmla="*/ 508 w 617"/>
                <a:gd name="T39" fmla="*/ 428 h 605"/>
                <a:gd name="T40" fmla="*/ 517 w 617"/>
                <a:gd name="T41" fmla="*/ 524 h 605"/>
                <a:gd name="T42" fmla="*/ 428 w 617"/>
                <a:gd name="T43" fmla="*/ 540 h 605"/>
                <a:gd name="T44" fmla="*/ 317 w 617"/>
                <a:gd name="T45" fmla="*/ 593 h 605"/>
                <a:gd name="T46" fmla="*/ 287 w 617"/>
                <a:gd name="T47" fmla="*/ 567 h 605"/>
                <a:gd name="T48" fmla="*/ 452 w 617"/>
                <a:gd name="T49" fmla="*/ 513 h 605"/>
                <a:gd name="T50" fmla="*/ 476 w 617"/>
                <a:gd name="T51" fmla="*/ 492 h 605"/>
                <a:gd name="T52" fmla="*/ 529 w 617"/>
                <a:gd name="T53" fmla="*/ 359 h 605"/>
                <a:gd name="T54" fmla="*/ 577 w 617"/>
                <a:gd name="T55" fmla="*/ 325 h 605"/>
                <a:gd name="T56" fmla="*/ 519 w 617"/>
                <a:gd name="T57" fmla="*/ 166 h 605"/>
                <a:gd name="T58" fmla="*/ 514 w 617"/>
                <a:gd name="T59" fmla="*/ 132 h 605"/>
                <a:gd name="T60" fmla="*/ 497 w 617"/>
                <a:gd name="T61" fmla="*/ 140 h 605"/>
                <a:gd name="T62" fmla="*/ 358 w 617"/>
                <a:gd name="T63" fmla="*/ 54 h 605"/>
                <a:gd name="T64" fmla="*/ 330 w 617"/>
                <a:gd name="T65" fmla="*/ 40 h 605"/>
                <a:gd name="T66" fmla="*/ 270 w 617"/>
                <a:gd name="T67" fmla="*/ 110 h 605"/>
                <a:gd name="T68" fmla="*/ 134 w 617"/>
                <a:gd name="T69" fmla="*/ 102 h 605"/>
                <a:gd name="T70" fmla="*/ 142 w 617"/>
                <a:gd name="T71" fmla="*/ 117 h 605"/>
                <a:gd name="T72" fmla="*/ 47 w 617"/>
                <a:gd name="T73" fmla="*/ 255 h 605"/>
                <a:gd name="T74" fmla="*/ 49 w 617"/>
                <a:gd name="T75" fmla="*/ 285 h 605"/>
                <a:gd name="T76" fmla="*/ 86 w 617"/>
                <a:gd name="T77" fmla="*/ 453 h 605"/>
                <a:gd name="T78" fmla="*/ 117 w 617"/>
                <a:gd name="T79" fmla="*/ 467 h 605"/>
                <a:gd name="T80" fmla="*/ 251 w 617"/>
                <a:gd name="T81" fmla="*/ 520 h 605"/>
                <a:gd name="T82" fmla="*/ 259 w 617"/>
                <a:gd name="T83" fmla="*/ 563 h 605"/>
                <a:gd name="T84" fmla="*/ 215 w 617"/>
                <a:gd name="T85" fmla="*/ 372 h 605"/>
                <a:gd name="T86" fmla="*/ 324 w 617"/>
                <a:gd name="T87" fmla="*/ 189 h 605"/>
                <a:gd name="T88" fmla="*/ 308 w 617"/>
                <a:gd name="T89" fmla="*/ 418 h 605"/>
                <a:gd name="T90" fmla="*/ 244 w 617"/>
                <a:gd name="T91" fmla="*/ 350 h 605"/>
                <a:gd name="T92" fmla="*/ 388 w 617"/>
                <a:gd name="T93" fmla="*/ 314 h 605"/>
                <a:gd name="T94" fmla="*/ 308 w 617"/>
                <a:gd name="T95" fmla="*/ 225 h 6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617" h="605">
                  <a:moveTo>
                    <a:pt x="300" y="605"/>
                  </a:moveTo>
                  <a:cubicBezTo>
                    <a:pt x="299" y="605"/>
                    <a:pt x="298" y="605"/>
                    <a:pt x="297" y="605"/>
                  </a:cubicBezTo>
                  <a:cubicBezTo>
                    <a:pt x="239" y="597"/>
                    <a:pt x="239" y="597"/>
                    <a:pt x="239" y="597"/>
                  </a:cubicBezTo>
                  <a:cubicBezTo>
                    <a:pt x="230" y="596"/>
                    <a:pt x="223" y="589"/>
                    <a:pt x="223" y="579"/>
                  </a:cubicBezTo>
                  <a:cubicBezTo>
                    <a:pt x="223" y="558"/>
                    <a:pt x="223" y="558"/>
                    <a:pt x="223" y="558"/>
                  </a:cubicBezTo>
                  <a:cubicBezTo>
                    <a:pt x="223" y="558"/>
                    <a:pt x="223" y="557"/>
                    <a:pt x="223" y="556"/>
                  </a:cubicBezTo>
                  <a:cubicBezTo>
                    <a:pt x="223" y="549"/>
                    <a:pt x="221" y="542"/>
                    <a:pt x="218" y="534"/>
                  </a:cubicBezTo>
                  <a:cubicBezTo>
                    <a:pt x="208" y="511"/>
                    <a:pt x="184" y="495"/>
                    <a:pt x="158" y="495"/>
                  </a:cubicBezTo>
                  <a:cubicBezTo>
                    <a:pt x="150" y="495"/>
                    <a:pt x="141" y="497"/>
                    <a:pt x="133" y="500"/>
                  </a:cubicBezTo>
                  <a:cubicBezTo>
                    <a:pt x="131" y="501"/>
                    <a:pt x="130" y="502"/>
                    <a:pt x="129" y="502"/>
                  </a:cubicBezTo>
                  <a:cubicBezTo>
                    <a:pt x="128" y="503"/>
                    <a:pt x="128" y="503"/>
                    <a:pt x="128" y="503"/>
                  </a:cubicBezTo>
                  <a:cubicBezTo>
                    <a:pt x="128" y="503"/>
                    <a:pt x="127" y="503"/>
                    <a:pt x="127" y="503"/>
                  </a:cubicBezTo>
                  <a:cubicBezTo>
                    <a:pt x="106" y="514"/>
                    <a:pt x="106" y="514"/>
                    <a:pt x="106" y="514"/>
                  </a:cubicBezTo>
                  <a:cubicBezTo>
                    <a:pt x="99" y="518"/>
                    <a:pt x="89" y="516"/>
                    <a:pt x="83" y="509"/>
                  </a:cubicBezTo>
                  <a:cubicBezTo>
                    <a:pt x="48" y="463"/>
                    <a:pt x="48" y="463"/>
                    <a:pt x="48" y="463"/>
                  </a:cubicBezTo>
                  <a:cubicBezTo>
                    <a:pt x="42" y="456"/>
                    <a:pt x="43" y="445"/>
                    <a:pt x="49" y="439"/>
                  </a:cubicBezTo>
                  <a:cubicBezTo>
                    <a:pt x="67" y="421"/>
                    <a:pt x="67" y="421"/>
                    <a:pt x="67" y="421"/>
                  </a:cubicBezTo>
                  <a:cubicBezTo>
                    <a:pt x="83" y="404"/>
                    <a:pt x="87" y="378"/>
                    <a:pt x="78" y="355"/>
                  </a:cubicBezTo>
                  <a:cubicBezTo>
                    <a:pt x="71" y="338"/>
                    <a:pt x="56" y="325"/>
                    <a:pt x="38" y="320"/>
                  </a:cubicBezTo>
                  <a:cubicBezTo>
                    <a:pt x="14" y="312"/>
                    <a:pt x="14" y="312"/>
                    <a:pt x="14" y="312"/>
                  </a:cubicBezTo>
                  <a:cubicBezTo>
                    <a:pt x="5" y="310"/>
                    <a:pt x="0" y="301"/>
                    <a:pt x="1" y="292"/>
                  </a:cubicBezTo>
                  <a:cubicBezTo>
                    <a:pt x="9" y="235"/>
                    <a:pt x="9" y="235"/>
                    <a:pt x="9" y="235"/>
                  </a:cubicBezTo>
                  <a:cubicBezTo>
                    <a:pt x="10" y="226"/>
                    <a:pt x="18" y="219"/>
                    <a:pt x="27" y="219"/>
                  </a:cubicBezTo>
                  <a:cubicBezTo>
                    <a:pt x="46" y="219"/>
                    <a:pt x="46" y="219"/>
                    <a:pt x="46" y="219"/>
                  </a:cubicBezTo>
                  <a:cubicBezTo>
                    <a:pt x="57" y="218"/>
                    <a:pt x="65" y="217"/>
                    <a:pt x="73" y="214"/>
                  </a:cubicBezTo>
                  <a:cubicBezTo>
                    <a:pt x="90" y="207"/>
                    <a:pt x="102" y="195"/>
                    <a:pt x="108" y="179"/>
                  </a:cubicBezTo>
                  <a:cubicBezTo>
                    <a:pt x="115" y="164"/>
                    <a:pt x="115" y="147"/>
                    <a:pt x="108" y="131"/>
                  </a:cubicBezTo>
                  <a:cubicBezTo>
                    <a:pt x="107" y="130"/>
                    <a:pt x="107" y="130"/>
                    <a:pt x="107" y="130"/>
                  </a:cubicBezTo>
                  <a:cubicBezTo>
                    <a:pt x="94" y="105"/>
                    <a:pt x="94" y="105"/>
                    <a:pt x="94" y="105"/>
                  </a:cubicBezTo>
                  <a:cubicBezTo>
                    <a:pt x="90" y="97"/>
                    <a:pt x="92" y="87"/>
                    <a:pt x="99" y="82"/>
                  </a:cubicBezTo>
                  <a:cubicBezTo>
                    <a:pt x="146" y="47"/>
                    <a:pt x="146" y="47"/>
                    <a:pt x="146" y="47"/>
                  </a:cubicBezTo>
                  <a:cubicBezTo>
                    <a:pt x="153" y="41"/>
                    <a:pt x="163" y="42"/>
                    <a:pt x="169" y="48"/>
                  </a:cubicBezTo>
                  <a:cubicBezTo>
                    <a:pt x="186" y="64"/>
                    <a:pt x="186" y="64"/>
                    <a:pt x="186" y="64"/>
                  </a:cubicBezTo>
                  <a:cubicBezTo>
                    <a:pt x="204" y="81"/>
                    <a:pt x="233" y="86"/>
                    <a:pt x="256" y="77"/>
                  </a:cubicBezTo>
                  <a:cubicBezTo>
                    <a:pt x="272" y="70"/>
                    <a:pt x="285" y="57"/>
                    <a:pt x="291" y="42"/>
                  </a:cubicBezTo>
                  <a:cubicBezTo>
                    <a:pt x="299" y="14"/>
                    <a:pt x="299" y="14"/>
                    <a:pt x="299" y="14"/>
                  </a:cubicBezTo>
                  <a:cubicBezTo>
                    <a:pt x="302" y="6"/>
                    <a:pt x="310" y="0"/>
                    <a:pt x="319" y="1"/>
                  </a:cubicBezTo>
                  <a:cubicBezTo>
                    <a:pt x="378" y="9"/>
                    <a:pt x="378" y="9"/>
                    <a:pt x="378" y="9"/>
                  </a:cubicBezTo>
                  <a:cubicBezTo>
                    <a:pt x="387" y="10"/>
                    <a:pt x="393" y="18"/>
                    <a:pt x="394" y="26"/>
                  </a:cubicBezTo>
                  <a:cubicBezTo>
                    <a:pt x="394" y="51"/>
                    <a:pt x="394" y="51"/>
                    <a:pt x="394" y="51"/>
                  </a:cubicBezTo>
                  <a:cubicBezTo>
                    <a:pt x="395" y="52"/>
                    <a:pt x="394" y="53"/>
                    <a:pt x="394" y="54"/>
                  </a:cubicBezTo>
                  <a:cubicBezTo>
                    <a:pt x="395" y="59"/>
                    <a:pt x="397" y="65"/>
                    <a:pt x="400" y="72"/>
                  </a:cubicBezTo>
                  <a:cubicBezTo>
                    <a:pt x="410" y="95"/>
                    <a:pt x="433" y="111"/>
                    <a:pt x="459" y="111"/>
                  </a:cubicBezTo>
                  <a:cubicBezTo>
                    <a:pt x="468" y="111"/>
                    <a:pt x="476" y="109"/>
                    <a:pt x="484" y="106"/>
                  </a:cubicBezTo>
                  <a:cubicBezTo>
                    <a:pt x="484" y="106"/>
                    <a:pt x="485" y="105"/>
                    <a:pt x="485" y="105"/>
                  </a:cubicBezTo>
                  <a:cubicBezTo>
                    <a:pt x="485" y="105"/>
                    <a:pt x="485" y="105"/>
                    <a:pt x="485" y="105"/>
                  </a:cubicBezTo>
                  <a:cubicBezTo>
                    <a:pt x="510" y="92"/>
                    <a:pt x="510" y="92"/>
                    <a:pt x="510" y="92"/>
                  </a:cubicBezTo>
                  <a:cubicBezTo>
                    <a:pt x="518" y="88"/>
                    <a:pt x="528" y="90"/>
                    <a:pt x="533" y="97"/>
                  </a:cubicBezTo>
                  <a:cubicBezTo>
                    <a:pt x="569" y="143"/>
                    <a:pt x="569" y="143"/>
                    <a:pt x="569" y="143"/>
                  </a:cubicBezTo>
                  <a:cubicBezTo>
                    <a:pt x="574" y="150"/>
                    <a:pt x="574" y="161"/>
                    <a:pt x="568" y="167"/>
                  </a:cubicBezTo>
                  <a:cubicBezTo>
                    <a:pt x="547" y="189"/>
                    <a:pt x="547" y="189"/>
                    <a:pt x="547" y="189"/>
                  </a:cubicBezTo>
                  <a:cubicBezTo>
                    <a:pt x="533" y="206"/>
                    <a:pt x="529" y="231"/>
                    <a:pt x="538" y="252"/>
                  </a:cubicBezTo>
                  <a:cubicBezTo>
                    <a:pt x="545" y="268"/>
                    <a:pt x="559" y="280"/>
                    <a:pt x="577" y="286"/>
                  </a:cubicBezTo>
                  <a:cubicBezTo>
                    <a:pt x="603" y="294"/>
                    <a:pt x="603" y="294"/>
                    <a:pt x="603" y="294"/>
                  </a:cubicBezTo>
                  <a:cubicBezTo>
                    <a:pt x="611" y="297"/>
                    <a:pt x="617" y="305"/>
                    <a:pt x="615" y="314"/>
                  </a:cubicBezTo>
                  <a:cubicBezTo>
                    <a:pt x="608" y="372"/>
                    <a:pt x="608" y="372"/>
                    <a:pt x="608" y="372"/>
                  </a:cubicBezTo>
                  <a:cubicBezTo>
                    <a:pt x="606" y="380"/>
                    <a:pt x="599" y="387"/>
                    <a:pt x="590" y="387"/>
                  </a:cubicBezTo>
                  <a:cubicBezTo>
                    <a:pt x="566" y="388"/>
                    <a:pt x="566" y="388"/>
                    <a:pt x="566" y="388"/>
                  </a:cubicBezTo>
                  <a:cubicBezTo>
                    <a:pt x="558" y="388"/>
                    <a:pt x="550" y="390"/>
                    <a:pt x="543" y="393"/>
                  </a:cubicBezTo>
                  <a:cubicBezTo>
                    <a:pt x="527" y="400"/>
                    <a:pt x="515" y="412"/>
                    <a:pt x="508" y="428"/>
                  </a:cubicBezTo>
                  <a:cubicBezTo>
                    <a:pt x="502" y="443"/>
                    <a:pt x="502" y="460"/>
                    <a:pt x="509" y="475"/>
                  </a:cubicBezTo>
                  <a:cubicBezTo>
                    <a:pt x="523" y="501"/>
                    <a:pt x="523" y="501"/>
                    <a:pt x="523" y="501"/>
                  </a:cubicBezTo>
                  <a:cubicBezTo>
                    <a:pt x="527" y="509"/>
                    <a:pt x="525" y="519"/>
                    <a:pt x="517" y="524"/>
                  </a:cubicBezTo>
                  <a:cubicBezTo>
                    <a:pt x="471" y="560"/>
                    <a:pt x="471" y="560"/>
                    <a:pt x="471" y="560"/>
                  </a:cubicBezTo>
                  <a:cubicBezTo>
                    <a:pt x="463" y="565"/>
                    <a:pt x="454" y="564"/>
                    <a:pt x="447" y="558"/>
                  </a:cubicBezTo>
                  <a:cubicBezTo>
                    <a:pt x="428" y="540"/>
                    <a:pt x="428" y="540"/>
                    <a:pt x="428" y="540"/>
                  </a:cubicBezTo>
                  <a:cubicBezTo>
                    <a:pt x="411" y="526"/>
                    <a:pt x="384" y="521"/>
                    <a:pt x="361" y="530"/>
                  </a:cubicBezTo>
                  <a:cubicBezTo>
                    <a:pt x="343" y="537"/>
                    <a:pt x="330" y="552"/>
                    <a:pt x="324" y="570"/>
                  </a:cubicBezTo>
                  <a:cubicBezTo>
                    <a:pt x="317" y="593"/>
                    <a:pt x="317" y="593"/>
                    <a:pt x="317" y="593"/>
                  </a:cubicBezTo>
                  <a:cubicBezTo>
                    <a:pt x="315" y="600"/>
                    <a:pt x="307" y="605"/>
                    <a:pt x="300" y="605"/>
                  </a:cubicBezTo>
                  <a:close/>
                  <a:moveTo>
                    <a:pt x="259" y="563"/>
                  </a:moveTo>
                  <a:cubicBezTo>
                    <a:pt x="287" y="567"/>
                    <a:pt x="287" y="567"/>
                    <a:pt x="287" y="567"/>
                  </a:cubicBezTo>
                  <a:cubicBezTo>
                    <a:pt x="290" y="559"/>
                    <a:pt x="290" y="559"/>
                    <a:pt x="290" y="559"/>
                  </a:cubicBezTo>
                  <a:cubicBezTo>
                    <a:pt x="298" y="531"/>
                    <a:pt x="319" y="508"/>
                    <a:pt x="347" y="496"/>
                  </a:cubicBezTo>
                  <a:cubicBezTo>
                    <a:pt x="382" y="482"/>
                    <a:pt x="423" y="489"/>
                    <a:pt x="452" y="513"/>
                  </a:cubicBezTo>
                  <a:cubicBezTo>
                    <a:pt x="461" y="521"/>
                    <a:pt x="461" y="521"/>
                    <a:pt x="461" y="521"/>
                  </a:cubicBezTo>
                  <a:cubicBezTo>
                    <a:pt x="483" y="505"/>
                    <a:pt x="483" y="505"/>
                    <a:pt x="483" y="505"/>
                  </a:cubicBezTo>
                  <a:cubicBezTo>
                    <a:pt x="476" y="492"/>
                    <a:pt x="476" y="492"/>
                    <a:pt x="476" y="492"/>
                  </a:cubicBezTo>
                  <a:cubicBezTo>
                    <a:pt x="476" y="491"/>
                    <a:pt x="475" y="490"/>
                    <a:pt x="475" y="490"/>
                  </a:cubicBezTo>
                  <a:cubicBezTo>
                    <a:pt x="465" y="465"/>
                    <a:pt x="465" y="438"/>
                    <a:pt x="475" y="414"/>
                  </a:cubicBezTo>
                  <a:cubicBezTo>
                    <a:pt x="485" y="389"/>
                    <a:pt x="504" y="370"/>
                    <a:pt x="529" y="359"/>
                  </a:cubicBezTo>
                  <a:cubicBezTo>
                    <a:pt x="540" y="355"/>
                    <a:pt x="552" y="352"/>
                    <a:pt x="564" y="352"/>
                  </a:cubicBezTo>
                  <a:cubicBezTo>
                    <a:pt x="573" y="351"/>
                    <a:pt x="573" y="351"/>
                    <a:pt x="573" y="351"/>
                  </a:cubicBezTo>
                  <a:cubicBezTo>
                    <a:pt x="577" y="325"/>
                    <a:pt x="577" y="325"/>
                    <a:pt x="577" y="325"/>
                  </a:cubicBezTo>
                  <a:cubicBezTo>
                    <a:pt x="566" y="321"/>
                    <a:pt x="566" y="321"/>
                    <a:pt x="566" y="321"/>
                  </a:cubicBezTo>
                  <a:cubicBezTo>
                    <a:pt x="537" y="312"/>
                    <a:pt x="516" y="292"/>
                    <a:pt x="505" y="266"/>
                  </a:cubicBezTo>
                  <a:cubicBezTo>
                    <a:pt x="491" y="232"/>
                    <a:pt x="496" y="194"/>
                    <a:pt x="519" y="166"/>
                  </a:cubicBezTo>
                  <a:cubicBezTo>
                    <a:pt x="519" y="165"/>
                    <a:pt x="519" y="165"/>
                    <a:pt x="520" y="165"/>
                  </a:cubicBezTo>
                  <a:cubicBezTo>
                    <a:pt x="530" y="153"/>
                    <a:pt x="530" y="153"/>
                    <a:pt x="530" y="153"/>
                  </a:cubicBezTo>
                  <a:cubicBezTo>
                    <a:pt x="514" y="132"/>
                    <a:pt x="514" y="132"/>
                    <a:pt x="514" y="132"/>
                  </a:cubicBezTo>
                  <a:cubicBezTo>
                    <a:pt x="501" y="138"/>
                    <a:pt x="501" y="138"/>
                    <a:pt x="501" y="138"/>
                  </a:cubicBezTo>
                  <a:cubicBezTo>
                    <a:pt x="500" y="139"/>
                    <a:pt x="499" y="139"/>
                    <a:pt x="498" y="139"/>
                  </a:cubicBezTo>
                  <a:cubicBezTo>
                    <a:pt x="497" y="140"/>
                    <a:pt x="497" y="140"/>
                    <a:pt x="497" y="140"/>
                  </a:cubicBezTo>
                  <a:cubicBezTo>
                    <a:pt x="485" y="145"/>
                    <a:pt x="472" y="147"/>
                    <a:pt x="459" y="147"/>
                  </a:cubicBezTo>
                  <a:cubicBezTo>
                    <a:pt x="418" y="147"/>
                    <a:pt x="382" y="123"/>
                    <a:pt x="366" y="86"/>
                  </a:cubicBezTo>
                  <a:cubicBezTo>
                    <a:pt x="361" y="75"/>
                    <a:pt x="358" y="64"/>
                    <a:pt x="358" y="54"/>
                  </a:cubicBezTo>
                  <a:cubicBezTo>
                    <a:pt x="358" y="53"/>
                    <a:pt x="358" y="52"/>
                    <a:pt x="358" y="51"/>
                  </a:cubicBezTo>
                  <a:cubicBezTo>
                    <a:pt x="358" y="43"/>
                    <a:pt x="358" y="43"/>
                    <a:pt x="358" y="43"/>
                  </a:cubicBezTo>
                  <a:cubicBezTo>
                    <a:pt x="330" y="40"/>
                    <a:pt x="330" y="40"/>
                    <a:pt x="330" y="40"/>
                  </a:cubicBezTo>
                  <a:cubicBezTo>
                    <a:pt x="326" y="53"/>
                    <a:pt x="326" y="53"/>
                    <a:pt x="326" y="53"/>
                  </a:cubicBezTo>
                  <a:cubicBezTo>
                    <a:pt x="325" y="54"/>
                    <a:pt x="325" y="54"/>
                    <a:pt x="325" y="54"/>
                  </a:cubicBezTo>
                  <a:cubicBezTo>
                    <a:pt x="315" y="80"/>
                    <a:pt x="295" y="100"/>
                    <a:pt x="270" y="110"/>
                  </a:cubicBezTo>
                  <a:cubicBezTo>
                    <a:pt x="233" y="125"/>
                    <a:pt x="190" y="117"/>
                    <a:pt x="161" y="90"/>
                  </a:cubicBezTo>
                  <a:cubicBezTo>
                    <a:pt x="156" y="85"/>
                    <a:pt x="156" y="85"/>
                    <a:pt x="156" y="85"/>
                  </a:cubicBezTo>
                  <a:cubicBezTo>
                    <a:pt x="134" y="102"/>
                    <a:pt x="134" y="102"/>
                    <a:pt x="134" y="102"/>
                  </a:cubicBezTo>
                  <a:cubicBezTo>
                    <a:pt x="140" y="113"/>
                    <a:pt x="140" y="113"/>
                    <a:pt x="140" y="113"/>
                  </a:cubicBezTo>
                  <a:cubicBezTo>
                    <a:pt x="140" y="114"/>
                    <a:pt x="141" y="114"/>
                    <a:pt x="141" y="115"/>
                  </a:cubicBezTo>
                  <a:cubicBezTo>
                    <a:pt x="142" y="117"/>
                    <a:pt x="142" y="117"/>
                    <a:pt x="142" y="117"/>
                  </a:cubicBezTo>
                  <a:cubicBezTo>
                    <a:pt x="152" y="142"/>
                    <a:pt x="152" y="169"/>
                    <a:pt x="142" y="193"/>
                  </a:cubicBezTo>
                  <a:cubicBezTo>
                    <a:pt x="132" y="218"/>
                    <a:pt x="112" y="237"/>
                    <a:pt x="87" y="248"/>
                  </a:cubicBezTo>
                  <a:cubicBezTo>
                    <a:pt x="73" y="254"/>
                    <a:pt x="60" y="255"/>
                    <a:pt x="47" y="255"/>
                  </a:cubicBezTo>
                  <a:cubicBezTo>
                    <a:pt x="43" y="255"/>
                    <a:pt x="43" y="255"/>
                    <a:pt x="43" y="255"/>
                  </a:cubicBezTo>
                  <a:cubicBezTo>
                    <a:pt x="39" y="282"/>
                    <a:pt x="39" y="282"/>
                    <a:pt x="39" y="282"/>
                  </a:cubicBezTo>
                  <a:cubicBezTo>
                    <a:pt x="49" y="285"/>
                    <a:pt x="49" y="285"/>
                    <a:pt x="49" y="285"/>
                  </a:cubicBezTo>
                  <a:cubicBezTo>
                    <a:pt x="77" y="294"/>
                    <a:pt x="100" y="314"/>
                    <a:pt x="111" y="341"/>
                  </a:cubicBezTo>
                  <a:cubicBezTo>
                    <a:pt x="126" y="376"/>
                    <a:pt x="119" y="418"/>
                    <a:pt x="93" y="446"/>
                  </a:cubicBezTo>
                  <a:cubicBezTo>
                    <a:pt x="86" y="453"/>
                    <a:pt x="86" y="453"/>
                    <a:pt x="86" y="453"/>
                  </a:cubicBezTo>
                  <a:cubicBezTo>
                    <a:pt x="103" y="475"/>
                    <a:pt x="103" y="475"/>
                    <a:pt x="103" y="475"/>
                  </a:cubicBezTo>
                  <a:cubicBezTo>
                    <a:pt x="110" y="471"/>
                    <a:pt x="110" y="471"/>
                    <a:pt x="110" y="471"/>
                  </a:cubicBezTo>
                  <a:cubicBezTo>
                    <a:pt x="115" y="468"/>
                    <a:pt x="115" y="468"/>
                    <a:pt x="117" y="467"/>
                  </a:cubicBezTo>
                  <a:cubicBezTo>
                    <a:pt x="119" y="467"/>
                    <a:pt x="119" y="467"/>
                    <a:pt x="119" y="467"/>
                  </a:cubicBezTo>
                  <a:cubicBezTo>
                    <a:pt x="132" y="462"/>
                    <a:pt x="145" y="459"/>
                    <a:pt x="158" y="459"/>
                  </a:cubicBezTo>
                  <a:cubicBezTo>
                    <a:pt x="199" y="459"/>
                    <a:pt x="236" y="483"/>
                    <a:pt x="251" y="520"/>
                  </a:cubicBezTo>
                  <a:cubicBezTo>
                    <a:pt x="256" y="532"/>
                    <a:pt x="259" y="544"/>
                    <a:pt x="259" y="557"/>
                  </a:cubicBezTo>
                  <a:cubicBezTo>
                    <a:pt x="259" y="557"/>
                    <a:pt x="259" y="558"/>
                    <a:pt x="259" y="559"/>
                  </a:cubicBezTo>
                  <a:lnTo>
                    <a:pt x="259" y="563"/>
                  </a:lnTo>
                  <a:close/>
                  <a:moveTo>
                    <a:pt x="308" y="418"/>
                  </a:moveTo>
                  <a:cubicBezTo>
                    <a:pt x="303" y="418"/>
                    <a:pt x="298" y="418"/>
                    <a:pt x="293" y="417"/>
                  </a:cubicBezTo>
                  <a:cubicBezTo>
                    <a:pt x="262" y="413"/>
                    <a:pt x="234" y="397"/>
                    <a:pt x="215" y="372"/>
                  </a:cubicBezTo>
                  <a:cubicBezTo>
                    <a:pt x="196" y="348"/>
                    <a:pt x="189" y="318"/>
                    <a:pt x="193" y="288"/>
                  </a:cubicBezTo>
                  <a:cubicBezTo>
                    <a:pt x="200" y="231"/>
                    <a:pt x="250" y="188"/>
                    <a:pt x="308" y="188"/>
                  </a:cubicBezTo>
                  <a:cubicBezTo>
                    <a:pt x="313" y="188"/>
                    <a:pt x="319" y="189"/>
                    <a:pt x="324" y="189"/>
                  </a:cubicBezTo>
                  <a:cubicBezTo>
                    <a:pt x="355" y="193"/>
                    <a:pt x="383" y="209"/>
                    <a:pt x="402" y="234"/>
                  </a:cubicBezTo>
                  <a:cubicBezTo>
                    <a:pt x="420" y="259"/>
                    <a:pt x="428" y="288"/>
                    <a:pt x="424" y="319"/>
                  </a:cubicBezTo>
                  <a:cubicBezTo>
                    <a:pt x="416" y="375"/>
                    <a:pt x="366" y="418"/>
                    <a:pt x="308" y="418"/>
                  </a:cubicBezTo>
                  <a:close/>
                  <a:moveTo>
                    <a:pt x="308" y="225"/>
                  </a:moveTo>
                  <a:cubicBezTo>
                    <a:pt x="268" y="225"/>
                    <a:pt x="234" y="254"/>
                    <a:pt x="229" y="293"/>
                  </a:cubicBezTo>
                  <a:cubicBezTo>
                    <a:pt x="226" y="313"/>
                    <a:pt x="231" y="334"/>
                    <a:pt x="244" y="350"/>
                  </a:cubicBezTo>
                  <a:cubicBezTo>
                    <a:pt x="257" y="367"/>
                    <a:pt x="276" y="378"/>
                    <a:pt x="298" y="381"/>
                  </a:cubicBezTo>
                  <a:cubicBezTo>
                    <a:pt x="301" y="381"/>
                    <a:pt x="305" y="382"/>
                    <a:pt x="308" y="382"/>
                  </a:cubicBezTo>
                  <a:cubicBezTo>
                    <a:pt x="348" y="382"/>
                    <a:pt x="382" y="352"/>
                    <a:pt x="388" y="314"/>
                  </a:cubicBezTo>
                  <a:cubicBezTo>
                    <a:pt x="391" y="293"/>
                    <a:pt x="385" y="273"/>
                    <a:pt x="373" y="256"/>
                  </a:cubicBezTo>
                  <a:cubicBezTo>
                    <a:pt x="360" y="239"/>
                    <a:pt x="341" y="228"/>
                    <a:pt x="319" y="225"/>
                  </a:cubicBezTo>
                  <a:cubicBezTo>
                    <a:pt x="315" y="225"/>
                    <a:pt x="312" y="225"/>
                    <a:pt x="308" y="2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118" name="Freeform 6"/>
            <p:cNvSpPr>
              <a:spLocks noEditPoints="1"/>
            </p:cNvSpPr>
            <p:nvPr/>
          </p:nvSpPr>
          <p:spPr bwMode="auto">
            <a:xfrm>
              <a:off x="5641751" y="3926481"/>
              <a:ext cx="293688" cy="288925"/>
            </a:xfrm>
            <a:custGeom>
              <a:avLst/>
              <a:gdLst>
                <a:gd name="T0" fmla="*/ 231 w 429"/>
                <a:gd name="T1" fmla="*/ 396 h 422"/>
                <a:gd name="T2" fmla="*/ 166 w 429"/>
                <a:gd name="T3" fmla="*/ 392 h 422"/>
                <a:gd name="T4" fmla="*/ 97 w 429"/>
                <a:gd name="T5" fmla="*/ 391 h 422"/>
                <a:gd name="T6" fmla="*/ 94 w 429"/>
                <a:gd name="T7" fmla="*/ 353 h 422"/>
                <a:gd name="T8" fmla="*/ 52 w 429"/>
                <a:gd name="T9" fmla="*/ 304 h 422"/>
                <a:gd name="T10" fmla="*/ 15 w 429"/>
                <a:gd name="T11" fmla="*/ 294 h 422"/>
                <a:gd name="T12" fmla="*/ 28 w 429"/>
                <a:gd name="T13" fmla="*/ 226 h 422"/>
                <a:gd name="T14" fmla="*/ 18 w 429"/>
                <a:gd name="T15" fmla="*/ 153 h 422"/>
                <a:gd name="T16" fmla="*/ 54 w 429"/>
                <a:gd name="T17" fmla="*/ 86 h 422"/>
                <a:gd name="T18" fmla="*/ 83 w 429"/>
                <a:gd name="T19" fmla="*/ 93 h 422"/>
                <a:gd name="T20" fmla="*/ 120 w 429"/>
                <a:gd name="T21" fmla="*/ 53 h 422"/>
                <a:gd name="T22" fmla="*/ 168 w 429"/>
                <a:gd name="T23" fmla="*/ 2 h 422"/>
                <a:gd name="T24" fmla="*/ 232 w 429"/>
                <a:gd name="T25" fmla="*/ 47 h 422"/>
                <a:gd name="T26" fmla="*/ 272 w 429"/>
                <a:gd name="T27" fmla="*/ 19 h 422"/>
                <a:gd name="T28" fmla="*/ 340 w 429"/>
                <a:gd name="T29" fmla="*/ 55 h 422"/>
                <a:gd name="T30" fmla="*/ 334 w 429"/>
                <a:gd name="T31" fmla="*/ 84 h 422"/>
                <a:gd name="T32" fmla="*/ 375 w 429"/>
                <a:gd name="T33" fmla="*/ 120 h 422"/>
                <a:gd name="T34" fmla="*/ 426 w 429"/>
                <a:gd name="T35" fmla="*/ 168 h 422"/>
                <a:gd name="T36" fmla="*/ 381 w 429"/>
                <a:gd name="T37" fmla="*/ 232 h 422"/>
                <a:gd name="T38" fmla="*/ 416 w 429"/>
                <a:gd name="T39" fmla="*/ 294 h 422"/>
                <a:gd name="T40" fmla="*/ 359 w 429"/>
                <a:gd name="T41" fmla="*/ 333 h 422"/>
                <a:gd name="T42" fmla="*/ 319 w 429"/>
                <a:gd name="T43" fmla="*/ 343 h 422"/>
                <a:gd name="T44" fmla="*/ 299 w 429"/>
                <a:gd name="T45" fmla="*/ 410 h 422"/>
                <a:gd name="T46" fmla="*/ 197 w 429"/>
                <a:gd name="T47" fmla="*/ 340 h 422"/>
                <a:gd name="T48" fmla="*/ 274 w 429"/>
                <a:gd name="T49" fmla="*/ 379 h 422"/>
                <a:gd name="T50" fmla="*/ 292 w 429"/>
                <a:gd name="T51" fmla="*/ 319 h 422"/>
                <a:gd name="T52" fmla="*/ 370 w 429"/>
                <a:gd name="T53" fmla="*/ 298 h 422"/>
                <a:gd name="T54" fmla="*/ 373 w 429"/>
                <a:gd name="T55" fmla="*/ 289 h 422"/>
                <a:gd name="T56" fmla="*/ 381 w 429"/>
                <a:gd name="T57" fmla="*/ 167 h 422"/>
                <a:gd name="T58" fmla="*/ 378 w 429"/>
                <a:gd name="T59" fmla="*/ 156 h 422"/>
                <a:gd name="T60" fmla="*/ 297 w 429"/>
                <a:gd name="T61" fmla="*/ 85 h 422"/>
                <a:gd name="T62" fmla="*/ 292 w 429"/>
                <a:gd name="T63" fmla="*/ 54 h 422"/>
                <a:gd name="T64" fmla="*/ 235 w 429"/>
                <a:gd name="T65" fmla="*/ 84 h 422"/>
                <a:gd name="T66" fmla="*/ 164 w 429"/>
                <a:gd name="T67" fmla="*/ 42 h 422"/>
                <a:gd name="T68" fmla="*/ 156 w 429"/>
                <a:gd name="T69" fmla="*/ 50 h 422"/>
                <a:gd name="T70" fmla="*/ 85 w 429"/>
                <a:gd name="T71" fmla="*/ 130 h 422"/>
                <a:gd name="T72" fmla="*/ 53 w 429"/>
                <a:gd name="T73" fmla="*/ 133 h 422"/>
                <a:gd name="T74" fmla="*/ 44 w 429"/>
                <a:gd name="T75" fmla="*/ 259 h 422"/>
                <a:gd name="T76" fmla="*/ 46 w 429"/>
                <a:gd name="T77" fmla="*/ 268 h 422"/>
                <a:gd name="T78" fmla="*/ 132 w 429"/>
                <a:gd name="T79" fmla="*/ 339 h 422"/>
                <a:gd name="T80" fmla="*/ 137 w 429"/>
                <a:gd name="T81" fmla="*/ 370 h 422"/>
                <a:gd name="T82" fmla="*/ 215 w 429"/>
                <a:gd name="T83" fmla="*/ 297 h 422"/>
                <a:gd name="T84" fmla="*/ 138 w 429"/>
                <a:gd name="T85" fmla="*/ 172 h 422"/>
                <a:gd name="T86" fmla="*/ 296 w 429"/>
                <a:gd name="T87" fmla="*/ 188 h 422"/>
                <a:gd name="T88" fmla="*/ 214 w 429"/>
                <a:gd name="T89" fmla="*/ 163 h 422"/>
                <a:gd name="T90" fmla="*/ 192 w 429"/>
                <a:gd name="T91" fmla="*/ 255 h 422"/>
                <a:gd name="T92" fmla="*/ 262 w 429"/>
                <a:gd name="T93" fmla="*/ 198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29" h="422">
                  <a:moveTo>
                    <a:pt x="255" y="422"/>
                  </a:moveTo>
                  <a:cubicBezTo>
                    <a:pt x="249" y="422"/>
                    <a:pt x="242" y="419"/>
                    <a:pt x="239" y="412"/>
                  </a:cubicBezTo>
                  <a:cubicBezTo>
                    <a:pt x="231" y="396"/>
                    <a:pt x="231" y="396"/>
                    <a:pt x="231" y="396"/>
                  </a:cubicBezTo>
                  <a:cubicBezTo>
                    <a:pt x="224" y="384"/>
                    <a:pt x="211" y="377"/>
                    <a:pt x="197" y="377"/>
                  </a:cubicBezTo>
                  <a:cubicBezTo>
                    <a:pt x="195" y="377"/>
                    <a:pt x="195" y="377"/>
                    <a:pt x="195" y="377"/>
                  </a:cubicBezTo>
                  <a:cubicBezTo>
                    <a:pt x="184" y="377"/>
                    <a:pt x="173" y="383"/>
                    <a:pt x="166" y="392"/>
                  </a:cubicBezTo>
                  <a:cubicBezTo>
                    <a:pt x="156" y="405"/>
                    <a:pt x="156" y="405"/>
                    <a:pt x="156" y="405"/>
                  </a:cubicBezTo>
                  <a:cubicBezTo>
                    <a:pt x="151" y="412"/>
                    <a:pt x="141" y="414"/>
                    <a:pt x="133" y="410"/>
                  </a:cubicBezTo>
                  <a:cubicBezTo>
                    <a:pt x="97" y="391"/>
                    <a:pt x="97" y="391"/>
                    <a:pt x="97" y="391"/>
                  </a:cubicBezTo>
                  <a:cubicBezTo>
                    <a:pt x="89" y="387"/>
                    <a:pt x="86" y="377"/>
                    <a:pt x="89" y="369"/>
                  </a:cubicBezTo>
                  <a:cubicBezTo>
                    <a:pt x="94" y="355"/>
                    <a:pt x="94" y="355"/>
                    <a:pt x="94" y="355"/>
                  </a:cubicBezTo>
                  <a:cubicBezTo>
                    <a:pt x="94" y="354"/>
                    <a:pt x="94" y="354"/>
                    <a:pt x="94" y="353"/>
                  </a:cubicBezTo>
                  <a:cubicBezTo>
                    <a:pt x="95" y="350"/>
                    <a:pt x="96" y="345"/>
                    <a:pt x="96" y="341"/>
                  </a:cubicBezTo>
                  <a:cubicBezTo>
                    <a:pt x="95" y="320"/>
                    <a:pt x="77" y="304"/>
                    <a:pt x="56" y="304"/>
                  </a:cubicBezTo>
                  <a:cubicBezTo>
                    <a:pt x="52" y="304"/>
                    <a:pt x="52" y="304"/>
                    <a:pt x="52" y="304"/>
                  </a:cubicBezTo>
                  <a:cubicBezTo>
                    <a:pt x="52" y="304"/>
                    <a:pt x="51" y="304"/>
                    <a:pt x="51" y="304"/>
                  </a:cubicBezTo>
                  <a:cubicBezTo>
                    <a:pt x="35" y="306"/>
                    <a:pt x="35" y="306"/>
                    <a:pt x="35" y="306"/>
                  </a:cubicBezTo>
                  <a:cubicBezTo>
                    <a:pt x="26" y="308"/>
                    <a:pt x="18" y="302"/>
                    <a:pt x="15" y="294"/>
                  </a:cubicBezTo>
                  <a:cubicBezTo>
                    <a:pt x="3" y="256"/>
                    <a:pt x="3" y="256"/>
                    <a:pt x="3" y="256"/>
                  </a:cubicBezTo>
                  <a:cubicBezTo>
                    <a:pt x="0" y="247"/>
                    <a:pt x="4" y="237"/>
                    <a:pt x="12" y="234"/>
                  </a:cubicBezTo>
                  <a:cubicBezTo>
                    <a:pt x="28" y="226"/>
                    <a:pt x="28" y="226"/>
                    <a:pt x="28" y="226"/>
                  </a:cubicBezTo>
                  <a:cubicBezTo>
                    <a:pt x="40" y="220"/>
                    <a:pt x="48" y="206"/>
                    <a:pt x="47" y="192"/>
                  </a:cubicBezTo>
                  <a:cubicBezTo>
                    <a:pt x="47" y="181"/>
                    <a:pt x="41" y="170"/>
                    <a:pt x="32" y="163"/>
                  </a:cubicBezTo>
                  <a:cubicBezTo>
                    <a:pt x="18" y="153"/>
                    <a:pt x="18" y="153"/>
                    <a:pt x="18" y="153"/>
                  </a:cubicBezTo>
                  <a:cubicBezTo>
                    <a:pt x="11" y="147"/>
                    <a:pt x="9" y="138"/>
                    <a:pt x="13" y="130"/>
                  </a:cubicBezTo>
                  <a:cubicBezTo>
                    <a:pt x="32" y="94"/>
                    <a:pt x="32" y="94"/>
                    <a:pt x="32" y="94"/>
                  </a:cubicBezTo>
                  <a:cubicBezTo>
                    <a:pt x="36" y="86"/>
                    <a:pt x="45" y="83"/>
                    <a:pt x="54" y="86"/>
                  </a:cubicBezTo>
                  <a:cubicBezTo>
                    <a:pt x="66" y="90"/>
                    <a:pt x="66" y="90"/>
                    <a:pt x="66" y="90"/>
                  </a:cubicBezTo>
                  <a:cubicBezTo>
                    <a:pt x="72" y="92"/>
                    <a:pt x="77" y="93"/>
                    <a:pt x="82" y="93"/>
                  </a:cubicBezTo>
                  <a:cubicBezTo>
                    <a:pt x="83" y="93"/>
                    <a:pt x="83" y="93"/>
                    <a:pt x="83" y="93"/>
                  </a:cubicBezTo>
                  <a:cubicBezTo>
                    <a:pt x="94" y="93"/>
                    <a:pt x="103" y="88"/>
                    <a:pt x="110" y="81"/>
                  </a:cubicBezTo>
                  <a:cubicBezTo>
                    <a:pt x="117" y="73"/>
                    <a:pt x="120" y="64"/>
                    <a:pt x="120" y="54"/>
                  </a:cubicBezTo>
                  <a:cubicBezTo>
                    <a:pt x="120" y="53"/>
                    <a:pt x="120" y="53"/>
                    <a:pt x="120" y="53"/>
                  </a:cubicBezTo>
                  <a:cubicBezTo>
                    <a:pt x="117" y="34"/>
                    <a:pt x="117" y="34"/>
                    <a:pt x="117" y="34"/>
                  </a:cubicBezTo>
                  <a:cubicBezTo>
                    <a:pt x="115" y="25"/>
                    <a:pt x="121" y="17"/>
                    <a:pt x="129" y="14"/>
                  </a:cubicBezTo>
                  <a:cubicBezTo>
                    <a:pt x="168" y="2"/>
                    <a:pt x="168" y="2"/>
                    <a:pt x="168" y="2"/>
                  </a:cubicBezTo>
                  <a:cubicBezTo>
                    <a:pt x="177" y="0"/>
                    <a:pt x="186" y="4"/>
                    <a:pt x="190" y="11"/>
                  </a:cubicBezTo>
                  <a:cubicBezTo>
                    <a:pt x="197" y="26"/>
                    <a:pt x="197" y="26"/>
                    <a:pt x="197" y="26"/>
                  </a:cubicBezTo>
                  <a:cubicBezTo>
                    <a:pt x="203" y="39"/>
                    <a:pt x="217" y="47"/>
                    <a:pt x="232" y="47"/>
                  </a:cubicBezTo>
                  <a:cubicBezTo>
                    <a:pt x="234" y="47"/>
                    <a:pt x="234" y="47"/>
                    <a:pt x="234" y="47"/>
                  </a:cubicBezTo>
                  <a:cubicBezTo>
                    <a:pt x="244" y="47"/>
                    <a:pt x="254" y="42"/>
                    <a:pt x="261" y="35"/>
                  </a:cubicBezTo>
                  <a:cubicBezTo>
                    <a:pt x="272" y="19"/>
                    <a:pt x="272" y="19"/>
                    <a:pt x="272" y="19"/>
                  </a:cubicBezTo>
                  <a:cubicBezTo>
                    <a:pt x="278" y="12"/>
                    <a:pt x="287" y="10"/>
                    <a:pt x="295" y="14"/>
                  </a:cubicBezTo>
                  <a:cubicBezTo>
                    <a:pt x="331" y="33"/>
                    <a:pt x="331" y="33"/>
                    <a:pt x="331" y="33"/>
                  </a:cubicBezTo>
                  <a:cubicBezTo>
                    <a:pt x="339" y="37"/>
                    <a:pt x="343" y="46"/>
                    <a:pt x="340" y="55"/>
                  </a:cubicBezTo>
                  <a:cubicBezTo>
                    <a:pt x="335" y="71"/>
                    <a:pt x="335" y="71"/>
                    <a:pt x="335" y="71"/>
                  </a:cubicBezTo>
                  <a:cubicBezTo>
                    <a:pt x="335" y="71"/>
                    <a:pt x="335" y="72"/>
                    <a:pt x="334" y="73"/>
                  </a:cubicBezTo>
                  <a:cubicBezTo>
                    <a:pt x="334" y="76"/>
                    <a:pt x="333" y="79"/>
                    <a:pt x="334" y="84"/>
                  </a:cubicBezTo>
                  <a:cubicBezTo>
                    <a:pt x="335" y="104"/>
                    <a:pt x="352" y="120"/>
                    <a:pt x="373" y="120"/>
                  </a:cubicBezTo>
                  <a:cubicBezTo>
                    <a:pt x="374" y="120"/>
                    <a:pt x="374" y="120"/>
                    <a:pt x="374" y="120"/>
                  </a:cubicBezTo>
                  <a:cubicBezTo>
                    <a:pt x="375" y="120"/>
                    <a:pt x="375" y="120"/>
                    <a:pt x="375" y="120"/>
                  </a:cubicBezTo>
                  <a:cubicBezTo>
                    <a:pt x="394" y="117"/>
                    <a:pt x="394" y="117"/>
                    <a:pt x="394" y="117"/>
                  </a:cubicBezTo>
                  <a:cubicBezTo>
                    <a:pt x="403" y="116"/>
                    <a:pt x="411" y="122"/>
                    <a:pt x="414" y="130"/>
                  </a:cubicBezTo>
                  <a:cubicBezTo>
                    <a:pt x="426" y="168"/>
                    <a:pt x="426" y="168"/>
                    <a:pt x="426" y="168"/>
                  </a:cubicBezTo>
                  <a:cubicBezTo>
                    <a:pt x="429" y="177"/>
                    <a:pt x="425" y="186"/>
                    <a:pt x="417" y="190"/>
                  </a:cubicBezTo>
                  <a:cubicBezTo>
                    <a:pt x="398" y="199"/>
                    <a:pt x="398" y="199"/>
                    <a:pt x="398" y="199"/>
                  </a:cubicBezTo>
                  <a:cubicBezTo>
                    <a:pt x="387" y="206"/>
                    <a:pt x="380" y="219"/>
                    <a:pt x="381" y="232"/>
                  </a:cubicBezTo>
                  <a:cubicBezTo>
                    <a:pt x="382" y="243"/>
                    <a:pt x="387" y="253"/>
                    <a:pt x="396" y="260"/>
                  </a:cubicBezTo>
                  <a:cubicBezTo>
                    <a:pt x="410" y="271"/>
                    <a:pt x="410" y="271"/>
                    <a:pt x="410" y="271"/>
                  </a:cubicBezTo>
                  <a:cubicBezTo>
                    <a:pt x="418" y="276"/>
                    <a:pt x="420" y="286"/>
                    <a:pt x="416" y="294"/>
                  </a:cubicBezTo>
                  <a:cubicBezTo>
                    <a:pt x="397" y="329"/>
                    <a:pt x="397" y="329"/>
                    <a:pt x="397" y="329"/>
                  </a:cubicBezTo>
                  <a:cubicBezTo>
                    <a:pt x="393" y="337"/>
                    <a:pt x="384" y="341"/>
                    <a:pt x="375" y="338"/>
                  </a:cubicBezTo>
                  <a:cubicBezTo>
                    <a:pt x="359" y="333"/>
                    <a:pt x="359" y="333"/>
                    <a:pt x="359" y="333"/>
                  </a:cubicBezTo>
                  <a:cubicBezTo>
                    <a:pt x="355" y="332"/>
                    <a:pt x="351" y="331"/>
                    <a:pt x="347" y="331"/>
                  </a:cubicBezTo>
                  <a:cubicBezTo>
                    <a:pt x="345" y="331"/>
                    <a:pt x="345" y="331"/>
                    <a:pt x="345" y="331"/>
                  </a:cubicBezTo>
                  <a:cubicBezTo>
                    <a:pt x="335" y="331"/>
                    <a:pt x="326" y="336"/>
                    <a:pt x="319" y="343"/>
                  </a:cubicBezTo>
                  <a:cubicBezTo>
                    <a:pt x="312" y="351"/>
                    <a:pt x="309" y="360"/>
                    <a:pt x="309" y="370"/>
                  </a:cubicBezTo>
                  <a:cubicBezTo>
                    <a:pt x="312" y="390"/>
                    <a:pt x="312" y="390"/>
                    <a:pt x="312" y="390"/>
                  </a:cubicBezTo>
                  <a:cubicBezTo>
                    <a:pt x="313" y="399"/>
                    <a:pt x="308" y="407"/>
                    <a:pt x="299" y="410"/>
                  </a:cubicBezTo>
                  <a:cubicBezTo>
                    <a:pt x="261" y="422"/>
                    <a:pt x="261" y="422"/>
                    <a:pt x="261" y="422"/>
                  </a:cubicBezTo>
                  <a:cubicBezTo>
                    <a:pt x="259" y="422"/>
                    <a:pt x="257" y="422"/>
                    <a:pt x="255" y="422"/>
                  </a:cubicBezTo>
                  <a:close/>
                  <a:moveTo>
                    <a:pt x="197" y="340"/>
                  </a:moveTo>
                  <a:cubicBezTo>
                    <a:pt x="224" y="340"/>
                    <a:pt x="249" y="355"/>
                    <a:pt x="263" y="378"/>
                  </a:cubicBezTo>
                  <a:cubicBezTo>
                    <a:pt x="265" y="382"/>
                    <a:pt x="265" y="382"/>
                    <a:pt x="265" y="382"/>
                  </a:cubicBezTo>
                  <a:cubicBezTo>
                    <a:pt x="274" y="379"/>
                    <a:pt x="274" y="379"/>
                    <a:pt x="274" y="379"/>
                  </a:cubicBezTo>
                  <a:cubicBezTo>
                    <a:pt x="273" y="374"/>
                    <a:pt x="273" y="374"/>
                    <a:pt x="273" y="374"/>
                  </a:cubicBezTo>
                  <a:cubicBezTo>
                    <a:pt x="273" y="374"/>
                    <a:pt x="273" y="373"/>
                    <a:pt x="273" y="373"/>
                  </a:cubicBezTo>
                  <a:cubicBezTo>
                    <a:pt x="272" y="352"/>
                    <a:pt x="278" y="333"/>
                    <a:pt x="292" y="319"/>
                  </a:cubicBezTo>
                  <a:cubicBezTo>
                    <a:pt x="305" y="304"/>
                    <a:pt x="324" y="295"/>
                    <a:pt x="344" y="295"/>
                  </a:cubicBezTo>
                  <a:cubicBezTo>
                    <a:pt x="347" y="295"/>
                    <a:pt x="347" y="295"/>
                    <a:pt x="347" y="295"/>
                  </a:cubicBezTo>
                  <a:cubicBezTo>
                    <a:pt x="354" y="295"/>
                    <a:pt x="363" y="296"/>
                    <a:pt x="370" y="298"/>
                  </a:cubicBezTo>
                  <a:cubicBezTo>
                    <a:pt x="372" y="299"/>
                    <a:pt x="372" y="299"/>
                    <a:pt x="372" y="299"/>
                  </a:cubicBezTo>
                  <a:cubicBezTo>
                    <a:pt x="376" y="291"/>
                    <a:pt x="376" y="291"/>
                    <a:pt x="376" y="291"/>
                  </a:cubicBezTo>
                  <a:cubicBezTo>
                    <a:pt x="373" y="289"/>
                    <a:pt x="373" y="289"/>
                    <a:pt x="373" y="289"/>
                  </a:cubicBezTo>
                  <a:cubicBezTo>
                    <a:pt x="356" y="275"/>
                    <a:pt x="346" y="256"/>
                    <a:pt x="345" y="234"/>
                  </a:cubicBezTo>
                  <a:cubicBezTo>
                    <a:pt x="343" y="207"/>
                    <a:pt x="357" y="182"/>
                    <a:pt x="380" y="168"/>
                  </a:cubicBezTo>
                  <a:cubicBezTo>
                    <a:pt x="381" y="167"/>
                    <a:pt x="381" y="167"/>
                    <a:pt x="381" y="167"/>
                  </a:cubicBezTo>
                  <a:cubicBezTo>
                    <a:pt x="387" y="164"/>
                    <a:pt x="387" y="164"/>
                    <a:pt x="387" y="164"/>
                  </a:cubicBezTo>
                  <a:cubicBezTo>
                    <a:pt x="384" y="156"/>
                    <a:pt x="384" y="156"/>
                    <a:pt x="384" y="156"/>
                  </a:cubicBezTo>
                  <a:cubicBezTo>
                    <a:pt x="378" y="156"/>
                    <a:pt x="378" y="156"/>
                    <a:pt x="378" y="156"/>
                  </a:cubicBezTo>
                  <a:cubicBezTo>
                    <a:pt x="378" y="156"/>
                    <a:pt x="377" y="156"/>
                    <a:pt x="376" y="156"/>
                  </a:cubicBezTo>
                  <a:cubicBezTo>
                    <a:pt x="375" y="156"/>
                    <a:pt x="374" y="156"/>
                    <a:pt x="373" y="156"/>
                  </a:cubicBezTo>
                  <a:cubicBezTo>
                    <a:pt x="332" y="156"/>
                    <a:pt x="299" y="125"/>
                    <a:pt x="297" y="85"/>
                  </a:cubicBezTo>
                  <a:cubicBezTo>
                    <a:pt x="297" y="76"/>
                    <a:pt x="297" y="68"/>
                    <a:pt x="300" y="61"/>
                  </a:cubicBezTo>
                  <a:cubicBezTo>
                    <a:pt x="300" y="60"/>
                    <a:pt x="300" y="59"/>
                    <a:pt x="301" y="58"/>
                  </a:cubicBezTo>
                  <a:cubicBezTo>
                    <a:pt x="292" y="54"/>
                    <a:pt x="292" y="54"/>
                    <a:pt x="292" y="54"/>
                  </a:cubicBezTo>
                  <a:cubicBezTo>
                    <a:pt x="289" y="58"/>
                    <a:pt x="289" y="58"/>
                    <a:pt x="289" y="58"/>
                  </a:cubicBezTo>
                  <a:cubicBezTo>
                    <a:pt x="289" y="58"/>
                    <a:pt x="288" y="58"/>
                    <a:pt x="288" y="59"/>
                  </a:cubicBezTo>
                  <a:cubicBezTo>
                    <a:pt x="274" y="74"/>
                    <a:pt x="256" y="83"/>
                    <a:pt x="235" y="84"/>
                  </a:cubicBezTo>
                  <a:cubicBezTo>
                    <a:pt x="234" y="84"/>
                    <a:pt x="233" y="84"/>
                    <a:pt x="232" y="84"/>
                  </a:cubicBezTo>
                  <a:cubicBezTo>
                    <a:pt x="204" y="84"/>
                    <a:pt x="177" y="67"/>
                    <a:pt x="164" y="42"/>
                  </a:cubicBezTo>
                  <a:cubicBezTo>
                    <a:pt x="164" y="42"/>
                    <a:pt x="164" y="42"/>
                    <a:pt x="164" y="42"/>
                  </a:cubicBezTo>
                  <a:cubicBezTo>
                    <a:pt x="155" y="44"/>
                    <a:pt x="155" y="44"/>
                    <a:pt x="155" y="44"/>
                  </a:cubicBezTo>
                  <a:cubicBezTo>
                    <a:pt x="156" y="48"/>
                    <a:pt x="156" y="48"/>
                    <a:pt x="156" y="48"/>
                  </a:cubicBezTo>
                  <a:cubicBezTo>
                    <a:pt x="156" y="49"/>
                    <a:pt x="156" y="50"/>
                    <a:pt x="156" y="50"/>
                  </a:cubicBezTo>
                  <a:cubicBezTo>
                    <a:pt x="156" y="52"/>
                    <a:pt x="156" y="52"/>
                    <a:pt x="156" y="52"/>
                  </a:cubicBezTo>
                  <a:cubicBezTo>
                    <a:pt x="157" y="72"/>
                    <a:pt x="150" y="91"/>
                    <a:pt x="137" y="105"/>
                  </a:cubicBezTo>
                  <a:cubicBezTo>
                    <a:pt x="123" y="120"/>
                    <a:pt x="105" y="129"/>
                    <a:pt x="85" y="130"/>
                  </a:cubicBezTo>
                  <a:cubicBezTo>
                    <a:pt x="82" y="130"/>
                    <a:pt x="82" y="130"/>
                    <a:pt x="82" y="130"/>
                  </a:cubicBezTo>
                  <a:cubicBezTo>
                    <a:pt x="72" y="130"/>
                    <a:pt x="64" y="128"/>
                    <a:pt x="57" y="125"/>
                  </a:cubicBezTo>
                  <a:cubicBezTo>
                    <a:pt x="53" y="133"/>
                    <a:pt x="53" y="133"/>
                    <a:pt x="53" y="133"/>
                  </a:cubicBezTo>
                  <a:cubicBezTo>
                    <a:pt x="54" y="134"/>
                    <a:pt x="54" y="134"/>
                    <a:pt x="54" y="134"/>
                  </a:cubicBezTo>
                  <a:cubicBezTo>
                    <a:pt x="72" y="148"/>
                    <a:pt x="82" y="168"/>
                    <a:pt x="84" y="190"/>
                  </a:cubicBezTo>
                  <a:cubicBezTo>
                    <a:pt x="85" y="218"/>
                    <a:pt x="70" y="245"/>
                    <a:pt x="44" y="259"/>
                  </a:cubicBezTo>
                  <a:cubicBezTo>
                    <a:pt x="42" y="260"/>
                    <a:pt x="42" y="260"/>
                    <a:pt x="42" y="260"/>
                  </a:cubicBezTo>
                  <a:cubicBezTo>
                    <a:pt x="45" y="268"/>
                    <a:pt x="45" y="268"/>
                    <a:pt x="45" y="268"/>
                  </a:cubicBezTo>
                  <a:cubicBezTo>
                    <a:pt x="46" y="268"/>
                    <a:pt x="46" y="268"/>
                    <a:pt x="46" y="268"/>
                  </a:cubicBezTo>
                  <a:cubicBezTo>
                    <a:pt x="50" y="267"/>
                    <a:pt x="50" y="267"/>
                    <a:pt x="52" y="267"/>
                  </a:cubicBezTo>
                  <a:cubicBezTo>
                    <a:pt x="53" y="267"/>
                    <a:pt x="53" y="267"/>
                    <a:pt x="53" y="267"/>
                  </a:cubicBezTo>
                  <a:cubicBezTo>
                    <a:pt x="95" y="266"/>
                    <a:pt x="130" y="298"/>
                    <a:pt x="132" y="339"/>
                  </a:cubicBezTo>
                  <a:cubicBezTo>
                    <a:pt x="133" y="348"/>
                    <a:pt x="131" y="357"/>
                    <a:pt x="128" y="366"/>
                  </a:cubicBezTo>
                  <a:cubicBezTo>
                    <a:pt x="137" y="370"/>
                    <a:pt x="137" y="370"/>
                    <a:pt x="137" y="370"/>
                  </a:cubicBezTo>
                  <a:cubicBezTo>
                    <a:pt x="137" y="370"/>
                    <a:pt x="137" y="370"/>
                    <a:pt x="137" y="370"/>
                  </a:cubicBezTo>
                  <a:cubicBezTo>
                    <a:pt x="151" y="352"/>
                    <a:pt x="171" y="341"/>
                    <a:pt x="194" y="340"/>
                  </a:cubicBezTo>
                  <a:cubicBezTo>
                    <a:pt x="195" y="340"/>
                    <a:pt x="196" y="340"/>
                    <a:pt x="197" y="340"/>
                  </a:cubicBezTo>
                  <a:close/>
                  <a:moveTo>
                    <a:pt x="215" y="297"/>
                  </a:moveTo>
                  <a:cubicBezTo>
                    <a:pt x="201" y="297"/>
                    <a:pt x="187" y="294"/>
                    <a:pt x="175" y="287"/>
                  </a:cubicBezTo>
                  <a:cubicBezTo>
                    <a:pt x="154" y="276"/>
                    <a:pt x="139" y="258"/>
                    <a:pt x="132" y="236"/>
                  </a:cubicBezTo>
                  <a:cubicBezTo>
                    <a:pt x="126" y="215"/>
                    <a:pt x="128" y="192"/>
                    <a:pt x="138" y="172"/>
                  </a:cubicBezTo>
                  <a:cubicBezTo>
                    <a:pt x="153" y="144"/>
                    <a:pt x="182" y="127"/>
                    <a:pt x="214" y="127"/>
                  </a:cubicBezTo>
                  <a:cubicBezTo>
                    <a:pt x="228" y="127"/>
                    <a:pt x="241" y="130"/>
                    <a:pt x="254" y="137"/>
                  </a:cubicBezTo>
                  <a:cubicBezTo>
                    <a:pt x="274" y="148"/>
                    <a:pt x="290" y="166"/>
                    <a:pt x="296" y="188"/>
                  </a:cubicBezTo>
                  <a:cubicBezTo>
                    <a:pt x="303" y="209"/>
                    <a:pt x="301" y="232"/>
                    <a:pt x="291" y="252"/>
                  </a:cubicBezTo>
                  <a:cubicBezTo>
                    <a:pt x="276" y="280"/>
                    <a:pt x="247" y="297"/>
                    <a:pt x="215" y="297"/>
                  </a:cubicBezTo>
                  <a:close/>
                  <a:moveTo>
                    <a:pt x="214" y="163"/>
                  </a:moveTo>
                  <a:cubicBezTo>
                    <a:pt x="195" y="163"/>
                    <a:pt x="179" y="173"/>
                    <a:pt x="170" y="189"/>
                  </a:cubicBezTo>
                  <a:cubicBezTo>
                    <a:pt x="164" y="200"/>
                    <a:pt x="163" y="213"/>
                    <a:pt x="167" y="225"/>
                  </a:cubicBezTo>
                  <a:cubicBezTo>
                    <a:pt x="171" y="238"/>
                    <a:pt x="180" y="248"/>
                    <a:pt x="192" y="255"/>
                  </a:cubicBezTo>
                  <a:cubicBezTo>
                    <a:pt x="199" y="258"/>
                    <a:pt x="207" y="260"/>
                    <a:pt x="215" y="260"/>
                  </a:cubicBezTo>
                  <a:cubicBezTo>
                    <a:pt x="233" y="260"/>
                    <a:pt x="250" y="251"/>
                    <a:pt x="258" y="235"/>
                  </a:cubicBezTo>
                  <a:cubicBezTo>
                    <a:pt x="264" y="224"/>
                    <a:pt x="265" y="211"/>
                    <a:pt x="262" y="198"/>
                  </a:cubicBezTo>
                  <a:cubicBezTo>
                    <a:pt x="258" y="186"/>
                    <a:pt x="249" y="175"/>
                    <a:pt x="237" y="169"/>
                  </a:cubicBezTo>
                  <a:cubicBezTo>
                    <a:pt x="230" y="165"/>
                    <a:pt x="222" y="163"/>
                    <a:pt x="214" y="16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238604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TextBox 40"/>
          <p:cNvSpPr txBox="1"/>
          <p:nvPr/>
        </p:nvSpPr>
        <p:spPr>
          <a:xfrm>
            <a:off x="2424701" y="112588"/>
            <a:ext cx="8106311" cy="666162"/>
          </a:xfrm>
          <a:prstGeom prst="rect">
            <a:avLst/>
          </a:prstGeom>
          <a:noFill/>
        </p:spPr>
        <p:txBody>
          <a:bodyPr wrap="square" lIns="72000" tIns="36000" rIns="0" bIns="36000" rtlCol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лючевые показатели льготной лизинговой поддержки субъектов ИМП через сеть РЛК</a:t>
            </a:r>
            <a:endParaRPr kumimoji="0" lang="ru-RU" sz="2000" b="0" i="0" u="none" strike="noStrike" kern="1200" cap="none" spc="0" normalizeH="0" baseline="0" noProof="0" dirty="0" smtClean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pic>
        <p:nvPicPr>
          <p:cNvPr id="48" name="Рисунок 4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925" y="22397"/>
            <a:ext cx="2163618" cy="984251"/>
          </a:xfrm>
          <a:prstGeom prst="rect">
            <a:avLst/>
          </a:prstGeom>
        </p:spPr>
      </p:pic>
      <p:cxnSp>
        <p:nvCxnSpPr>
          <p:cNvPr id="45" name="Прямая соединительная линия 44"/>
          <p:cNvCxnSpPr/>
          <p:nvPr/>
        </p:nvCxnSpPr>
        <p:spPr>
          <a:xfrm>
            <a:off x="282575" y="868940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5" name="Рисунок 5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69599" y="54867"/>
            <a:ext cx="1549399" cy="779127"/>
          </a:xfrm>
          <a:prstGeom prst="rect">
            <a:avLst/>
          </a:prstGeom>
        </p:spPr>
      </p:pic>
      <p:sp>
        <p:nvSpPr>
          <p:cNvPr id="23" name="Прямоугольник 22"/>
          <p:cNvSpPr/>
          <p:nvPr/>
        </p:nvSpPr>
        <p:spPr>
          <a:xfrm>
            <a:off x="12020957" y="8271049"/>
            <a:ext cx="391994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14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244570" y="995685"/>
            <a:ext cx="5744499" cy="369332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бъем лизинговой поддержки в 2017-2019 гг.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cxnSp>
        <p:nvCxnSpPr>
          <p:cNvPr id="42" name="Прямая соединительная линия 41"/>
          <p:cNvCxnSpPr/>
          <p:nvPr/>
        </p:nvCxnSpPr>
        <p:spPr>
          <a:xfrm>
            <a:off x="244571" y="1339770"/>
            <a:ext cx="62087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/>
          <p:cNvSpPr txBox="1"/>
          <p:nvPr/>
        </p:nvSpPr>
        <p:spPr>
          <a:xfrm>
            <a:off x="7015087" y="995685"/>
            <a:ext cx="5303912" cy="369332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Лизинговая поддержка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 регионам в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7-2019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гг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.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cxnSp>
        <p:nvCxnSpPr>
          <p:cNvPr id="44" name="Прямая соединительная линия 43"/>
          <p:cNvCxnSpPr/>
          <p:nvPr/>
        </p:nvCxnSpPr>
        <p:spPr>
          <a:xfrm>
            <a:off x="7015087" y="1339770"/>
            <a:ext cx="500587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6" name="Диаграмма 45"/>
          <p:cNvGraphicFramePr/>
          <p:nvPr>
            <p:extLst/>
          </p:nvPr>
        </p:nvGraphicFramePr>
        <p:xfrm>
          <a:off x="-1" y="4564580"/>
          <a:ext cx="7756990" cy="32507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47" name="Прямоугольник 46"/>
          <p:cNvSpPr/>
          <p:nvPr/>
        </p:nvSpPr>
        <p:spPr>
          <a:xfrm>
            <a:off x="243582" y="1376934"/>
            <a:ext cx="6209769" cy="49090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wrap="square" lIns="108000" tIns="108000" rIns="108000" bIns="10800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бъем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лизинговой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ддержки нарастающим итогом за 2017-2019 гг.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оставил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4 19</a:t>
            </a:r>
            <a:r>
              <a:rPr kumimoji="0" lang="en-US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5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,3 млн руб.</a:t>
            </a:r>
            <a:endParaRPr kumimoji="0" lang="ru-RU" sz="1800" b="1" i="0" u="none" strike="noStrike" kern="1200" cap="none" spc="0" normalizeH="0" baseline="3000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49" name="Прямоугольник 48"/>
          <p:cNvSpPr/>
          <p:nvPr/>
        </p:nvSpPr>
        <p:spPr>
          <a:xfrm>
            <a:off x="243582" y="7905519"/>
            <a:ext cx="6577854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* с учетом пересчета суммы финансирования в отношении фактически поставленных предметов лизинга (финансирование за всех источников финансирования)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** по 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состоянию на текущую отчетную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дату.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Arial Narrow" panose="020B0606020202030204" pitchFamily="34" charset="0"/>
              <a:ea typeface="Calibri" panose="020F0502020204030204" pitchFamily="34" charset="0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***  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по состоянию на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04.02.2019.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7015088" y="1376934"/>
            <a:ext cx="5005869" cy="49090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wrap="square" lIns="108000" tIns="108000" rIns="108000" bIns="10800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дним из ключевых условий реализации программы льготного лизинга является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тсутствие межрегиональных барьеров</a:t>
            </a:r>
          </a:p>
        </p:txBody>
      </p:sp>
      <p:graphicFrame>
        <p:nvGraphicFramePr>
          <p:cNvPr id="51" name="Таблица 50"/>
          <p:cNvGraphicFramePr>
            <a:graphicFrameLocks noGrp="1"/>
          </p:cNvGraphicFramePr>
          <p:nvPr>
            <p:extLst/>
          </p:nvPr>
        </p:nvGraphicFramePr>
        <p:xfrm>
          <a:off x="243581" y="1884755"/>
          <a:ext cx="6209769" cy="2011793"/>
        </p:xfrm>
        <a:graphic>
          <a:graphicData uri="http://schemas.openxmlformats.org/drawingml/2006/table">
            <a:tbl>
              <a:tblPr/>
              <a:tblGrid>
                <a:gridCol w="2318262">
                  <a:extLst>
                    <a:ext uri="{9D8B030D-6E8A-4147-A177-3AD203B41FA5}">
                      <a16:colId xmlns:a16="http://schemas.microsoft.com/office/drawing/2014/main" val="2906442280"/>
                    </a:ext>
                  </a:extLst>
                </a:gridCol>
                <a:gridCol w="1297169">
                  <a:extLst>
                    <a:ext uri="{9D8B030D-6E8A-4147-A177-3AD203B41FA5}">
                      <a16:colId xmlns:a16="http://schemas.microsoft.com/office/drawing/2014/main" val="1113565480"/>
                    </a:ext>
                  </a:extLst>
                </a:gridCol>
                <a:gridCol w="1297169">
                  <a:extLst>
                    <a:ext uri="{9D8B030D-6E8A-4147-A177-3AD203B41FA5}">
                      <a16:colId xmlns:a16="http://schemas.microsoft.com/office/drawing/2014/main" val="115163140"/>
                    </a:ext>
                  </a:extLst>
                </a:gridCol>
                <a:gridCol w="1297169">
                  <a:extLst>
                    <a:ext uri="{9D8B030D-6E8A-4147-A177-3AD203B41FA5}">
                      <a16:colId xmlns:a16="http://schemas.microsoft.com/office/drawing/2014/main" val="899230383"/>
                    </a:ext>
                  </a:extLst>
                </a:gridCol>
              </a:tblGrid>
              <a:tr h="232668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омпания</a:t>
                      </a:r>
                      <a:endParaRPr lang="ru-RU" sz="12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Сумма финансирования, </a:t>
                      </a:r>
                      <a:r>
                        <a:rPr lang="ru-RU" sz="12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млн руб. </a:t>
                      </a:r>
                      <a:r>
                        <a:rPr lang="ru-RU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с </a:t>
                      </a:r>
                      <a:r>
                        <a:rPr lang="ru-RU" sz="12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НДС</a:t>
                      </a:r>
                      <a:endParaRPr lang="en-US" sz="1200" b="0" i="0" u="none" strike="noStrike" dirty="0" smtClean="0">
                        <a:solidFill>
                          <a:srgbClr val="FFFFFF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200" b="1" i="0" u="none" strike="noStrike" dirty="0">
                        <a:solidFill>
                          <a:srgbClr val="FFFFFF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200" b="1" i="0" u="none" strike="noStrike" dirty="0">
                        <a:solidFill>
                          <a:srgbClr val="FFFFFF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44026252"/>
                  </a:ext>
                </a:extLst>
              </a:tr>
              <a:tr h="52342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ru-RU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Реализованные проекты*</a:t>
                      </a:r>
                      <a:endParaRPr kumimoji="0" lang="en-US" sz="12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115214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(накопительным итогом с 2017 года)</a:t>
                      </a:r>
                      <a:endParaRPr lang="ru-RU" sz="1400" b="0" i="0" u="none" strike="noStrike" dirty="0" smtClean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роекты на рассмотрении**</a:t>
                      </a:r>
                      <a:endParaRPr lang="ru-RU" sz="1200" b="1" i="0" u="none" strike="noStrike" baseline="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лан </a:t>
                      </a:r>
                    </a:p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на 2019 год</a:t>
                      </a:r>
                      <a:endParaRPr lang="en-US" sz="1200" b="1" i="0" u="none" strike="noStrike" dirty="0" smtClean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  <a:p>
                      <a:pPr algn="ctr" fontAlgn="ctr"/>
                      <a:r>
                        <a:rPr kumimoji="0" lang="ru-RU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(накопительным итогом с 2017 года)</a:t>
                      </a:r>
                      <a:endParaRPr lang="ru-RU" sz="105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9302881"/>
                  </a:ext>
                </a:extLst>
              </a:tr>
              <a:tr h="197313">
                <a:tc>
                  <a:txBody>
                    <a:bodyPr/>
                    <a:lstStyle/>
                    <a:p>
                      <a:pPr marL="0" marR="0" lvl="0" indent="0" algn="l" defTabSz="115214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baseline="0" dirty="0" smtClean="0">
                          <a:solidFill>
                            <a:sysClr val="windowText" lastClr="000000"/>
                          </a:solidFill>
                          <a:effectLst/>
                          <a:latin typeface="Arial Narrow" panose="020B0606020202030204" pitchFamily="34" charset="0"/>
                        </a:rPr>
                        <a:t>АО «РЛК Республики Татарстан»</a:t>
                      </a:r>
                      <a:endParaRPr lang="ru-RU" sz="1100" b="0" i="0" u="none" strike="noStrike" dirty="0" smtClean="0">
                        <a:solidFill>
                          <a:sysClr val="windowText" lastClr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0" marB="0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152144" rtl="0" eaLnBrk="1" fontAlgn="b" latinLnBrk="0" hangingPunct="1"/>
                      <a:r>
                        <a:rPr lang="ru-RU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1 707,2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152144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462,3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3 202,6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5002534"/>
                  </a:ext>
                </a:extLst>
              </a:tr>
              <a:tr h="197313">
                <a:tc>
                  <a:txBody>
                    <a:bodyPr/>
                    <a:lstStyle/>
                    <a:p>
                      <a:pPr marL="0" marR="0" lvl="0" indent="0" algn="l" defTabSz="115214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baseline="0" dirty="0" smtClean="0">
                          <a:solidFill>
                            <a:sysClr val="windowText" lastClr="000000"/>
                          </a:solidFill>
                          <a:effectLst/>
                          <a:latin typeface="Arial Narrow" panose="020B0606020202030204" pitchFamily="34" charset="0"/>
                        </a:rPr>
                        <a:t>АО «РЛК Республики Башкортостан»</a:t>
                      </a:r>
                      <a:endParaRPr lang="ru-RU" sz="1100" b="0" i="0" u="none" strike="noStrike" dirty="0" smtClean="0">
                        <a:solidFill>
                          <a:sysClr val="windowText" lastClr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0" marB="0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152144" rtl="0" eaLnBrk="1" fontAlgn="b" latinLnBrk="0" hangingPunct="1"/>
                      <a:r>
                        <a:rPr lang="ru-RU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1 590,2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152144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223,3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2 767,9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24811594"/>
                  </a:ext>
                </a:extLst>
              </a:tr>
              <a:tr h="197313">
                <a:tc>
                  <a:txBody>
                    <a:bodyPr/>
                    <a:lstStyle/>
                    <a:p>
                      <a:pPr marL="0" marR="0" lvl="0" indent="0" algn="l" defTabSz="115214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baseline="0" dirty="0" smtClean="0">
                          <a:solidFill>
                            <a:sysClr val="windowText" lastClr="000000"/>
                          </a:solidFill>
                          <a:effectLst/>
                          <a:latin typeface="Arial Narrow" panose="020B0606020202030204" pitchFamily="34" charset="0"/>
                        </a:rPr>
                        <a:t>АО «РЛК Ярославской области»</a:t>
                      </a:r>
                      <a:endParaRPr lang="ru-RU" sz="1100" b="0" i="0" u="none" strike="noStrike" dirty="0" smtClean="0">
                        <a:solidFill>
                          <a:sysClr val="windowText" lastClr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0" marB="0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152144" rtl="0" eaLnBrk="1" fontAlgn="b" latinLnBrk="0" hangingPunct="1"/>
                      <a:r>
                        <a:rPr lang="ru-RU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690,8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152144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392,3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2 036,8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54364746"/>
                  </a:ext>
                </a:extLst>
              </a:tr>
              <a:tr h="197313">
                <a:tc>
                  <a:txBody>
                    <a:bodyPr/>
                    <a:lstStyle/>
                    <a:p>
                      <a:pPr marL="0" marR="0" lvl="0" indent="0" algn="l" defTabSz="115214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baseline="0" dirty="0" smtClean="0">
                          <a:solidFill>
                            <a:sysClr val="windowText" lastClr="000000"/>
                          </a:solidFill>
                          <a:effectLst/>
                          <a:latin typeface="Arial Narrow" panose="020B0606020202030204" pitchFamily="34" charset="0"/>
                        </a:rPr>
                        <a:t>АО «РЛК Республики Саха (Якутия)»</a:t>
                      </a:r>
                      <a:endParaRPr lang="ru-RU" sz="1100" b="0" i="0" u="none" strike="noStrike" dirty="0" smtClean="0">
                        <a:solidFill>
                          <a:sysClr val="windowText" lastClr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0" marB="0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152144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207,1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152144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338,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872,7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26391200"/>
                  </a:ext>
                </a:extLst>
              </a:tr>
              <a:tr h="209861">
                <a:tc>
                  <a:txBody>
                    <a:bodyPr/>
                    <a:lstStyle/>
                    <a:p>
                      <a:pPr marL="0" marR="0" lvl="0" indent="0" algn="r" defTabSz="115214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dirty="0" smtClean="0">
                          <a:solidFill>
                            <a:sysClr val="windowText" lastClr="000000"/>
                          </a:solidFill>
                          <a:effectLst/>
                          <a:latin typeface="Arial Narrow" panose="020B0606020202030204" pitchFamily="34" charset="0"/>
                        </a:rPr>
                        <a:t>Итого</a:t>
                      </a:r>
                    </a:p>
                  </a:txBody>
                  <a:tcPr marL="36000" marR="36000" marT="0" marB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152144" rtl="0" eaLnBrk="1" fontAlgn="b" latinLnBrk="0" hangingPunct="1"/>
                      <a:r>
                        <a:rPr lang="ru-RU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4 195,3</a:t>
                      </a:r>
                    </a:p>
                  </a:txBody>
                  <a:tcPr marL="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152144" rtl="0" eaLnBrk="1" fontAlgn="b" latinLnBrk="0" hangingPunct="1"/>
                      <a:r>
                        <a:rPr lang="ru-RU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1 415,9</a:t>
                      </a:r>
                    </a:p>
                  </a:txBody>
                  <a:tcPr marL="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8 880,0</a:t>
                      </a:r>
                    </a:p>
                  </a:txBody>
                  <a:tcPr marL="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2062555"/>
                  </a:ext>
                </a:extLst>
              </a:tr>
            </a:tbl>
          </a:graphicData>
        </a:graphic>
      </p:graphicFrame>
      <p:graphicFrame>
        <p:nvGraphicFramePr>
          <p:cNvPr id="52" name="Таблица 51"/>
          <p:cNvGraphicFramePr>
            <a:graphicFrameLocks noGrp="1"/>
          </p:cNvGraphicFramePr>
          <p:nvPr>
            <p:extLst/>
          </p:nvPr>
        </p:nvGraphicFramePr>
        <p:xfrm>
          <a:off x="7000084" y="1909778"/>
          <a:ext cx="5020873" cy="6396218"/>
        </p:xfrm>
        <a:graphic>
          <a:graphicData uri="http://schemas.openxmlformats.org/drawingml/2006/table">
            <a:tbl>
              <a:tblPr/>
              <a:tblGrid>
                <a:gridCol w="2308303">
                  <a:extLst>
                    <a:ext uri="{9D8B030D-6E8A-4147-A177-3AD203B41FA5}">
                      <a16:colId xmlns:a16="http://schemas.microsoft.com/office/drawing/2014/main" val="2906442280"/>
                    </a:ext>
                  </a:extLst>
                </a:gridCol>
                <a:gridCol w="1469204">
                  <a:extLst>
                    <a:ext uri="{9D8B030D-6E8A-4147-A177-3AD203B41FA5}">
                      <a16:colId xmlns:a16="http://schemas.microsoft.com/office/drawing/2014/main" val="1113565480"/>
                    </a:ext>
                  </a:extLst>
                </a:gridCol>
                <a:gridCol w="1243366">
                  <a:extLst>
                    <a:ext uri="{9D8B030D-6E8A-4147-A177-3AD203B41FA5}">
                      <a16:colId xmlns:a16="http://schemas.microsoft.com/office/drawing/2014/main" val="2535427690"/>
                    </a:ext>
                  </a:extLst>
                </a:gridCol>
              </a:tblGrid>
              <a:tr h="381281">
                <a:tc>
                  <a:txBody>
                    <a:bodyPr/>
                    <a:lstStyle/>
                    <a:p>
                      <a:pPr marL="0" marR="0" lvl="0" indent="0" algn="ctr" defTabSz="115214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Субъект</a:t>
                      </a:r>
                      <a:r>
                        <a:rPr lang="ru-RU" sz="900" b="1" i="0" u="none" strike="noStrike" baseline="0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 Российской Федерации</a:t>
                      </a:r>
                      <a:endParaRPr lang="ru-RU" sz="900" b="1" i="0" u="none" strike="noStrike" dirty="0" smtClean="0">
                        <a:solidFill>
                          <a:srgbClr val="FFFFFF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Сумма финансирования в 2017-2019 гг. (реализованные проекты*), </a:t>
                      </a:r>
                      <a:r>
                        <a:rPr lang="ru-RU" sz="9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млн руб. </a:t>
                      </a:r>
                      <a:r>
                        <a:rPr lang="ru-RU" sz="9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с НДС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Кол-во реализованных лизинговых проектов в 2017-2019 гг.</a:t>
                      </a:r>
                      <a:endParaRPr lang="ru-RU" sz="900" b="1" i="0" u="none" strike="noStrike" dirty="0">
                        <a:solidFill>
                          <a:srgbClr val="FFFFFF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44026252"/>
                  </a:ext>
                </a:extLst>
              </a:tr>
              <a:tr h="120782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рхангельская область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5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99223828"/>
                  </a:ext>
                </a:extLst>
              </a:tr>
              <a:tr h="120782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ладимирская область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157,7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91099288"/>
                  </a:ext>
                </a:extLst>
              </a:tr>
              <a:tr h="120782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олгоградская область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2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5002534"/>
                  </a:ext>
                </a:extLst>
              </a:tr>
              <a:tr h="120782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ологодская область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27,6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24811594"/>
                  </a:ext>
                </a:extLst>
              </a:tr>
              <a:tr h="120782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г. Москва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256,3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7731711"/>
                  </a:ext>
                </a:extLst>
              </a:tr>
              <a:tr h="120782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Забайкальский край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8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6744991"/>
                  </a:ext>
                </a:extLst>
              </a:tr>
              <a:tr h="120782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ркутская область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93,2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7296693"/>
                  </a:ext>
                </a:extLst>
              </a:tr>
              <a:tr h="120782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абардино-Балкарская Республика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167,8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20528802"/>
                  </a:ext>
                </a:extLst>
              </a:tr>
              <a:tr h="120782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алужская область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11,7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96116454"/>
                  </a:ext>
                </a:extLst>
              </a:tr>
              <a:tr h="120782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амчатский край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13,2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73292040"/>
                  </a:ext>
                </a:extLst>
              </a:tr>
              <a:tr h="120782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раснодарский край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19,7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77578998"/>
                  </a:ext>
                </a:extLst>
              </a:tr>
              <a:tr h="120782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расноярский край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31,0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0111502"/>
                  </a:ext>
                </a:extLst>
              </a:tr>
              <a:tr h="120782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урганская область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12,5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9072841"/>
                  </a:ext>
                </a:extLst>
              </a:tr>
              <a:tr h="120782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гаданская область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1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4276067"/>
                  </a:ext>
                </a:extLst>
              </a:tr>
              <a:tr h="120782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осковская область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80,3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76307782"/>
                  </a:ext>
                </a:extLst>
              </a:tr>
              <a:tr h="120782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ижегородская область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14,7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0888380"/>
                  </a:ext>
                </a:extLst>
              </a:tr>
              <a:tr h="120782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овгородская область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4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51782889"/>
                  </a:ext>
                </a:extLst>
              </a:tr>
              <a:tr h="120782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ренбургская область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77,5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60359446"/>
                  </a:ext>
                </a:extLst>
              </a:tr>
              <a:tr h="120782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ензенская область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13,3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76845972"/>
                  </a:ext>
                </a:extLst>
              </a:tr>
              <a:tr h="120782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иморский край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28,0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00022706"/>
                  </a:ext>
                </a:extLst>
              </a:tr>
              <a:tr h="120782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сковская область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58,2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4085444"/>
                  </a:ext>
                </a:extLst>
              </a:tr>
              <a:tr h="120782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еспублика Башкортостан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681,7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93675556"/>
                  </a:ext>
                </a:extLst>
              </a:tr>
              <a:tr h="120782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еспублика Крым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75,5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43294925"/>
                  </a:ext>
                </a:extLst>
              </a:tr>
              <a:tr h="120782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еспублика Мордовия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23,0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80030563"/>
                  </a:ext>
                </a:extLst>
              </a:tr>
              <a:tr h="120782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еспублика Саха (Якутия)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79,0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75690878"/>
                  </a:ext>
                </a:extLst>
              </a:tr>
              <a:tr h="120782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еспублика Татарстан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30,8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47438041"/>
                  </a:ext>
                </a:extLst>
              </a:tr>
              <a:tr h="120782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язанская область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26,9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17703894"/>
                  </a:ext>
                </a:extLst>
              </a:tr>
              <a:tr h="120782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марская область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39,0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96862077"/>
                  </a:ext>
                </a:extLst>
              </a:tr>
              <a:tr h="120782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г. Санкт-Петербург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38,6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70170523"/>
                  </a:ext>
                </a:extLst>
              </a:tr>
              <a:tr h="120782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халинская область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11,9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18521848"/>
                  </a:ext>
                </a:extLst>
              </a:tr>
              <a:tr h="120782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моленская область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61,6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74799187"/>
                  </a:ext>
                </a:extLst>
              </a:tr>
              <a:tr h="120782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тавропольский край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10,4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74614815"/>
                  </a:ext>
                </a:extLst>
              </a:tr>
              <a:tr h="120782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омская область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170,0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35612242"/>
                  </a:ext>
                </a:extLst>
              </a:tr>
              <a:tr h="120782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ульская область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27,0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57071686"/>
                  </a:ext>
                </a:extLst>
              </a:tr>
              <a:tr h="120782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дмуртская Республика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16,1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29485160"/>
                  </a:ext>
                </a:extLst>
              </a:tr>
              <a:tr h="120782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льяновская область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9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54645029"/>
                  </a:ext>
                </a:extLst>
              </a:tr>
              <a:tr h="120782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Хабаровский край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13,2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55133427"/>
                  </a:ext>
                </a:extLst>
              </a:tr>
              <a:tr h="289178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Ханты-Мансийский автономный округ - Югра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6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034511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Челябинская область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225,4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3822698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Чукотский автономный округ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45,7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02756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Ярославская область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214,4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3342203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того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</a:t>
                      </a:r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5,3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4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9567333"/>
                  </a:ext>
                </a:extLst>
              </a:tr>
            </a:tbl>
          </a:graphicData>
        </a:graphic>
      </p:graphicFrame>
      <p:sp>
        <p:nvSpPr>
          <p:cNvPr id="53" name="TextBox 52"/>
          <p:cNvSpPr txBox="1"/>
          <p:nvPr/>
        </p:nvSpPr>
        <p:spPr>
          <a:xfrm>
            <a:off x="244570" y="4126624"/>
            <a:ext cx="6576866" cy="369332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труктура портфеля РЛК по видам экономической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еятельности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***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cxnSp>
        <p:nvCxnSpPr>
          <p:cNvPr id="54" name="Прямая соединительная линия 53"/>
          <p:cNvCxnSpPr/>
          <p:nvPr/>
        </p:nvCxnSpPr>
        <p:spPr>
          <a:xfrm>
            <a:off x="244571" y="4502064"/>
            <a:ext cx="631388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518493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Выноска со стрелкой вниз 49"/>
          <p:cNvSpPr/>
          <p:nvPr/>
        </p:nvSpPr>
        <p:spPr>
          <a:xfrm>
            <a:off x="607378" y="3215251"/>
            <a:ext cx="11389547" cy="840807"/>
          </a:xfrm>
          <a:prstGeom prst="downArrowCallout">
            <a:avLst>
              <a:gd name="adj1" fmla="val 17668"/>
              <a:gd name="adj2" fmla="val 36125"/>
              <a:gd name="adj3" fmla="val 25000"/>
              <a:gd name="adj4" fmla="val 68643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3838640" y="49304"/>
            <a:ext cx="8267364" cy="85108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еализованные мероприятия по внедрению наилучших региональных практик управления системой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20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ельхозкооперации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в субъектах РФ</a:t>
            </a:r>
          </a:p>
        </p:txBody>
      </p:sp>
      <p:sp>
        <p:nvSpPr>
          <p:cNvPr id="360" name="Прямоугольник 359"/>
          <p:cNvSpPr/>
          <p:nvPr/>
        </p:nvSpPr>
        <p:spPr>
          <a:xfrm>
            <a:off x="603488" y="4505852"/>
            <a:ext cx="11374357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</a:rPr>
              <a:t>Лучшие практики</a:t>
            </a: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</a:rPr>
              <a:t>,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</a:rPr>
              <a:t> включенные в региональные программы развития сельскохозяйственной кооперации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/>
            </a:endParaRPr>
          </a:p>
        </p:txBody>
      </p:sp>
      <p:sp>
        <p:nvSpPr>
          <p:cNvPr id="366" name="Прямоугольник 365"/>
          <p:cNvSpPr/>
          <p:nvPr/>
        </p:nvSpPr>
        <p:spPr>
          <a:xfrm>
            <a:off x="285256" y="2927857"/>
            <a:ext cx="11533206" cy="707886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5406F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</a:rPr>
              <a:t>Разработаны и утверждены проектным комитетом 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</a:rPr>
              <a:t>Рекомендации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</a:rPr>
              <a:t> 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25406F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</a:rPr>
              <a:t>по разработке программ развития сельхозкооперации в субъектах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5406F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</a:rPr>
              <a:t>РФ 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25406F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</a:rPr>
              <a:t>(проектный комитет «Малый бизнес и поддержка индивидуальной предпринимательской инициативы», протокол от 13.03.2017 № </a:t>
            </a: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5406F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</a:rPr>
              <a:t>15(2))</a:t>
            </a: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srgbClr val="25406F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/>
            </a:endParaRPr>
          </a:p>
        </p:txBody>
      </p:sp>
      <p:grpSp>
        <p:nvGrpSpPr>
          <p:cNvPr id="11" name="Группа 10"/>
          <p:cNvGrpSpPr/>
          <p:nvPr/>
        </p:nvGrpSpPr>
        <p:grpSpPr>
          <a:xfrm>
            <a:off x="285256" y="3578920"/>
            <a:ext cx="10614508" cy="858939"/>
            <a:chOff x="635498" y="3670735"/>
            <a:chExt cx="9795003" cy="936753"/>
          </a:xfrm>
        </p:grpSpPr>
        <p:sp>
          <p:nvSpPr>
            <p:cNvPr id="4" name="Прямоугольник 3"/>
            <p:cNvSpPr/>
            <p:nvPr/>
          </p:nvSpPr>
          <p:spPr>
            <a:xfrm>
              <a:off x="635499" y="3838534"/>
              <a:ext cx="6820368" cy="73356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2" name="object 8"/>
            <p:cNvSpPr txBox="1"/>
            <p:nvPr/>
          </p:nvSpPr>
          <p:spPr>
            <a:xfrm>
              <a:off x="8719328" y="4028849"/>
              <a:ext cx="1711173" cy="24622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451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25406F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субъектах </a:t>
              </a:r>
              <a:r>
                <a:rPr kumimoji="0" 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25406F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РФ</a:t>
              </a:r>
              <a:endParaRPr kumimoji="0" sz="1600" b="1" i="0" u="none" strike="noStrike" kern="1200" cap="none" spc="0" normalizeH="0" baseline="0" noProof="0" dirty="0">
                <a:ln>
                  <a:noFill/>
                </a:ln>
                <a:solidFill>
                  <a:srgbClr val="25406F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353" name="object 12"/>
            <p:cNvSpPr txBox="1"/>
            <p:nvPr/>
          </p:nvSpPr>
          <p:spPr>
            <a:xfrm>
              <a:off x="8165189" y="3670735"/>
              <a:ext cx="572386" cy="811176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4510" marR="0" lvl="0" indent="0" algn="l" defTabSz="457200" rtl="0" eaLnBrk="1" fontAlgn="auto" latinLnBrk="0" hangingPunct="1">
                <a:lnSpc>
                  <a:spcPts val="5838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113" b="1" i="0" u="none" strike="noStrike" kern="1200" cap="none" spc="-114" normalizeH="0" baseline="0" noProof="0" dirty="0" smtClean="0">
                  <a:ln>
                    <a:noFill/>
                  </a:ln>
                  <a:solidFill>
                    <a:srgbClr val="ED7D31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/>
                </a:rPr>
                <a:t>80</a:t>
              </a:r>
              <a:endParaRPr kumimoji="0" sz="1028" b="0" i="0" u="none" strike="noStrike" kern="1200" cap="none" spc="-114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</a:endParaRPr>
            </a:p>
          </p:txBody>
        </p:sp>
        <p:sp>
          <p:nvSpPr>
            <p:cNvPr id="354" name="Прямоугольник 353"/>
            <p:cNvSpPr/>
            <p:nvPr/>
          </p:nvSpPr>
          <p:spPr>
            <a:xfrm>
              <a:off x="635498" y="3835473"/>
              <a:ext cx="7578789" cy="77201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0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25406F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/>
                </a:rPr>
                <a:t>Приняты </a:t>
              </a:r>
              <a:r>
                <a:rPr kumimoji="0" lang="ru-RU" sz="20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ED7D31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/>
                </a:rPr>
                <a:t>Комплексные </a:t>
              </a:r>
              <a:r>
                <a:rPr kumimoji="0" lang="ru-RU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ED7D31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/>
                </a:rPr>
                <a:t>программы </a:t>
              </a:r>
              <a:r>
                <a:rPr kumimoji="0" lang="ru-RU" sz="20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25406F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/>
                </a:rPr>
                <a:t>развития </a:t>
              </a:r>
              <a:r>
                <a:rPr kumimoji="0" lang="ru-RU" sz="20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4546A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/>
                </a:rPr>
                <a:t>сельскохозяйственной кооперации</a:t>
              </a:r>
              <a:endPara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</a:endParaRPr>
            </a:p>
          </p:txBody>
        </p:sp>
        <p:sp>
          <p:nvSpPr>
            <p:cNvPr id="358" name="object 8"/>
            <p:cNvSpPr txBox="1"/>
            <p:nvPr/>
          </p:nvSpPr>
          <p:spPr>
            <a:xfrm>
              <a:off x="7917692" y="4039577"/>
              <a:ext cx="416860" cy="24622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451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25406F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в</a:t>
              </a:r>
              <a:endParaRPr kumimoji="0" sz="1600" b="1" i="0" u="none" strike="noStrike" kern="1200" cap="none" spc="0" normalizeH="0" baseline="0" noProof="0" dirty="0">
                <a:ln>
                  <a:noFill/>
                </a:ln>
                <a:solidFill>
                  <a:srgbClr val="25406F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367" name="Прямоугольник 366"/>
            <p:cNvSpPr/>
            <p:nvPr/>
          </p:nvSpPr>
          <p:spPr>
            <a:xfrm>
              <a:off x="7599461" y="4276342"/>
              <a:ext cx="2096381" cy="31167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57" b="0" i="1" u="none" strike="noStrike" kern="1200" cap="none" spc="0" normalizeH="0" baseline="0" noProof="0" dirty="0" smtClean="0">
                  <a:ln>
                    <a:noFill/>
                  </a:ln>
                  <a:solidFill>
                    <a:srgbClr val="4472C4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(</a:t>
              </a:r>
              <a:r>
                <a:rPr kumimoji="0" lang="ru-RU" sz="1257" b="0" i="1" u="none" strike="noStrike" kern="1200" cap="none" spc="0" normalizeH="0" baseline="0" noProof="0" dirty="0">
                  <a:ln>
                    <a:noFill/>
                  </a:ln>
                  <a:solidFill>
                    <a:srgbClr val="4472C4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п</a:t>
              </a:r>
              <a:r>
                <a:rPr kumimoji="0" lang="ru-RU" sz="1257" b="0" i="1" u="none" strike="noStrike" kern="1200" cap="none" spc="0" normalizeH="0" baseline="0" noProof="0" dirty="0" smtClean="0">
                  <a:ln>
                    <a:noFill/>
                  </a:ln>
                  <a:solidFill>
                    <a:srgbClr val="4472C4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о </a:t>
              </a:r>
              <a:r>
                <a:rPr kumimoji="0" lang="ru-RU" sz="1257" b="0" i="1" u="none" strike="noStrike" kern="1200" cap="none" spc="0" normalizeH="0" baseline="0" noProof="0" dirty="0">
                  <a:ln>
                    <a:noFill/>
                  </a:ln>
                  <a:solidFill>
                    <a:srgbClr val="4472C4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состоянию на </a:t>
              </a:r>
              <a:r>
                <a:rPr kumimoji="0" lang="ru-RU" sz="1257" b="0" i="1" u="none" strike="noStrike" kern="1200" cap="none" spc="0" normalizeH="0" baseline="0" noProof="0" dirty="0" smtClean="0">
                  <a:ln>
                    <a:noFill/>
                  </a:ln>
                  <a:solidFill>
                    <a:srgbClr val="4472C4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13 мая 2019 </a:t>
              </a:r>
              <a:r>
                <a:rPr kumimoji="0" lang="ru-RU" sz="1257" b="0" i="1" u="none" strike="noStrike" kern="1200" cap="none" spc="0" normalizeH="0" baseline="0" noProof="0" dirty="0">
                  <a:ln>
                    <a:noFill/>
                  </a:ln>
                  <a:solidFill>
                    <a:srgbClr val="4472C4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г.)</a:t>
              </a:r>
            </a:p>
          </p:txBody>
        </p:sp>
      </p:grpSp>
      <p:sp>
        <p:nvSpPr>
          <p:cNvPr id="47" name="Прямоугольник 46"/>
          <p:cNvSpPr/>
          <p:nvPr/>
        </p:nvSpPr>
        <p:spPr>
          <a:xfrm>
            <a:off x="282575" y="2386779"/>
            <a:ext cx="12030075" cy="443968"/>
          </a:xfrm>
          <a:prstGeom prst="rect">
            <a:avLst/>
          </a:prstGeom>
          <a:solidFill>
            <a:srgbClr val="A2C9F4"/>
          </a:solidFill>
          <a:ln>
            <a:solidFill>
              <a:schemeClr val="bg1"/>
            </a:solidFill>
          </a:ln>
        </p:spPr>
        <p:txBody>
          <a:bodyPr wrap="square" lIns="72000" tIns="72000" rIns="72000" bIns="72000" anchor="ctr" anchorCtr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25406F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</a:rPr>
              <a:t>Проведен 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</a:rPr>
              <a:t>анализ наилучших региональных практик</a:t>
            </a:r>
            <a:r>
              <a:rPr kumimoji="0" lang="ru-RU" sz="2285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</a:rPr>
              <a:t>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5406F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</a:rPr>
              <a:t>Липецкая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25406F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</a:rPr>
              <a:t>обл., Тюменская обл., Республика Саха (Якутия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5406F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</a:rPr>
              <a:t>)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BC0512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/>
            </a:endParaRPr>
          </a:p>
        </p:txBody>
      </p:sp>
      <p:sp>
        <p:nvSpPr>
          <p:cNvPr id="69" name="Выноска со стрелкой вниз 68"/>
          <p:cNvSpPr/>
          <p:nvPr/>
        </p:nvSpPr>
        <p:spPr>
          <a:xfrm>
            <a:off x="282576" y="1006472"/>
            <a:ext cx="12030074" cy="1369363"/>
          </a:xfrm>
          <a:prstGeom prst="downArrowCallout">
            <a:avLst>
              <a:gd name="adj1" fmla="val 18699"/>
              <a:gd name="adj2" fmla="val 21189"/>
              <a:gd name="adj3" fmla="val 12046"/>
              <a:gd name="adj4" fmla="val 83264"/>
            </a:avLst>
          </a:prstGeom>
          <a:solidFill>
            <a:srgbClr val="A2C9F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0" name="Прямоугольник 69"/>
          <p:cNvSpPr/>
          <p:nvPr/>
        </p:nvSpPr>
        <p:spPr>
          <a:xfrm>
            <a:off x="280825" y="1022200"/>
            <a:ext cx="11270989" cy="6594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25406F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</a:rPr>
              <a:t>Создана 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</a:rPr>
              <a:t>рабочая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</a:rPr>
              <a:t>группа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</a:rPr>
              <a:t>, действующая на постоянной основе</a:t>
            </a:r>
            <a:r>
              <a:rPr kumimoji="0" lang="ru-RU" sz="2285" b="1" i="0" u="none" strike="noStrike" kern="1200" cap="none" spc="0" normalizeH="0" baseline="0" noProof="0" dirty="0" smtClean="0">
                <a:ln>
                  <a:noFill/>
                </a:ln>
                <a:solidFill>
                  <a:srgbClr val="25406F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</a:rPr>
              <a:t>: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5406F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</a:rPr>
              <a:t>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25406F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</a:rPr>
              <a:t>АО «Корпорация «МСП», Минсельхоз России, Минэкономразвития России, Банк России, АО «Россельхозбанк», Центросоюз Российской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5406F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</a:rPr>
              <a:t>Федерации, субъекты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25406F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</a:rPr>
              <a:t>Российской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5406F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</a:rPr>
              <a:t>Федерации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BC0512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/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7211" y="1758789"/>
            <a:ext cx="1156145" cy="314327"/>
          </a:xfrm>
          <a:prstGeom prst="rect">
            <a:avLst/>
          </a:prstGeom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5610" y="1539104"/>
            <a:ext cx="1366811" cy="911207"/>
          </a:xfrm>
          <a:prstGeom prst="rect">
            <a:avLst/>
          </a:prstGeom>
        </p:spPr>
      </p:pic>
      <p:pic>
        <p:nvPicPr>
          <p:cNvPr id="17" name="Рисунок 1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71222" y="1710675"/>
            <a:ext cx="1576456" cy="373176"/>
          </a:xfrm>
          <a:prstGeom prst="rect">
            <a:avLst/>
          </a:prstGeom>
        </p:spPr>
      </p:pic>
      <p:pic>
        <p:nvPicPr>
          <p:cNvPr id="18" name="Рисунок 17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5474"/>
          <a:stretch/>
        </p:blipFill>
        <p:spPr>
          <a:xfrm>
            <a:off x="3096045" y="1666839"/>
            <a:ext cx="1077035" cy="466761"/>
          </a:xfrm>
          <a:prstGeom prst="rect">
            <a:avLst/>
          </a:prstGeom>
        </p:spPr>
      </p:pic>
      <p:pic>
        <p:nvPicPr>
          <p:cNvPr id="19" name="Рисунок 18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40820" y="1506521"/>
            <a:ext cx="1746265" cy="789571"/>
          </a:xfrm>
          <a:prstGeom prst="rect">
            <a:avLst/>
          </a:prstGeom>
        </p:spPr>
      </p:pic>
      <p:pic>
        <p:nvPicPr>
          <p:cNvPr id="20" name="Рисунок 19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8268" y="1650452"/>
            <a:ext cx="670108" cy="461860"/>
          </a:xfrm>
          <a:prstGeom prst="rect">
            <a:avLst/>
          </a:prstGeom>
        </p:spPr>
      </p:pic>
      <p:pic>
        <p:nvPicPr>
          <p:cNvPr id="21" name="Рисунок 20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116"/>
          <a:stretch/>
        </p:blipFill>
        <p:spPr>
          <a:xfrm>
            <a:off x="11185674" y="1610843"/>
            <a:ext cx="529719" cy="495360"/>
          </a:xfrm>
          <a:prstGeom prst="rect">
            <a:avLst/>
          </a:prstGeom>
        </p:spPr>
      </p:pic>
      <p:pic>
        <p:nvPicPr>
          <p:cNvPr id="23" name="Рисунок 22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06046" y="1666839"/>
            <a:ext cx="418984" cy="452820"/>
          </a:xfrm>
          <a:prstGeom prst="rect">
            <a:avLst/>
          </a:prstGeom>
        </p:spPr>
      </p:pic>
      <p:pic>
        <p:nvPicPr>
          <p:cNvPr id="24" name="Рисунок 23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15240" y="1677892"/>
            <a:ext cx="448769" cy="441768"/>
          </a:xfrm>
          <a:prstGeom prst="rect">
            <a:avLst/>
          </a:prstGeom>
        </p:spPr>
      </p:pic>
      <p:pic>
        <p:nvPicPr>
          <p:cNvPr id="25" name="Рисунок 24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49939" y="1677892"/>
            <a:ext cx="458090" cy="451679"/>
          </a:xfrm>
          <a:prstGeom prst="rect">
            <a:avLst/>
          </a:prstGeom>
        </p:spPr>
      </p:pic>
      <p:pic>
        <p:nvPicPr>
          <p:cNvPr id="26" name="Рисунок 25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9658" y="1693369"/>
            <a:ext cx="349690" cy="418164"/>
          </a:xfrm>
          <a:prstGeom prst="rect">
            <a:avLst/>
          </a:prstGeom>
        </p:spPr>
      </p:pic>
      <p:pic>
        <p:nvPicPr>
          <p:cNvPr id="27" name="Рисунок 26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76780" y="1677893"/>
            <a:ext cx="435666" cy="452277"/>
          </a:xfrm>
          <a:prstGeom prst="rect">
            <a:avLst/>
          </a:prstGeom>
        </p:spPr>
      </p:pic>
      <p:pic>
        <p:nvPicPr>
          <p:cNvPr id="33" name="Рисунок 32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cxnSp>
        <p:nvCxnSpPr>
          <p:cNvPr id="36" name="Прямая соединительная линия 35"/>
          <p:cNvCxnSpPr/>
          <p:nvPr/>
        </p:nvCxnSpPr>
        <p:spPr>
          <a:xfrm>
            <a:off x="282575" y="900113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Прямоугольник 36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5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aphicFrame>
        <p:nvGraphicFramePr>
          <p:cNvPr id="32" name="Таблица 31"/>
          <p:cNvGraphicFramePr>
            <a:graphicFrameLocks noGrp="1"/>
          </p:cNvGraphicFramePr>
          <p:nvPr>
            <p:extLst/>
          </p:nvPr>
        </p:nvGraphicFramePr>
        <p:xfrm>
          <a:off x="793366" y="4832647"/>
          <a:ext cx="10994600" cy="348981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69907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00724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28827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762756"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ru-RU" sz="16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Меры поддержки</a:t>
                      </a:r>
                      <a:endParaRPr kumimoji="0" lang="ru-RU" sz="16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6991" marR="6991" marT="6993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kumimoji="0" lang="ru-RU" sz="16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Содержание меры поддержки</a:t>
                      </a:r>
                      <a:endParaRPr kumimoji="0" lang="ru-RU" sz="16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6991" marR="6991" marT="6993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kumimoji="0" lang="ru-RU" sz="1000" b="1" i="0" u="none" strike="noStrike" kern="1200" cap="none" spc="0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Arial"/>
                      </a:endParaRPr>
                    </a:p>
                    <a:p>
                      <a:pPr algn="ctr" fontAlgn="t"/>
                      <a:r>
                        <a:rPr kumimoji="0" lang="ru-RU" sz="16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Доля субъектов РФ, внедривших лучшую практику</a:t>
                      </a:r>
                    </a:p>
                  </a:txBody>
                  <a:tcPr marL="6991" marR="6991" marT="6993" marB="0"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2560">
                <a:tc rowSpan="3">
                  <a:txBody>
                    <a:bodyPr/>
                    <a:lstStyle/>
                    <a:p>
                      <a:pPr marL="108000" lvl="0" algn="l" fontAlgn="ctr"/>
                      <a:r>
                        <a:rPr kumimoji="0" lang="ru-RU" sz="12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25406F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Финансовые</a:t>
                      </a:r>
                      <a:endParaRPr kumimoji="0" lang="ru-RU" sz="12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25406F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6991" marR="6991" marT="6993" marB="0" anchor="ctr">
                    <a:solidFill>
                      <a:srgbClr val="E7F5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52144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 smtClean="0">
                          <a:solidFill>
                            <a:srgbClr val="25406F"/>
                          </a:solidFill>
                          <a:latin typeface="+mj-lt"/>
                          <a:ea typeface="+mn-ea"/>
                          <a:cs typeface="Arial"/>
                        </a:rPr>
                        <a:t>Грантовая поддержка на развитие материально-технической базы сельхозкооперативов</a:t>
                      </a:r>
                    </a:p>
                  </a:txBody>
                  <a:tcPr marL="6991" marR="6991" marT="6993" marB="0">
                    <a:solidFill>
                      <a:srgbClr val="E7F5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kumimoji="0" lang="ru-RU" sz="12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25406F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Arial"/>
                        </a:rPr>
                        <a:t>94 %</a:t>
                      </a:r>
                      <a:endParaRPr kumimoji="0" lang="ru-RU" sz="12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25406F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Arial"/>
                      </a:endParaRPr>
                    </a:p>
                  </a:txBody>
                  <a:tcPr marL="6991" marR="6991" marT="6993" marB="0" anchor="ctr">
                    <a:solidFill>
                      <a:srgbClr val="E7F5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694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1152144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 smtClean="0">
                          <a:solidFill>
                            <a:srgbClr val="25406F"/>
                          </a:solidFill>
                          <a:latin typeface="+mj-lt"/>
                          <a:ea typeface="+mn-ea"/>
                          <a:cs typeface="Arial"/>
                        </a:rPr>
                        <a:t>Предоставление субсидий сельскохозяйственным кооперативам на снабжение членов кооператива и закупку продукции, произведенной членами кооператива </a:t>
                      </a:r>
                    </a:p>
                  </a:txBody>
                  <a:tcPr marL="6991" marR="6991" marT="6993" marB="0">
                    <a:solidFill>
                      <a:srgbClr val="E7F5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kumimoji="0" lang="ru-RU" sz="12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25406F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Arial"/>
                        </a:rPr>
                        <a:t>25 %</a:t>
                      </a:r>
                      <a:endParaRPr kumimoji="0" lang="ru-RU" sz="12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25406F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Arial"/>
                      </a:endParaRPr>
                    </a:p>
                  </a:txBody>
                  <a:tcPr marL="6991" marR="6991" marT="6993" marB="0" anchor="ctr">
                    <a:solidFill>
                      <a:srgbClr val="E7F5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6256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1152144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 smtClean="0">
                          <a:solidFill>
                            <a:srgbClr val="25406F"/>
                          </a:solidFill>
                          <a:latin typeface="+mj-lt"/>
                          <a:ea typeface="+mn-ea"/>
                          <a:cs typeface="Arial"/>
                        </a:rPr>
                        <a:t>Установление квоты РГО и МФО для сельхозкооперативов </a:t>
                      </a:r>
                    </a:p>
                  </a:txBody>
                  <a:tcPr marL="6991" marR="6991" marT="6993" marB="0">
                    <a:solidFill>
                      <a:srgbClr val="E7F5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kumimoji="0" lang="ru-RU" sz="12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25406F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Arial"/>
                        </a:rPr>
                        <a:t>8 %</a:t>
                      </a:r>
                      <a:endParaRPr kumimoji="0" lang="ru-RU" sz="12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25406F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Arial"/>
                      </a:endParaRPr>
                    </a:p>
                  </a:txBody>
                  <a:tcPr marL="6991" marR="6991" marT="6993" marB="0" anchor="ctr">
                    <a:solidFill>
                      <a:srgbClr val="E7F5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62560">
                <a:tc rowSpan="2">
                  <a:txBody>
                    <a:bodyPr/>
                    <a:lstStyle/>
                    <a:p>
                      <a:pPr marL="108000" lvl="0" algn="l" fontAlgn="ctr"/>
                      <a:r>
                        <a:rPr kumimoji="0" lang="ru-RU" sz="12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25406F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Организационные </a:t>
                      </a:r>
                      <a:r>
                        <a:rPr kumimoji="0" lang="ru-RU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25406F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и </a:t>
                      </a:r>
                      <a:r>
                        <a:rPr kumimoji="0" lang="ru-RU" sz="12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25406F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информационно-консультационные</a:t>
                      </a:r>
                      <a:endParaRPr kumimoji="0" lang="ru-RU" sz="12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25406F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6991" marR="6991" marT="6993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kern="1200" dirty="0">
                          <a:solidFill>
                            <a:srgbClr val="25406F"/>
                          </a:solidFill>
                          <a:latin typeface="+mj-lt"/>
                          <a:ea typeface="+mn-ea"/>
                          <a:cs typeface="Arial"/>
                        </a:rPr>
                        <a:t>Центр развития кооперации (центр компетенций в сфере сельскохозяйственной кооперации) </a:t>
                      </a:r>
                    </a:p>
                  </a:txBody>
                  <a:tcPr marL="6991" marR="6991" marT="6993" marB="0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kumimoji="0" lang="ru-RU" sz="12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25406F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Arial"/>
                        </a:rPr>
                        <a:t>86 %</a:t>
                      </a:r>
                      <a:endParaRPr kumimoji="0" lang="ru-RU" sz="12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25406F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Arial"/>
                      </a:endParaRPr>
                    </a:p>
                  </a:txBody>
                  <a:tcPr marL="6991" marR="6991" marT="6993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694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kern="1200" dirty="0">
                          <a:solidFill>
                            <a:srgbClr val="25406F"/>
                          </a:solidFill>
                          <a:latin typeface="+mj-lt"/>
                          <a:ea typeface="+mn-ea"/>
                          <a:cs typeface="Arial"/>
                        </a:rPr>
                        <a:t>Трёхуровневая система управления </a:t>
                      </a:r>
                      <a:r>
                        <a:rPr lang="ru-RU" sz="1000" kern="1200" dirty="0" smtClean="0">
                          <a:solidFill>
                            <a:srgbClr val="25406F"/>
                          </a:solidFill>
                          <a:latin typeface="+mj-lt"/>
                          <a:ea typeface="+mn-ea"/>
                          <a:cs typeface="Arial"/>
                        </a:rPr>
                        <a:t>развитием сельскохозяйственной кооперации </a:t>
                      </a:r>
                    </a:p>
                    <a:p>
                      <a:pPr algn="ctr" fontAlgn="t"/>
                      <a:r>
                        <a:rPr lang="ru-RU" sz="1000" kern="1200" dirty="0" smtClean="0">
                          <a:solidFill>
                            <a:srgbClr val="25406F"/>
                          </a:solidFill>
                          <a:latin typeface="+mj-lt"/>
                          <a:ea typeface="+mn-ea"/>
                          <a:cs typeface="Arial"/>
                        </a:rPr>
                        <a:t>(область </a:t>
                      </a:r>
                      <a:r>
                        <a:rPr lang="ru-RU" sz="1000" kern="1200" dirty="0">
                          <a:solidFill>
                            <a:srgbClr val="25406F"/>
                          </a:solidFill>
                          <a:latin typeface="+mj-lt"/>
                          <a:ea typeface="+mn-ea"/>
                          <a:cs typeface="Arial"/>
                        </a:rPr>
                        <a:t>+ район + поселение</a:t>
                      </a:r>
                      <a:r>
                        <a:rPr lang="ru-RU" sz="1000" kern="1200" dirty="0" smtClean="0">
                          <a:solidFill>
                            <a:srgbClr val="25406F"/>
                          </a:solidFill>
                          <a:latin typeface="+mj-lt"/>
                          <a:ea typeface="+mn-ea"/>
                          <a:cs typeface="Arial"/>
                        </a:rPr>
                        <a:t>)</a:t>
                      </a:r>
                      <a:endParaRPr lang="ru-RU" sz="1000" kern="1200" dirty="0">
                        <a:solidFill>
                          <a:srgbClr val="25406F"/>
                        </a:solidFill>
                        <a:latin typeface="+mj-lt"/>
                        <a:ea typeface="+mn-ea"/>
                        <a:cs typeface="Arial"/>
                      </a:endParaRPr>
                    </a:p>
                  </a:txBody>
                  <a:tcPr marL="6991" marR="6991" marT="6993" marB="0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kumimoji="0" lang="ru-RU" sz="12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25406F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Arial"/>
                        </a:rPr>
                        <a:t>26 %</a:t>
                      </a:r>
                      <a:endParaRPr kumimoji="0" lang="ru-RU" sz="12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25406F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Arial"/>
                      </a:endParaRPr>
                    </a:p>
                  </a:txBody>
                  <a:tcPr marL="6991" marR="6991" marT="6993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62560">
                <a:tc rowSpan="3">
                  <a:txBody>
                    <a:bodyPr/>
                    <a:lstStyle/>
                    <a:p>
                      <a:pPr marL="108000" marR="0" lvl="0" indent="0" algn="l" defTabSz="115214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25406F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Организация каналов сбыта продукции СХК</a:t>
                      </a:r>
                    </a:p>
                  </a:txBody>
                  <a:tcPr marL="6991" marR="6991" marT="6993" marB="0" anchor="ctr">
                    <a:solidFill>
                      <a:srgbClr val="E7F5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52144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 smtClean="0">
                          <a:solidFill>
                            <a:srgbClr val="25406F"/>
                          </a:solidFill>
                          <a:latin typeface="+mj-lt"/>
                          <a:ea typeface="+mn-ea"/>
                          <a:cs typeface="Arial"/>
                        </a:rPr>
                        <a:t>Организация участия сельхозкооперативов в ярмарках и выставках</a:t>
                      </a:r>
                    </a:p>
                  </a:txBody>
                  <a:tcPr marL="6991" marR="6991" marT="6993" marB="0">
                    <a:solidFill>
                      <a:srgbClr val="E7F5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52144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25406F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Arial"/>
                        </a:rPr>
                        <a:t>78 %</a:t>
                      </a:r>
                    </a:p>
                  </a:txBody>
                  <a:tcPr marL="6991" marR="6991" marT="6993" marB="0" anchor="ctr">
                    <a:solidFill>
                      <a:srgbClr val="E7F5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47038">
                <a:tc vMerge="1">
                  <a:txBody>
                    <a:bodyPr/>
                    <a:lstStyle/>
                    <a:p>
                      <a:pPr marL="0" marR="0" lvl="0" indent="0" algn="l" defTabSz="115214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400" b="1" i="0" u="none" strike="noStrike" kern="1200" cap="none" spc="0" normalizeH="0" baseline="0" dirty="0" smtClean="0">
                        <a:ln>
                          <a:noFill/>
                        </a:ln>
                        <a:solidFill>
                          <a:srgbClr val="25406F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8238" marR="8238" marT="8238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1152144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 smtClean="0">
                          <a:solidFill>
                            <a:srgbClr val="25406F"/>
                          </a:solidFill>
                          <a:latin typeface="+mj-lt"/>
                          <a:ea typeface="+mn-ea"/>
                          <a:cs typeface="Arial"/>
                        </a:rPr>
                        <a:t>Организация работы с сетевыми магазинами по реализации продукции сельхозкооперативов и фермеров </a:t>
                      </a:r>
                    </a:p>
                  </a:txBody>
                  <a:tcPr marL="6991" marR="6991" marT="6993" marB="0">
                    <a:solidFill>
                      <a:srgbClr val="E7F5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52144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25406F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Arial"/>
                        </a:rPr>
                        <a:t>21 %</a:t>
                      </a:r>
                    </a:p>
                  </a:txBody>
                  <a:tcPr marL="6991" marR="6991" marT="6993" marB="0" anchor="ctr">
                    <a:solidFill>
                      <a:srgbClr val="E7F5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62560">
                <a:tc vMerge="1">
                  <a:txBody>
                    <a:bodyPr/>
                    <a:lstStyle/>
                    <a:p>
                      <a:pPr marL="0" marR="0" lvl="0" indent="0" algn="l" defTabSz="115214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400" b="1" i="0" u="none" strike="noStrike" kern="1200" cap="none" spc="0" normalizeH="0" baseline="0" dirty="0" smtClean="0">
                        <a:ln>
                          <a:noFill/>
                        </a:ln>
                        <a:solidFill>
                          <a:srgbClr val="25406F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8238" marR="8238" marT="8238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1152144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 smtClean="0">
                          <a:solidFill>
                            <a:srgbClr val="25406F"/>
                          </a:solidFill>
                          <a:latin typeface="+mj-lt"/>
                          <a:ea typeface="+mn-ea"/>
                          <a:cs typeface="Arial"/>
                        </a:rPr>
                        <a:t>Создание на базе сельскохозяйственных кооперативов ОРЦ, создание агропромышленных кластеров</a:t>
                      </a:r>
                    </a:p>
                  </a:txBody>
                  <a:tcPr marL="6991" marR="6991" marT="6993" marB="0">
                    <a:solidFill>
                      <a:srgbClr val="E7F5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52144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25406F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Arial"/>
                        </a:rPr>
                        <a:t>10 %</a:t>
                      </a:r>
                    </a:p>
                  </a:txBody>
                  <a:tcPr marL="6991" marR="6991" marT="6993" marB="0" anchor="ctr">
                    <a:solidFill>
                      <a:srgbClr val="E7F5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67122">
                <a:tc>
                  <a:txBody>
                    <a:bodyPr/>
                    <a:lstStyle/>
                    <a:p>
                      <a:pPr marL="108000" lvl="0" algn="l" fontAlgn="ctr"/>
                      <a:r>
                        <a:rPr kumimoji="0" lang="ru-RU" sz="12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25406F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Обучение</a:t>
                      </a:r>
                      <a:r>
                        <a:rPr kumimoji="0" lang="ru-RU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25406F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, подготовка и переподготовка кадров для системы СХК</a:t>
                      </a:r>
                    </a:p>
                  </a:txBody>
                  <a:tcPr marL="6991" marR="6991" marT="6993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kern="1200" dirty="0">
                          <a:solidFill>
                            <a:srgbClr val="25406F"/>
                          </a:solidFill>
                          <a:latin typeface="+mj-lt"/>
                          <a:ea typeface="+mn-ea"/>
                          <a:cs typeface="Arial"/>
                        </a:rPr>
                        <a:t>Образовательные курсы для руководителей и специалистов </a:t>
                      </a:r>
                      <a:r>
                        <a:rPr lang="ru-RU" sz="1000" kern="1200" dirty="0" smtClean="0">
                          <a:solidFill>
                            <a:srgbClr val="25406F"/>
                          </a:solidFill>
                          <a:latin typeface="+mj-lt"/>
                          <a:ea typeface="+mn-ea"/>
                          <a:cs typeface="Arial"/>
                        </a:rPr>
                        <a:t>сельхозкооперативов, </a:t>
                      </a:r>
                      <a:r>
                        <a:rPr lang="ru-RU" sz="1000" kern="1200" dirty="0">
                          <a:solidFill>
                            <a:srgbClr val="25406F"/>
                          </a:solidFill>
                          <a:latin typeface="+mj-lt"/>
                          <a:ea typeface="+mn-ea"/>
                          <a:cs typeface="Arial"/>
                        </a:rPr>
                        <a:t>образовательные проекты («Молодежная кооперация»), </a:t>
                      </a:r>
                      <a:endParaRPr lang="ru-RU" sz="1000" kern="1200" dirty="0" smtClean="0">
                        <a:solidFill>
                          <a:srgbClr val="25406F"/>
                        </a:solidFill>
                        <a:latin typeface="+mj-lt"/>
                        <a:ea typeface="+mn-ea"/>
                        <a:cs typeface="Arial"/>
                      </a:endParaRPr>
                    </a:p>
                    <a:p>
                      <a:pPr algn="ctr" fontAlgn="t"/>
                      <a:r>
                        <a:rPr lang="ru-RU" sz="1000" kern="1200" dirty="0" smtClean="0">
                          <a:solidFill>
                            <a:srgbClr val="25406F"/>
                          </a:solidFill>
                          <a:latin typeface="+mj-lt"/>
                          <a:ea typeface="+mn-ea"/>
                          <a:cs typeface="Arial"/>
                        </a:rPr>
                        <a:t>обучающие </a:t>
                      </a:r>
                      <a:r>
                        <a:rPr lang="ru-RU" sz="1000" kern="1200" dirty="0">
                          <a:solidFill>
                            <a:srgbClr val="25406F"/>
                          </a:solidFill>
                          <a:latin typeface="+mj-lt"/>
                          <a:ea typeface="+mn-ea"/>
                          <a:cs typeface="Arial"/>
                        </a:rPr>
                        <a:t>программы («Школа фермера»)</a:t>
                      </a:r>
                    </a:p>
                  </a:txBody>
                  <a:tcPr marL="6991" marR="6991" marT="6993" marB="0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kumimoji="0" lang="ru-RU" sz="12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25406F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Arial"/>
                        </a:rPr>
                        <a:t>61 %</a:t>
                      </a:r>
                      <a:endParaRPr kumimoji="0" lang="ru-RU" sz="12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25406F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Arial"/>
                      </a:endParaRPr>
                    </a:p>
                  </a:txBody>
                  <a:tcPr marL="6991" marR="6991" marT="6993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66942">
                <a:tc>
                  <a:txBody>
                    <a:bodyPr/>
                    <a:lstStyle/>
                    <a:p>
                      <a:pPr marL="108000" lvl="0" algn="l" fontAlgn="ctr"/>
                      <a:r>
                        <a:rPr kumimoji="0" lang="ru-RU" sz="12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25406F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Законодательные</a:t>
                      </a:r>
                      <a:endParaRPr kumimoji="0" lang="ru-RU" sz="12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25406F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6991" marR="6991" marT="6993" marB="0" anchor="ctr">
                    <a:solidFill>
                      <a:srgbClr val="E7F5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52144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 smtClean="0">
                          <a:solidFill>
                            <a:srgbClr val="25406F"/>
                          </a:solidFill>
                          <a:latin typeface="+mj-lt"/>
                          <a:ea typeface="+mn-ea"/>
                          <a:cs typeface="Arial"/>
                        </a:rPr>
                        <a:t>Налоговые льготы: установление льготного режима налогообложения для сельхозкооперативов и их членов по системе УСН и патентной системе налогообложения</a:t>
                      </a:r>
                    </a:p>
                  </a:txBody>
                  <a:tcPr marL="6991" marR="6991" marT="6993" marB="0">
                    <a:solidFill>
                      <a:srgbClr val="E7F5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52144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25406F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Arial"/>
                        </a:rPr>
                        <a:t>17 %</a:t>
                      </a:r>
                    </a:p>
                  </a:txBody>
                  <a:tcPr marL="6991" marR="6991" marT="6993" marB="0" anchor="ctr">
                    <a:solidFill>
                      <a:srgbClr val="E7F5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685041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Выноска со стрелкой вниз 75"/>
          <p:cNvSpPr/>
          <p:nvPr/>
        </p:nvSpPr>
        <p:spPr>
          <a:xfrm>
            <a:off x="283248" y="1011521"/>
            <a:ext cx="11869748" cy="1211170"/>
          </a:xfrm>
          <a:prstGeom prst="downArrowCallout">
            <a:avLst>
              <a:gd name="adj1" fmla="val 25681"/>
              <a:gd name="adj2" fmla="val 36125"/>
              <a:gd name="adj3" fmla="val 17399"/>
              <a:gd name="adj4" fmla="val 79661"/>
            </a:avLst>
          </a:prstGeom>
          <a:solidFill>
            <a:srgbClr val="A2C9F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3760894" y="-4207"/>
            <a:ext cx="8267364" cy="851085"/>
          </a:xfrm>
          <a:prstGeom prst="rect">
            <a:avLst/>
          </a:prstGeom>
          <a:noFill/>
        </p:spPr>
        <p:txBody>
          <a:bodyPr wrap="square" lIns="72000" tIns="36000" rIns="0" bIns="3600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Центры компетенций в сфере сельхозкооперации</a:t>
            </a:r>
          </a:p>
        </p:txBody>
      </p:sp>
      <p:sp>
        <p:nvSpPr>
          <p:cNvPr id="382" name="Прямоугольник 381"/>
          <p:cNvSpPr/>
          <p:nvPr/>
        </p:nvSpPr>
        <p:spPr>
          <a:xfrm>
            <a:off x="280433" y="1033868"/>
            <a:ext cx="11689453" cy="8701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</a:rPr>
              <a:t>Разработаны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</a:rPr>
              <a:t>Методические рекомендации 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</a:rPr>
              <a:t>по определению положения о центре компетенций в сфере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</a:rPr>
              <a:t>сельскохозяйственной кооперации субъекта Российской Федерации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0" i="1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утверждены </a:t>
            </a:r>
            <a:r>
              <a:rPr kumimoji="0" lang="ru-RU" sz="105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оектным комитетом по основному направлению страт. развития РФ «Малый бизнес и поддержка индивидуальной предпринимательской инициативы», протокол от 28.02.2018 г. № </a:t>
            </a:r>
            <a:r>
              <a:rPr kumimoji="0" lang="ru-RU" sz="1050" b="0" i="1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</a:t>
            </a:r>
            <a:endParaRPr kumimoji="0" lang="ru-RU" sz="105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385" name="Прямоугольник 384"/>
          <p:cNvSpPr/>
          <p:nvPr/>
        </p:nvSpPr>
        <p:spPr>
          <a:xfrm>
            <a:off x="442902" y="3568151"/>
            <a:ext cx="6002759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26469" marR="0" lvl="0" indent="-326469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5406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ессии и семинары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 вопросам организации с/х кооператива</a:t>
            </a:r>
          </a:p>
          <a:p>
            <a:pPr marL="326469" marR="0" lvl="0" indent="-326469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5406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бучение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по вопросам деятельности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ооператива</a:t>
            </a:r>
          </a:p>
          <a:p>
            <a:pPr marL="326469" marR="0" lvl="0" indent="-326469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5406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казание содействия в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рганизации сбыта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продукции сельхозкооперативов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326469" marR="0" lvl="0" indent="-326469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5406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мощь в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дготовке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учредительных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окументов</a:t>
            </a:r>
          </a:p>
          <a:p>
            <a:pPr marL="326469" marR="0" lvl="0" indent="-326469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5406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ивлечение пользователей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з числа с/х к регистрации на Портале Бизнес- навигатора МСП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386" name="Прямоугольник 385"/>
          <p:cNvSpPr/>
          <p:nvPr/>
        </p:nvSpPr>
        <p:spPr>
          <a:xfrm>
            <a:off x="6625068" y="3543578"/>
            <a:ext cx="5527927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26469" marR="0" lvl="0" indent="-326469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5406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онсультирование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 использованию сервисов Портала Бизнес-навигатора МСП</a:t>
            </a:r>
          </a:p>
          <a:p>
            <a:pPr marL="326469" marR="0" lvl="0" indent="-326469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5406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мощь в составлении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бизнес-плана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, технико-экономического обоснования проекта</a:t>
            </a:r>
          </a:p>
          <a:p>
            <a:pPr marL="326469" marR="0" lvl="0" indent="-326469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5406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онсультации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по мерам гос. поддержки и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мощь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в подготовке документов для их получения</a:t>
            </a:r>
          </a:p>
        </p:txBody>
      </p:sp>
      <p:sp>
        <p:nvSpPr>
          <p:cNvPr id="65" name="TextBox 54"/>
          <p:cNvSpPr txBox="1">
            <a:spLocks noChangeArrowheads="1"/>
          </p:cNvSpPr>
          <p:nvPr/>
        </p:nvSpPr>
        <p:spPr bwMode="auto">
          <a:xfrm>
            <a:off x="356382" y="3203146"/>
            <a:ext cx="4574107" cy="3357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36576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Tx/>
              <a:buNone/>
              <a:tabLst/>
              <a:defRPr/>
            </a:pPr>
            <a:r>
              <a:rPr kumimoji="0" lang="ru-RU" altLang="ru-RU" sz="2285" b="1" i="0" u="none" strike="noStrike" kern="1200" cap="none" spc="0" normalizeH="0" baseline="0" noProof="0" dirty="0">
                <a:ln>
                  <a:noFill/>
                </a:ln>
                <a:solidFill>
                  <a:srgbClr val="25406F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</a:rPr>
              <a:t>Направление деятельности </a:t>
            </a:r>
            <a:r>
              <a:rPr kumimoji="0" lang="ru-RU" altLang="ru-RU" sz="2285" b="1" i="0" u="none" strike="noStrike" kern="1200" cap="none" spc="0" normalizeH="0" baseline="0" noProof="0" dirty="0" smtClean="0">
                <a:ln>
                  <a:noFill/>
                </a:ln>
                <a:solidFill>
                  <a:srgbClr val="25406F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</a:rPr>
              <a:t>ЦК:</a:t>
            </a:r>
            <a:endParaRPr kumimoji="0" lang="en-US" altLang="ru-RU" sz="2285" b="1" i="0" u="none" strike="noStrike" kern="1200" cap="none" spc="0" normalizeH="0" baseline="0" noProof="0" dirty="0">
              <a:ln>
                <a:noFill/>
              </a:ln>
              <a:solidFill>
                <a:srgbClr val="25406F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/>
            </a:endParaRPr>
          </a:p>
        </p:txBody>
      </p:sp>
      <p:grpSp>
        <p:nvGrpSpPr>
          <p:cNvPr id="69" name="Группа 68"/>
          <p:cNvGrpSpPr/>
          <p:nvPr/>
        </p:nvGrpSpPr>
        <p:grpSpPr>
          <a:xfrm>
            <a:off x="277280" y="2113366"/>
            <a:ext cx="11220533" cy="845452"/>
            <a:chOff x="641311" y="3718222"/>
            <a:chExt cx="10287686" cy="922043"/>
          </a:xfrm>
        </p:grpSpPr>
        <p:sp>
          <p:nvSpPr>
            <p:cNvPr id="71" name="object 8"/>
            <p:cNvSpPr txBox="1"/>
            <p:nvPr/>
          </p:nvSpPr>
          <p:spPr>
            <a:xfrm>
              <a:off x="9217824" y="4093441"/>
              <a:ext cx="1711173" cy="26852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451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25406F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субъектах </a:t>
              </a:r>
              <a:r>
                <a:rPr kumimoji="0" 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25406F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РФ</a:t>
              </a:r>
              <a:endParaRPr kumimoji="0" sz="1600" b="1" i="0" u="none" strike="noStrike" kern="1200" cap="none" spc="0" normalizeH="0" baseline="0" noProof="0" dirty="0">
                <a:ln>
                  <a:noFill/>
                </a:ln>
                <a:solidFill>
                  <a:srgbClr val="25406F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72" name="object 12"/>
            <p:cNvSpPr txBox="1"/>
            <p:nvPr/>
          </p:nvSpPr>
          <p:spPr>
            <a:xfrm>
              <a:off x="8759176" y="3718222"/>
              <a:ext cx="572386" cy="811175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4510" marR="0" lvl="0" indent="0" algn="l" defTabSz="457200" rtl="0" eaLnBrk="1" fontAlgn="auto" latinLnBrk="0" hangingPunct="1">
                <a:lnSpc>
                  <a:spcPts val="5838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113" b="1" i="0" u="none" strike="noStrike" kern="1200" cap="none" spc="-114" normalizeH="0" baseline="0" noProof="0" dirty="0" smtClean="0">
                  <a:ln>
                    <a:noFill/>
                  </a:ln>
                  <a:solidFill>
                    <a:srgbClr val="ED7D31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/>
                </a:rPr>
                <a:t>78</a:t>
              </a:r>
              <a:endParaRPr kumimoji="0" sz="1028" b="0" i="0" u="none" strike="noStrike" kern="1200" cap="none" spc="-114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</a:endParaRPr>
            </a:p>
          </p:txBody>
        </p:sp>
        <p:sp>
          <p:nvSpPr>
            <p:cNvPr id="73" name="Прямоугольник 72"/>
            <p:cNvSpPr/>
            <p:nvPr/>
          </p:nvSpPr>
          <p:spPr>
            <a:xfrm>
              <a:off x="641311" y="3851010"/>
              <a:ext cx="7578789" cy="772014"/>
            </a:xfrm>
            <a:prstGeom prst="rect">
              <a:avLst/>
            </a:prstGeom>
            <a:solidFill>
              <a:srgbClr val="A2C9F4"/>
            </a:solidFill>
          </p:spPr>
          <p:txBody>
            <a:bodyPr wrap="square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0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/>
                </a:rPr>
                <a:t>Определены </a:t>
              </a:r>
              <a:r>
                <a:rPr kumimoji="0" lang="ru-RU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ED7D31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/>
                </a:rPr>
                <a:t>Центры компетенций (ЦК)</a:t>
              </a:r>
              <a:r>
                <a:rPr kumimoji="0" lang="ru-RU" sz="20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/>
                </a:rPr>
                <a:t> в сфере сельскохозяйственной </a:t>
              </a:r>
              <a:r>
                <a:rPr kumimoji="0" lang="ru-RU" sz="20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/>
                </a:rPr>
                <a:t>кооперации</a:t>
              </a:r>
              <a:endPara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</a:endParaRPr>
            </a:p>
          </p:txBody>
        </p:sp>
        <p:sp>
          <p:nvSpPr>
            <p:cNvPr id="74" name="object 8"/>
            <p:cNvSpPr txBox="1"/>
            <p:nvPr/>
          </p:nvSpPr>
          <p:spPr>
            <a:xfrm>
              <a:off x="8510532" y="4104595"/>
              <a:ext cx="416860" cy="24622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451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25406F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в</a:t>
              </a:r>
              <a:endParaRPr kumimoji="0" sz="1600" b="1" i="0" u="none" strike="noStrike" kern="1200" cap="none" spc="0" normalizeH="0" baseline="0" noProof="0" dirty="0">
                <a:ln>
                  <a:noFill/>
                </a:ln>
                <a:solidFill>
                  <a:srgbClr val="25406F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75" name="Прямоугольник 74"/>
            <p:cNvSpPr/>
            <p:nvPr/>
          </p:nvSpPr>
          <p:spPr>
            <a:xfrm>
              <a:off x="8254032" y="4328591"/>
              <a:ext cx="2116710" cy="31167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57" b="0" i="1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(по </a:t>
              </a:r>
              <a:r>
                <a:rPr kumimoji="0" lang="ru-RU" sz="1257" b="0" i="1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состоянию на </a:t>
              </a:r>
              <a:r>
                <a:rPr kumimoji="0" lang="ru-RU" sz="1257" b="0" i="1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13 мая  2019 </a:t>
              </a:r>
              <a:r>
                <a:rPr kumimoji="0" lang="ru-RU" sz="1257" b="0" i="1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г.)</a:t>
              </a:r>
            </a:p>
          </p:txBody>
        </p:sp>
      </p:grpSp>
      <p:sp>
        <p:nvSpPr>
          <p:cNvPr id="46" name="Прямоугольник 45"/>
          <p:cNvSpPr/>
          <p:nvPr/>
        </p:nvSpPr>
        <p:spPr>
          <a:xfrm>
            <a:off x="313159" y="5765374"/>
            <a:ext cx="193117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25406F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</a:rPr>
              <a:t>СОЗДАНО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5406F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</a:rPr>
              <a:t>СХК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25406F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/>
            </a:endParaRPr>
          </a:p>
        </p:txBody>
      </p:sp>
      <p:sp>
        <p:nvSpPr>
          <p:cNvPr id="47" name="object 7"/>
          <p:cNvSpPr txBox="1"/>
          <p:nvPr/>
        </p:nvSpPr>
        <p:spPr>
          <a:xfrm>
            <a:off x="1443661" y="6103928"/>
            <a:ext cx="2317233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4667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-114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</a:rPr>
              <a:t>739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5406F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</a:rPr>
              <a:t>СХК </a:t>
            </a:r>
            <a:b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5406F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</a:rPr>
            </a:b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25406F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</a:rPr>
              <a:t>в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5406F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</a:rPr>
              <a:t> 79 субъектах РФ 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25406F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/>
            </a:endParaRPr>
          </a:p>
        </p:txBody>
      </p:sp>
      <p:sp>
        <p:nvSpPr>
          <p:cNvPr id="48" name="Прямоугольник 8"/>
          <p:cNvSpPr>
            <a:spLocks noChangeArrowheads="1"/>
          </p:cNvSpPr>
          <p:nvPr/>
        </p:nvSpPr>
        <p:spPr bwMode="auto">
          <a:xfrm>
            <a:off x="313159" y="7806288"/>
            <a:ext cx="5314103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000" b="0" i="1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*по </a:t>
            </a:r>
            <a:r>
              <a:rPr kumimoji="0" lang="ru-RU" altLang="ru-RU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состоянию на </a:t>
            </a:r>
            <a:r>
              <a:rPr kumimoji="0" lang="ru-RU" altLang="ru-RU" sz="1000" b="0" i="1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01.01.2019 </a:t>
            </a:r>
            <a:r>
              <a:rPr kumimoji="0" lang="ru-RU" altLang="ru-RU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по данным Единого реестра субъектов </a:t>
            </a:r>
            <a:r>
              <a:rPr kumimoji="0" lang="ru-RU" altLang="ru-RU" sz="1000" b="0" i="1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МСП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000" b="0" i="1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** по состоянию </a:t>
            </a:r>
            <a:r>
              <a:rPr kumimoji="0" lang="ru-RU" altLang="ru-RU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на </a:t>
            </a:r>
            <a:r>
              <a:rPr kumimoji="0" lang="ru-RU" altLang="ru-RU" sz="1000" b="0" i="1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01.05.2019 по </a:t>
            </a:r>
            <a:r>
              <a:rPr kumimoji="0" lang="ru-RU" altLang="ru-RU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данным Единого реестра субъектов </a:t>
            </a:r>
            <a:r>
              <a:rPr kumimoji="0" lang="ru-RU" altLang="ru-RU" sz="1000" b="0" i="1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МСП</a:t>
            </a:r>
            <a:endParaRPr kumimoji="0" lang="ru-RU" altLang="ru-RU" sz="1000" b="0" i="1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9" name="Прямоугольник 48"/>
          <p:cNvSpPr/>
          <p:nvPr/>
        </p:nvSpPr>
        <p:spPr>
          <a:xfrm>
            <a:off x="6539197" y="5782702"/>
            <a:ext cx="5055436" cy="14588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</a:rPr>
              <a:t>2-3 месяца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</a:rPr>
              <a:t> - с</a:t>
            </a:r>
            <a:r>
              <a:rPr kumimoji="0" lang="ru-RU" sz="18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</a:rPr>
              <a:t>редний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</a:rPr>
              <a:t>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</a:rPr>
              <a:t>срок создания </a:t>
            </a:r>
          </a:p>
          <a:p>
            <a:pPr marL="0" marR="0" lvl="0" indent="0" algn="ctr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25406F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</a:rPr>
              <a:t>сельскохозяйственного кооператива по опыту </a:t>
            </a:r>
          </a:p>
          <a:p>
            <a:pPr marL="0" marR="0" lvl="0" indent="0" algn="ctr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25406F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</a:rPr>
              <a:t>Республики Башкортостан и Липецкой области </a:t>
            </a:r>
          </a:p>
          <a:p>
            <a:pPr marL="0" marR="0" lvl="0" indent="0" algn="ctr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/>
            </a:endParaRPr>
          </a:p>
        </p:txBody>
      </p:sp>
      <p:sp>
        <p:nvSpPr>
          <p:cNvPr id="50" name="object 7"/>
          <p:cNvSpPr txBox="1"/>
          <p:nvPr/>
        </p:nvSpPr>
        <p:spPr>
          <a:xfrm>
            <a:off x="1759244" y="6700203"/>
            <a:ext cx="2879726" cy="246221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24667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з них: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666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ПоК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51" name="object 7"/>
          <p:cNvSpPr txBox="1"/>
          <p:nvPr/>
        </p:nvSpPr>
        <p:spPr>
          <a:xfrm>
            <a:off x="2289668" y="6987570"/>
            <a:ext cx="707534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4667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73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ПК </a:t>
            </a:r>
            <a:endParaRPr kumimoji="0" sz="1400" b="1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pic>
        <p:nvPicPr>
          <p:cNvPr id="27" name="Рисунок 2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cxnSp>
        <p:nvCxnSpPr>
          <p:cNvPr id="29" name="Прямая соединительная линия 28"/>
          <p:cNvCxnSpPr/>
          <p:nvPr/>
        </p:nvCxnSpPr>
        <p:spPr>
          <a:xfrm>
            <a:off x="282575" y="900113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Прямоугольник 30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6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4495908" y="5769660"/>
            <a:ext cx="193117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5406F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</a:rPr>
              <a:t>2019 ГОД **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25406F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/>
            </a:endParaRPr>
          </a:p>
        </p:txBody>
      </p:sp>
      <p:sp>
        <p:nvSpPr>
          <p:cNvPr id="26" name="object 7"/>
          <p:cNvSpPr txBox="1"/>
          <p:nvPr/>
        </p:nvSpPr>
        <p:spPr>
          <a:xfrm>
            <a:off x="3900889" y="6087880"/>
            <a:ext cx="2317233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4667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-114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</a:rPr>
              <a:t>301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5406F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</a:rPr>
              <a:t>СХК </a:t>
            </a:r>
            <a:b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5406F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</a:rPr>
            </a:b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5406F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</a:rPr>
              <a:t>в 66 субъектах РФ 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25406F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/>
            </a:endParaRPr>
          </a:p>
        </p:txBody>
      </p:sp>
      <p:sp>
        <p:nvSpPr>
          <p:cNvPr id="28" name="object 7"/>
          <p:cNvSpPr txBox="1"/>
          <p:nvPr/>
        </p:nvSpPr>
        <p:spPr>
          <a:xfrm>
            <a:off x="4166963" y="6700203"/>
            <a:ext cx="2879726" cy="246221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24667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 из 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их: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70 </a:t>
            </a:r>
            <a:r>
              <a:rPr kumimoji="0" lang="ru-RU" sz="14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ПоК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32" name="object 7"/>
          <p:cNvSpPr txBox="1"/>
          <p:nvPr/>
        </p:nvSpPr>
        <p:spPr>
          <a:xfrm>
            <a:off x="4796279" y="6975482"/>
            <a:ext cx="707534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4667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31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ПК </a:t>
            </a:r>
            <a:endParaRPr kumimoji="0" sz="1400" b="1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33" name="Прямоугольник 32"/>
          <p:cNvSpPr/>
          <p:nvPr/>
        </p:nvSpPr>
        <p:spPr>
          <a:xfrm>
            <a:off x="1995830" y="5782702"/>
            <a:ext cx="193117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5406F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</a:rPr>
              <a:t>2018 ГОД *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25406F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097974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Box 25"/>
          <p:cNvSpPr txBox="1"/>
          <p:nvPr/>
        </p:nvSpPr>
        <p:spPr>
          <a:xfrm>
            <a:off x="2996697" y="139055"/>
            <a:ext cx="9455925" cy="551280"/>
          </a:xfrm>
          <a:prstGeom prst="rect">
            <a:avLst/>
          </a:prstGeom>
          <a:noFill/>
        </p:spPr>
        <p:txBody>
          <a:bodyPr wrap="none" lIns="90717" tIns="45358" rIns="0" bIns="45358" rtlCol="0" anchor="ctr">
            <a:noAutofit/>
          </a:bodyPr>
          <a:lstStyle/>
          <a:p>
            <a:pPr marL="0" marR="0" lvl="0" indent="0" algn="ctr" defTabSz="5760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Меры поддержки субъектов МСП в Дальневосточном федеральном округе</a:t>
            </a:r>
          </a:p>
        </p:txBody>
      </p:sp>
      <p:sp>
        <p:nvSpPr>
          <p:cNvPr id="72" name="Пятиугольник 71"/>
          <p:cNvSpPr/>
          <p:nvPr/>
        </p:nvSpPr>
        <p:spPr>
          <a:xfrm rot="5400000">
            <a:off x="7807108" y="-606974"/>
            <a:ext cx="2885920" cy="6125164"/>
          </a:xfrm>
          <a:prstGeom prst="homePlate">
            <a:avLst>
              <a:gd name="adj" fmla="val 23111"/>
            </a:avLst>
          </a:prstGeom>
          <a:solidFill>
            <a:schemeClr val="accent1">
              <a:lumMod val="5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3" name="Прямоугольник 72"/>
          <p:cNvSpPr/>
          <p:nvPr/>
        </p:nvSpPr>
        <p:spPr>
          <a:xfrm>
            <a:off x="6522873" y="1131425"/>
            <a:ext cx="5521083" cy="21339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marR="0" lvl="0" indent="-17145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5B9BD5">
                  <a:lumMod val="50000"/>
                </a:srgbClr>
              </a:buClr>
              <a:buSzTx/>
              <a:buFont typeface="Wingdings" panose="05000000000000000000" pitchFamily="2" charset="2"/>
              <a:buChar char="q"/>
              <a:tabLst/>
              <a:defRPr/>
            </a:pP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Times New Roman" panose="02020603050405020304" pitchFamily="18" charset="0"/>
              <a:cs typeface="+mn-cs"/>
            </a:endParaRPr>
          </a:p>
          <a:p>
            <a:pPr marL="171450" marR="0" lvl="0" indent="-17145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5B9BD5">
                  <a:lumMod val="50000"/>
                </a:srgbClr>
              </a:buClr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+mn-cs"/>
              </a:rPr>
              <a:t>Базовый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+mn-cs"/>
              </a:rPr>
              <a:t>функционал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+mn-cs"/>
              </a:rPr>
              <a:t>Бизнес-навигатора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+mn-cs"/>
              </a:rPr>
              <a:t>МСП охватывает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+mn-cs"/>
              </a:rPr>
              <a:t>14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+mn-cs"/>
              </a:rPr>
              <a:t>городов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+mn-cs"/>
              </a:rPr>
              <a:t> всех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+mn-cs"/>
              </a:rPr>
              <a:t>11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+mn-cs"/>
              </a:rPr>
              <a:t>субъектов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+mn-cs"/>
              </a:rPr>
              <a:t> Российской Федерации, входящих в состав Дальневосточного федерального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+mn-cs"/>
              </a:rPr>
              <a:t>округа</a:t>
            </a:r>
          </a:p>
          <a:p>
            <a:pPr marL="171450" marR="0" lvl="0" indent="-17145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5B9BD5">
                  <a:lumMod val="50000"/>
                </a:srgbClr>
              </a:buClr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+mn-cs"/>
              </a:rPr>
              <a:t>В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+mn-cs"/>
              </a:rPr>
              <a:t>составе Бизнес-навигатора МСП создан подраздел «Специальные меры поддержки субъектов МСП на Дальнем Востоке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+mn-cs"/>
              </a:rPr>
              <a:t>»</a:t>
            </a:r>
          </a:p>
          <a:p>
            <a:pPr marL="171450" marR="0" lvl="0" indent="-17145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5B9BD5">
                  <a:lumMod val="50000"/>
                </a:srgbClr>
              </a:buClr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+mn-cs"/>
              </a:rPr>
              <a:t>Разработано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+mn-cs"/>
              </a:rPr>
              <a:t>мобильное приложение сервиса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+mn-cs"/>
              </a:rPr>
              <a:t>Бизнес-навигатора МСП</a:t>
            </a:r>
          </a:p>
          <a:p>
            <a:pPr marL="171450" marR="0" lvl="0" indent="-17145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5B9BD5">
                  <a:lumMod val="50000"/>
                </a:srgbClr>
              </a:buClr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+mn-cs"/>
              </a:rPr>
              <a:t>На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+mn-cs"/>
              </a:rPr>
              <a:t>13.05.2019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+mn-cs"/>
              </a:rPr>
              <a:t>воспользовались сервисами Портала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+mn-cs"/>
              </a:rPr>
              <a:t>51 804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+mn-cs"/>
              </a:rPr>
              <a:t>субъекта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+mn-cs"/>
              </a:rPr>
              <a:t>МСП в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+mn-cs"/>
              </a:rPr>
              <a:t>ДФО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75" name="Прямоугольник 74"/>
          <p:cNvSpPr/>
          <p:nvPr/>
        </p:nvSpPr>
        <p:spPr>
          <a:xfrm>
            <a:off x="290842" y="4122621"/>
            <a:ext cx="12021808" cy="393293"/>
          </a:xfrm>
          <a:prstGeom prst="rect">
            <a:avLst/>
          </a:prstGeom>
          <a:solidFill>
            <a:schemeClr val="accent1">
              <a:lumMod val="5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База для увеличения объемов кредитно-гарантийной поддержки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77" name="Прямоугольник 76"/>
          <p:cNvSpPr/>
          <p:nvPr/>
        </p:nvSpPr>
        <p:spPr>
          <a:xfrm>
            <a:off x="7005261" y="4468750"/>
            <a:ext cx="447509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Мероприятия по повышению доступности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финансовых ресурсов для субъектов МСП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в ДФО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8" name="Прямоугольник 77"/>
          <p:cNvSpPr/>
          <p:nvPr/>
        </p:nvSpPr>
        <p:spPr>
          <a:xfrm>
            <a:off x="6223248" y="4903352"/>
            <a:ext cx="5814701" cy="32367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600" marR="0" lvl="0" indent="-22860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0070C0"/>
              </a:buClr>
              <a:buSzPct val="130000"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пециальные гарантийные продукты АО «Корпорация «МСП» для субъектов МСП в ДФО с повышенным размером обеспечения</a:t>
            </a:r>
            <a:r>
              <a:rPr kumimoji="0" lang="ru-RU" sz="105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(до 75% от долговых обязательств)</a:t>
            </a:r>
          </a:p>
          <a:p>
            <a:pPr marL="228600" marR="0" lvl="0" indent="-22860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0070C0"/>
              </a:buClr>
              <a:buSzPct val="130000"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пециальные кредитные продукты АО «МСП Банк», которые доводятся до субъектов МСП </a:t>
            </a:r>
            <a:r>
              <a:rPr kumimoji="0" lang="ru-RU" sz="105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:</a:t>
            </a:r>
          </a:p>
          <a:p>
            <a:pPr marL="266700" marR="0" lvl="1" indent="92075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130000"/>
              <a:buFont typeface="Wingdings" panose="05000000000000000000" pitchFamily="2" charset="2"/>
              <a:buChar char="§"/>
              <a:tabLst>
                <a:tab pos="92075" algn="l"/>
              </a:tabLst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ля резидентов территорий опережающего социально-экономического </a:t>
            </a: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азвития; </a:t>
            </a:r>
            <a:endParaRPr kumimoji="0" lang="ru-RU" sz="1000" b="1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266700" marR="0" lvl="1" indent="92075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130000"/>
              <a:buFont typeface="Wingdings" panose="05000000000000000000" pitchFamily="2" charset="2"/>
              <a:buChar char="§"/>
              <a:tabLst>
                <a:tab pos="92075" algn="l"/>
              </a:tabLst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ля резидентов свободного порта </a:t>
            </a: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ладивосток;</a:t>
            </a:r>
            <a:endParaRPr kumimoji="0" lang="ru-RU" sz="1000" b="1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266700" marR="0" lvl="1" indent="92075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130000"/>
              <a:buFont typeface="Wingdings" panose="05000000000000000000" pitchFamily="2" charset="2"/>
              <a:buChar char="§"/>
              <a:tabLst>
                <a:tab pos="92075" algn="l"/>
              </a:tabLst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ля резидентов приграничных территорий Дальневосточного федерального </a:t>
            </a: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круга;</a:t>
            </a:r>
            <a:endParaRPr kumimoji="0" lang="ru-RU" sz="1000" b="1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266700" marR="0" lvl="1" indent="92075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130000"/>
              <a:buFont typeface="Wingdings" panose="05000000000000000000" pitchFamily="2" charset="2"/>
              <a:buChar char="§"/>
              <a:tabLst>
                <a:tab pos="92075" algn="l"/>
              </a:tabLst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ля граждан, которым были предоставлены в безвозмездное пользование земельные участки </a:t>
            </a: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 соответствии с Федеральным законом от 01.05.2016 № 119-ФЗ (программа «</a:t>
            </a: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альневосточный гектар»)</a:t>
            </a:r>
          </a:p>
          <a:p>
            <a:pPr marL="457200" marR="0" lvl="1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130000"/>
              <a:buFontTx/>
              <a:buNone/>
              <a:tabLst/>
              <a:defRPr/>
            </a:pP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457200" marR="0" lvl="1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130000"/>
              <a:buFontTx/>
              <a:buNone/>
              <a:tabLst/>
              <a:defRPr/>
            </a:pP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457200" marR="0" lvl="1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130000"/>
              <a:buFontTx/>
              <a:buNone/>
              <a:tabLst/>
              <a:defRPr/>
            </a:pP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0070C0"/>
              </a:buClr>
              <a:buSzPct val="130000"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 dirty="0" smtClean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228600" marR="0" lvl="0" indent="-22860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0070C0"/>
              </a:buClr>
              <a:buSzPct val="130000"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05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оздание удаленных рабочих мест </a:t>
            </a:r>
            <a:r>
              <a:rPr kumimoji="0" lang="ru-RU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АО «МСП Банк»</a:t>
            </a:r>
            <a:r>
              <a:rPr kumimoji="0" lang="ru-RU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105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 11 городах</a:t>
            </a:r>
            <a:r>
              <a:rPr kumimoji="0" lang="ru-RU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: Владивосток, Хабаровск, Якутск, Благовещенск, Петропавловск-Камчатский, Южно-Сахалинск, Биробиджан, Комсомольск-на-Амуре, Магадан, Анадырь, Дальнегорск</a:t>
            </a:r>
          </a:p>
          <a:p>
            <a:pPr marL="228600" marR="0" lvl="0" indent="-22860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0070C0"/>
              </a:buClr>
              <a:buSzPct val="130000"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05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пециальные кредитные продукты </a:t>
            </a: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оводятся до субъектов МСП через </a:t>
            </a:r>
            <a:r>
              <a:rPr kumimoji="0" lang="ru-RU" sz="105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удаленные рабочие места </a:t>
            </a:r>
            <a:r>
              <a:rPr kumimoji="0" lang="ru-RU" sz="105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 </a:t>
            </a:r>
            <a:r>
              <a:rPr kumimoji="0" lang="ru-RU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агентскую сеть, включающую </a:t>
            </a:r>
            <a:r>
              <a:rPr kumimoji="0" lang="ru-RU" sz="105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порные региональные банки </a:t>
            </a:r>
            <a:r>
              <a:rPr kumimoji="0" lang="ru-RU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</a:t>
            </a:r>
            <a:r>
              <a:rPr kumimoji="0" lang="ru-RU" sz="105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имсоцбанк</a:t>
            </a: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, </a:t>
            </a:r>
            <a:r>
              <a:rPr kumimoji="0" lang="ru-RU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олид</a:t>
            </a: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Банк, </a:t>
            </a:r>
            <a:r>
              <a:rPr kumimoji="0" lang="ru-RU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АТБ)</a:t>
            </a:r>
            <a:endParaRPr kumimoji="0" lang="ru-RU" sz="1050" b="0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228600" marR="0" lvl="0" indent="-22860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0070C0"/>
              </a:buClr>
              <a:buSzPct val="130000"/>
              <a:buFont typeface="Wingdings" panose="05000000000000000000" pitchFamily="2" charset="2"/>
              <a:buChar char="ü"/>
              <a:tabLst/>
              <a:defRPr/>
            </a:pPr>
            <a:endParaRPr kumimoji="0" lang="ru-RU" sz="1050" b="0" i="0" u="none" strike="noStrike" kern="1200" cap="none" spc="0" normalizeH="0" baseline="0" noProof="0" dirty="0" smtClean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79" name="Прямоугольник 78"/>
          <p:cNvSpPr/>
          <p:nvPr/>
        </p:nvSpPr>
        <p:spPr>
          <a:xfrm>
            <a:off x="268317" y="7252947"/>
            <a:ext cx="5310216" cy="101583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8.07.2017</a:t>
            </a:r>
            <a:r>
              <a:rPr kumimoji="0" lang="en-US" sz="105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у</a:t>
            </a:r>
            <a:r>
              <a:rPr kumimoji="0" lang="ru-RU" sz="105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твержден план мероприятий («дорожная карта») </a:t>
            </a: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 дополнительным (специальным) мерам </a:t>
            </a: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поддержки</a:t>
            </a: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субъектов МСП в </a:t>
            </a:r>
            <a:r>
              <a:rPr kumimoji="0" lang="ru-RU" sz="105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альневосточном федеральном округе </a:t>
            </a: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а 2017-2018 </a:t>
            </a:r>
            <a:r>
              <a:rPr kumimoji="0" lang="ru-RU" sz="105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годы, предложенный АО «Корпорация «МСП»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7.09.2017</a:t>
            </a:r>
            <a:r>
              <a:rPr kumimoji="0" lang="ru-RU" sz="105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подписан перечень </a:t>
            </a: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поручений</a:t>
            </a: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Президента Российской Федерации </a:t>
            </a:r>
            <a:r>
              <a:rPr kumimoji="0" lang="ru-RU" sz="105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-1968 по </a:t>
            </a: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тогам рабочей поездки в Дальневосточный федеральный округ 5–8 сентября 2017 г.</a:t>
            </a:r>
          </a:p>
        </p:txBody>
      </p:sp>
      <p:sp>
        <p:nvSpPr>
          <p:cNvPr id="80" name="Правая фигурная скобка 79"/>
          <p:cNvSpPr/>
          <p:nvPr/>
        </p:nvSpPr>
        <p:spPr>
          <a:xfrm rot="5400000">
            <a:off x="9133229" y="3716877"/>
            <a:ext cx="259114" cy="5520771"/>
          </a:xfrm>
          <a:prstGeom prst="rightBrace">
            <a:avLst>
              <a:gd name="adj1" fmla="val 32029"/>
              <a:gd name="adj2" fmla="val 49892"/>
            </a:avLst>
          </a:prstGeom>
          <a:ln w="6350">
            <a:solidFill>
              <a:schemeClr val="accent1">
                <a:lumMod val="50000"/>
              </a:schemeClr>
            </a:solidFill>
            <a:prstDash val="solid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1" name="Прямоугольник 80"/>
          <p:cNvSpPr/>
          <p:nvPr/>
        </p:nvSpPr>
        <p:spPr>
          <a:xfrm>
            <a:off x="6878468" y="6579755"/>
            <a:ext cx="5139510" cy="4001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>
                <a:lumMod val="40000"/>
                <a:lumOff val="60000"/>
              </a:schemeClr>
            </a:solidFill>
          </a:ln>
        </p:spPr>
        <p:txBody>
          <a:bodyPr wrap="square">
            <a:spAutoFit/>
          </a:bodyPr>
          <a:lstStyle/>
          <a:p>
            <a:pPr marL="0" marR="0" lvl="1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130000"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редитование как на инвестиционные цели, так и на цели пополнения оборотных средств по кредитной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тавке, 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е превышающей </a:t>
            </a: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0,6%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годовых</a:t>
            </a:r>
          </a:p>
        </p:txBody>
      </p:sp>
      <p:sp>
        <p:nvSpPr>
          <p:cNvPr id="82" name="Прямоугольник 81"/>
          <p:cNvSpPr/>
          <p:nvPr/>
        </p:nvSpPr>
        <p:spPr>
          <a:xfrm>
            <a:off x="6246312" y="7908633"/>
            <a:ext cx="5932988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лановый объем финансовой поддержки, оказанной АО «МСП Банк» субъектам МСП в ДФО, в 2019 г. составляет </a:t>
            </a:r>
            <a:r>
              <a:rPr kumimoji="0" lang="ru-RU" sz="105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7 млрд рублей</a:t>
            </a:r>
            <a:r>
              <a:rPr kumimoji="0" lang="ru-RU" sz="105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. </a:t>
            </a:r>
            <a:endParaRPr kumimoji="0" lang="ru-RU" sz="1050" b="1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85" name="Прямоугольник 84"/>
          <p:cNvSpPr/>
          <p:nvPr/>
        </p:nvSpPr>
        <p:spPr>
          <a:xfrm>
            <a:off x="2649355" y="7115413"/>
            <a:ext cx="1356191" cy="215444"/>
          </a:xfrm>
          <a:prstGeom prst="rect">
            <a:avLst/>
          </a:prstGeom>
        </p:spPr>
        <p:txBody>
          <a:bodyPr wrap="none" lIns="54000" rIns="5400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прирост к предыдущему году</a:t>
            </a:r>
          </a:p>
        </p:txBody>
      </p:sp>
      <p:sp>
        <p:nvSpPr>
          <p:cNvPr id="88" name="Прямоугольник 87"/>
          <p:cNvSpPr/>
          <p:nvPr/>
        </p:nvSpPr>
        <p:spPr>
          <a:xfrm>
            <a:off x="6782061" y="983412"/>
            <a:ext cx="495015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спользование сервисов портала Бизнес-навигатора МСП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33" name="Прямоугольник 32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7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pic>
        <p:nvPicPr>
          <p:cNvPr id="34" name="Рисунок 3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pic>
        <p:nvPicPr>
          <p:cNvPr id="35" name="Рисунок 3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7169" y="1072181"/>
            <a:ext cx="417076" cy="425827"/>
          </a:xfrm>
          <a:prstGeom prst="rect">
            <a:avLst/>
          </a:prstGeom>
          <a:solidFill>
            <a:schemeClr val="accent1">
              <a:lumMod val="50000"/>
            </a:schemeClr>
          </a:solidFill>
          <a:ln w="6350">
            <a:noFill/>
          </a:ln>
        </p:spPr>
      </p:pic>
      <p:sp>
        <p:nvSpPr>
          <p:cNvPr id="37" name="Прямоугольник 36"/>
          <p:cNvSpPr/>
          <p:nvPr/>
        </p:nvSpPr>
        <p:spPr>
          <a:xfrm>
            <a:off x="2514370" y="7201704"/>
            <a:ext cx="76408" cy="76408"/>
          </a:xfrm>
          <a:prstGeom prst="rect">
            <a:avLst/>
          </a:prstGeom>
          <a:solidFill>
            <a:srgbClr val="33CC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48" name="Диаграмма 47"/>
          <p:cNvGraphicFramePr>
            <a:graphicFrameLocks/>
          </p:cNvGraphicFramePr>
          <p:nvPr>
            <p:extLst/>
          </p:nvPr>
        </p:nvGraphicFramePr>
        <p:xfrm>
          <a:off x="467145" y="4791174"/>
          <a:ext cx="5573042" cy="22942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49" name="TextBox 48"/>
          <p:cNvSpPr txBox="1"/>
          <p:nvPr/>
        </p:nvSpPr>
        <p:spPr>
          <a:xfrm>
            <a:off x="2182322" y="6223346"/>
            <a:ext cx="50274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66,5</a:t>
            </a:r>
            <a:r>
              <a:rPr kumimoji="0" lang="en-US" sz="1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%</a:t>
            </a:r>
            <a:endParaRPr kumimoji="0" lang="ru-RU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5" name="Прямоугольник 54"/>
          <p:cNvSpPr/>
          <p:nvPr/>
        </p:nvSpPr>
        <p:spPr>
          <a:xfrm>
            <a:off x="1408648" y="4528563"/>
            <a:ext cx="425700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бъем фактически оказанной и планируемой кредитно-гарантийной </a:t>
            </a: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ддержки 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 ДФО с 2016 по </a:t>
            </a: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9 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гг.</a:t>
            </a:r>
          </a:p>
        </p:txBody>
      </p:sp>
      <p:pic>
        <p:nvPicPr>
          <p:cNvPr id="53" name="Рисунок 5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7169" y="1072181"/>
            <a:ext cx="417076" cy="425827"/>
          </a:xfrm>
          <a:prstGeom prst="rect">
            <a:avLst/>
          </a:prstGeom>
          <a:solidFill>
            <a:schemeClr val="accent1">
              <a:lumMod val="50000"/>
            </a:schemeClr>
          </a:solidFill>
          <a:ln w="6350">
            <a:noFill/>
          </a:ln>
        </p:spPr>
      </p:pic>
      <p:sp>
        <p:nvSpPr>
          <p:cNvPr id="36" name="Пятиугольник 35"/>
          <p:cNvSpPr/>
          <p:nvPr/>
        </p:nvSpPr>
        <p:spPr>
          <a:xfrm rot="5400000">
            <a:off x="1785576" y="-335017"/>
            <a:ext cx="2936180" cy="5573042"/>
          </a:xfrm>
          <a:prstGeom prst="homePlate">
            <a:avLst>
              <a:gd name="adj" fmla="val 23106"/>
            </a:avLst>
          </a:prstGeom>
          <a:solidFill>
            <a:schemeClr val="accent1">
              <a:lumMod val="20000"/>
              <a:lumOff val="80000"/>
              <a:alpha val="0"/>
            </a:schemeClr>
          </a:solidFill>
          <a:ln w="635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3576383" y="1925465"/>
            <a:ext cx="44435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4</a:t>
            </a: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5%</a:t>
            </a:r>
            <a:endParaRPr kumimoji="0" lang="ru-RU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2649355" y="3343094"/>
            <a:ext cx="1356191" cy="215444"/>
          </a:xfrm>
          <a:prstGeom prst="rect">
            <a:avLst/>
          </a:prstGeom>
        </p:spPr>
        <p:txBody>
          <a:bodyPr wrap="none" lIns="54000" rIns="5400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прирост к предыдущему году</a:t>
            </a:r>
            <a:endParaRPr kumimoji="0" lang="ru-RU" sz="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0" name="Прямоугольник 39"/>
          <p:cNvSpPr/>
          <p:nvPr/>
        </p:nvSpPr>
        <p:spPr>
          <a:xfrm>
            <a:off x="2562754" y="3417904"/>
            <a:ext cx="76408" cy="7640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1" name="Прямоугольник 40"/>
          <p:cNvSpPr/>
          <p:nvPr/>
        </p:nvSpPr>
        <p:spPr>
          <a:xfrm>
            <a:off x="641799" y="1062323"/>
            <a:ext cx="5122294" cy="2923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Увеличение доли закупок в </a:t>
            </a:r>
            <a:r>
              <a:rPr kumimoji="0" lang="ru-RU" sz="13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ФО</a:t>
            </a:r>
            <a:endParaRPr kumimoji="0" lang="ru-RU" sz="1300" b="1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aphicFrame>
        <p:nvGraphicFramePr>
          <p:cNvPr id="42" name="Диаграмма 41"/>
          <p:cNvGraphicFramePr>
            <a:graphicFrameLocks/>
          </p:cNvGraphicFramePr>
          <p:nvPr>
            <p:extLst/>
          </p:nvPr>
        </p:nvGraphicFramePr>
        <p:xfrm>
          <a:off x="360412" y="945413"/>
          <a:ext cx="5570146" cy="24657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43" name="Прямоугольник 42"/>
          <p:cNvSpPr/>
          <p:nvPr/>
        </p:nvSpPr>
        <p:spPr>
          <a:xfrm>
            <a:off x="952315" y="1400617"/>
            <a:ext cx="1404730" cy="55108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1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В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2019 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г. заключено</a:t>
            </a: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5</a:t>
            </a: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84</a:t>
            </a:r>
            <a:r>
              <a:rPr kumimoji="0" lang="en-US" sz="1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6</a:t>
            </a: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оговоров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 </a:t>
            </a: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</a:t>
            </a:r>
            <a:r>
              <a:rPr kumimoji="0" lang="en-US" sz="1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996</a:t>
            </a: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убъектами 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МСП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2197751" y="2370075"/>
            <a:ext cx="54053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45,5%</a:t>
            </a:r>
            <a:endParaRPr kumimoji="0" lang="ru-RU" sz="105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3145485" y="1953078"/>
            <a:ext cx="524503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78,4%</a:t>
            </a:r>
            <a:endParaRPr kumimoji="0" lang="ru-RU" sz="105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5054030" y="1451803"/>
            <a:ext cx="524503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3,3%</a:t>
            </a:r>
            <a:endParaRPr kumimoji="0" lang="ru-RU" sz="105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784337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Box 25"/>
          <p:cNvSpPr txBox="1"/>
          <p:nvPr/>
        </p:nvSpPr>
        <p:spPr>
          <a:xfrm>
            <a:off x="3098297" y="139055"/>
            <a:ext cx="9455925" cy="551280"/>
          </a:xfrm>
          <a:prstGeom prst="rect">
            <a:avLst/>
          </a:prstGeom>
          <a:noFill/>
        </p:spPr>
        <p:txBody>
          <a:bodyPr wrap="none" lIns="90717" tIns="45358" rIns="0" bIns="45358" rtlCol="0" anchor="ctr">
            <a:noAutofit/>
          </a:bodyPr>
          <a:lstStyle/>
          <a:p>
            <a:pPr marL="0" marR="0" lvl="0" indent="0" algn="ctr" defTabSz="5760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Меры поддержки субъектов МСП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в Северо-Кавказском федеральном округе 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Times New Roman" panose="02020603050405020304" pitchFamily="18" charset="0"/>
            </a:endParaRPr>
          </a:p>
        </p:txBody>
      </p:sp>
      <p:grpSp>
        <p:nvGrpSpPr>
          <p:cNvPr id="2" name="Группа 1"/>
          <p:cNvGrpSpPr/>
          <p:nvPr/>
        </p:nvGrpSpPr>
        <p:grpSpPr>
          <a:xfrm>
            <a:off x="6187050" y="983223"/>
            <a:ext cx="6144650" cy="2928377"/>
            <a:chOff x="417843" y="699682"/>
            <a:chExt cx="4494674" cy="2500719"/>
          </a:xfrm>
        </p:grpSpPr>
        <p:sp>
          <p:nvSpPr>
            <p:cNvPr id="54" name="Пятиугольник 53"/>
            <p:cNvSpPr/>
            <p:nvPr/>
          </p:nvSpPr>
          <p:spPr>
            <a:xfrm rot="5400000">
              <a:off x="1415238" y="-277291"/>
              <a:ext cx="2480297" cy="4475088"/>
            </a:xfrm>
            <a:prstGeom prst="homePlate">
              <a:avLst>
                <a:gd name="adj" fmla="val 25959"/>
              </a:avLst>
            </a:prstGeom>
            <a:solidFill>
              <a:schemeClr val="accent1">
                <a:lumMod val="50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5760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268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17" name="Рисунок 16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1078" y="772819"/>
              <a:ext cx="305082" cy="350094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 w="6350">
              <a:noFill/>
            </a:ln>
          </p:spPr>
        </p:pic>
        <p:sp>
          <p:nvSpPr>
            <p:cNvPr id="50" name="Прямоугольник 49"/>
            <p:cNvSpPr/>
            <p:nvPr/>
          </p:nvSpPr>
          <p:spPr>
            <a:xfrm>
              <a:off x="734008" y="699682"/>
              <a:ext cx="4178509" cy="27333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5760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38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Использование </a:t>
              </a:r>
              <a:r>
                <a:rPr kumimoji="0" lang="ru-RU" sz="1638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сервисов портала Бизнес-навигатора МСП</a:t>
              </a:r>
            </a:p>
          </p:txBody>
        </p:sp>
      </p:grpSp>
      <p:sp>
        <p:nvSpPr>
          <p:cNvPr id="68" name="Прямоугольник 67"/>
          <p:cNvSpPr/>
          <p:nvPr/>
        </p:nvSpPr>
        <p:spPr>
          <a:xfrm>
            <a:off x="6303251" y="4862176"/>
            <a:ext cx="5638406" cy="4801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5760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6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Мероприятия по повышению доступности финансовых ресурсов</a:t>
            </a:r>
            <a:endParaRPr kumimoji="0" lang="en-US" sz="126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Times New Roman" panose="02020603050405020304" pitchFamily="18" charset="0"/>
            </a:endParaRPr>
          </a:p>
          <a:p>
            <a:pPr marL="0" marR="0" lvl="0" indent="0" algn="ctr" defTabSz="5760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6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для субъектов МСП</a:t>
            </a:r>
            <a:r>
              <a:rPr kumimoji="0" lang="en-US" sz="126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ru-RU" sz="126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в </a:t>
            </a:r>
            <a:r>
              <a:rPr kumimoji="0" lang="ru-RU" sz="126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СКФО</a:t>
            </a:r>
            <a:endParaRPr kumimoji="0" lang="ru-RU" sz="126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9" name="Прямоугольник 68"/>
          <p:cNvSpPr/>
          <p:nvPr/>
        </p:nvSpPr>
        <p:spPr>
          <a:xfrm>
            <a:off x="6092531" y="5346515"/>
            <a:ext cx="5849125" cy="6544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8036" marR="0" lvl="0" indent="-288036" algn="l" defTabSz="5760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52"/>
              </a:spcAft>
              <a:buClr>
                <a:srgbClr val="0070C0"/>
              </a:buClr>
              <a:buSzPct val="130000"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134" b="0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дписано Соглашение о сотрудничестве между АО «Корпорацией «МСП» и АО «Корпорация развития Северного </a:t>
            </a:r>
            <a:r>
              <a:rPr kumimoji="0" lang="ru-RU" sz="1134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</a:t>
            </a:r>
            <a:r>
              <a:rPr kumimoji="0" lang="ru-RU" sz="1134" b="0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авказа»</a:t>
            </a:r>
            <a:endParaRPr kumimoji="0" lang="en-US" sz="1134" b="0" i="0" u="none" strike="noStrike" kern="1200" cap="none" spc="0" normalizeH="0" baseline="0" noProof="0" dirty="0" smtClean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288036" marR="0" lvl="0" indent="-288036" algn="l" defTabSz="5760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52"/>
              </a:spcAft>
              <a:buClr>
                <a:srgbClr val="0070C0"/>
              </a:buClr>
              <a:buSzPct val="130000"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134" b="0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оздано удаленное рабочее место </a:t>
            </a:r>
            <a:r>
              <a:rPr kumimoji="0" lang="ru-RU" sz="1134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АО «МСП Банк» в </a:t>
            </a:r>
            <a:r>
              <a:rPr kumimoji="0" lang="ru-RU" sz="1134" b="0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Ставропольском крае</a:t>
            </a:r>
            <a:endParaRPr kumimoji="0" lang="ru-RU" sz="1134" b="0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71" name="Прямоугольник 70"/>
          <p:cNvSpPr/>
          <p:nvPr/>
        </p:nvSpPr>
        <p:spPr>
          <a:xfrm>
            <a:off x="286724" y="7878626"/>
            <a:ext cx="11092475" cy="54377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5760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52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8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** </a:t>
            </a:r>
            <a:r>
              <a:rPr kumimoji="0" lang="ru-RU" sz="1008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</a:t>
            </a:r>
            <a:r>
              <a:rPr kumimoji="0" lang="en-US" sz="1008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.0</a:t>
            </a:r>
            <a:r>
              <a:rPr kumimoji="0" lang="ru-RU" sz="1008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</a:t>
            </a:r>
            <a:r>
              <a:rPr kumimoji="0" lang="en-US" sz="1008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.201</a:t>
            </a:r>
            <a:r>
              <a:rPr kumimoji="0" lang="ru-RU" sz="1008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8</a:t>
            </a:r>
            <a:r>
              <a:rPr kumimoji="0" lang="en-US" sz="1008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1008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утвержден план мероприятий («дорожная карта») по дополнительным (специальным) мерам </a:t>
            </a:r>
            <a:r>
              <a:rPr kumimoji="0" lang="ru-RU" sz="1008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поддержки</a:t>
            </a:r>
            <a:r>
              <a:rPr kumimoji="0" lang="ru-RU" sz="1008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субъектов МСП в </a:t>
            </a:r>
            <a:r>
              <a:rPr kumimoji="0" lang="ru-RU" sz="1008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еверо-Кавказском федеральном округе </a:t>
            </a:r>
            <a:r>
              <a:rPr kumimoji="0" lang="ru-RU" sz="1008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а </a:t>
            </a:r>
            <a:r>
              <a:rPr kumimoji="0" lang="ru-RU" sz="1008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8 </a:t>
            </a:r>
            <a:r>
              <a:rPr kumimoji="0" lang="ru-RU" sz="1008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годы, </a:t>
            </a:r>
            <a:r>
              <a:rPr kumimoji="0" lang="ru-RU" sz="1008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утвержденный Министерством по делам Северного Кавказа</a:t>
            </a:r>
            <a:endParaRPr kumimoji="0" lang="ru-RU" sz="1008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6635080" y="6150012"/>
            <a:ext cx="5271442" cy="441403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>
                <a:lumMod val="40000"/>
                <a:lumOff val="60000"/>
              </a:schemeClr>
            </a:solidFill>
          </a:ln>
        </p:spPr>
        <p:txBody>
          <a:bodyPr wrap="square">
            <a:spAutoFit/>
          </a:bodyPr>
          <a:lstStyle/>
          <a:p>
            <a:pPr marL="0" marR="0" lvl="1" indent="0" algn="ctr" defTabSz="5760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130000"/>
              <a:buFontTx/>
              <a:buNone/>
              <a:tabLst/>
              <a:defRPr/>
            </a:pPr>
            <a:r>
              <a:rPr kumimoji="0" lang="ru-RU" sz="1134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редитование как на инвестиционные цели, так и на цели пополнения оборотных средств по кредитной ставке, не превышающей 10,6 % годовых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286725" y="7647773"/>
            <a:ext cx="1045747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* Снижение 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казателей в 2017 г. 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бусловлено 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закрытием 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ли лишением лимитов на самостоятельное принятие решения филиалами федеральных банков в Карачаево-Черкесской Республике, Республике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 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еверной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 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сетии-Алании, Республике 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нгушетия, 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абардино-Балкарской Республике, Республике Дагестан и  Чеченской Республике, а также закрытием в 2017 г. регионального гарантийного фонда Республики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 Северная Осетия-Алания.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6864859" y="1274401"/>
            <a:ext cx="5221259" cy="19800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2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5B9BD5">
                  <a:lumMod val="50000"/>
                </a:srgbClr>
              </a:buClr>
              <a:buSzTx/>
              <a:buFontTx/>
              <a:buNone/>
              <a:tabLst/>
              <a:defRPr/>
            </a:pPr>
            <a:r>
              <a:rPr kumimoji="0" lang="ru-RU" sz="13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+mn-cs"/>
              </a:rPr>
              <a:t>Базовый функционал Бизнес-навигатора МСП охватывает </a:t>
            </a:r>
            <a:r>
              <a:rPr kumimoji="0" lang="ru-RU" sz="13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+mn-cs"/>
              </a:rPr>
              <a:t>12 городов </a:t>
            </a:r>
            <a:r>
              <a:rPr kumimoji="0" lang="ru-RU" sz="13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+mn-cs"/>
              </a:rPr>
              <a:t>всех </a:t>
            </a:r>
          </a:p>
          <a:p>
            <a:pPr marL="0" marR="0" lvl="0" indent="0" algn="l" defTabSz="45722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5B9BD5">
                  <a:lumMod val="50000"/>
                </a:srgbClr>
              </a:buClr>
              <a:buSzTx/>
              <a:buFontTx/>
              <a:buNone/>
              <a:tabLst/>
              <a:defRPr/>
            </a:pPr>
            <a:r>
              <a:rPr kumimoji="0" lang="ru-RU" sz="13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+mn-cs"/>
              </a:rPr>
              <a:t>7 субъектов </a:t>
            </a:r>
            <a:r>
              <a:rPr kumimoji="0" lang="ru-RU" sz="13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+mn-cs"/>
              </a:rPr>
              <a:t>Российской Федерации, входящих в состав Северо-Кавказского федерального округа</a:t>
            </a:r>
          </a:p>
          <a:p>
            <a:pPr marL="0" marR="0" lvl="0" indent="0" algn="l" defTabSz="45722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5B9BD5">
                  <a:lumMod val="50000"/>
                </a:srgbClr>
              </a:buClr>
              <a:buSzTx/>
              <a:buFontTx/>
              <a:buNone/>
              <a:tabLst/>
              <a:defRPr/>
            </a:pPr>
            <a:r>
              <a:rPr kumimoji="0" lang="ru-RU" sz="13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+mn-cs"/>
              </a:rPr>
              <a:t>В составе коммуникационной платформы Портала Бизнес-навигатора МСП реализован раздел «Меры поддержки» с возможностью поиска мер поддержки субъектов МСП, оказываемых на территории СКФО (</a:t>
            </a:r>
            <a:r>
              <a:rPr kumimoji="0" lang="ru-RU" sz="13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+mn-cs"/>
              </a:rPr>
              <a:t>600 мер поддержки</a:t>
            </a:r>
            <a:r>
              <a:rPr kumimoji="0" lang="ru-RU" sz="13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+mn-cs"/>
              </a:rPr>
              <a:t>)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+mn-cs"/>
              </a:rPr>
              <a:t> </a:t>
            </a:r>
            <a:endParaRPr kumimoji="0" lang="ru-RU" sz="13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Times New Roman" panose="02020603050405020304" pitchFamily="18" charset="0"/>
              <a:cs typeface="+mn-cs"/>
            </a:endParaRPr>
          </a:p>
          <a:p>
            <a:pPr marL="0" marR="0" lvl="0" indent="0" algn="l" defTabSz="45722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5B9BD5">
                  <a:lumMod val="50000"/>
                </a:srgbClr>
              </a:buClr>
              <a:buSzTx/>
              <a:buFontTx/>
              <a:buNone/>
              <a:tabLst/>
              <a:defRPr/>
            </a:pPr>
            <a:r>
              <a:rPr kumimoji="0" lang="ru-RU" sz="13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+mn-cs"/>
              </a:rPr>
              <a:t>Разработаны связанные мобильные приложения: «Бизнес-навигатор МСП» и «Навигатор МСП. Меры поддержки»</a:t>
            </a:r>
          </a:p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5B9BD5">
                  <a:lumMod val="50000"/>
                </a:srgbClr>
              </a:buClr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+mn-cs"/>
              </a:rPr>
              <a:t>На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+mn-cs"/>
              </a:rPr>
              <a:t>13.05.2019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+mn-cs"/>
              </a:rPr>
              <a:t>воспользовались сервисами Портала </a:t>
            </a: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+mn-cs"/>
              </a:rPr>
              <a:t>42 468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+mn-cs"/>
              </a:rPr>
              <a:t> субъектов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+mn-cs"/>
              </a:rPr>
              <a:t>МСП в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+mn-cs"/>
              </a:rPr>
              <a:t>СКФО</a:t>
            </a:r>
            <a:endParaRPr kumimoji="0" lang="ru-RU" sz="13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Times New Roman" panose="02020603050405020304" pitchFamily="18" charset="0"/>
              <a:cs typeface="+mn-cs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8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pic>
        <p:nvPicPr>
          <p:cNvPr id="29" name="Рисунок 2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sp>
        <p:nvSpPr>
          <p:cNvPr id="38" name="Прямоугольник 37"/>
          <p:cNvSpPr/>
          <p:nvPr/>
        </p:nvSpPr>
        <p:spPr>
          <a:xfrm>
            <a:off x="2905037" y="7473334"/>
            <a:ext cx="1441151" cy="215444"/>
          </a:xfrm>
          <a:prstGeom prst="rect">
            <a:avLst/>
          </a:prstGeom>
        </p:spPr>
        <p:txBody>
          <a:bodyPr wrap="none" lIns="54000" rIns="5400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прирост к плановому значению</a:t>
            </a:r>
            <a:endParaRPr kumimoji="0" lang="ru-RU" sz="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2818436" y="7548144"/>
            <a:ext cx="76408" cy="76408"/>
          </a:xfrm>
          <a:prstGeom prst="rect">
            <a:avLst/>
          </a:prstGeom>
          <a:solidFill>
            <a:srgbClr val="33CC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73" name="Диаграмма 72"/>
          <p:cNvGraphicFramePr>
            <a:graphicFrameLocks/>
          </p:cNvGraphicFramePr>
          <p:nvPr>
            <p:extLst/>
          </p:nvPr>
        </p:nvGraphicFramePr>
        <p:xfrm>
          <a:off x="436170" y="5181600"/>
          <a:ext cx="5656361" cy="22942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74" name="TextBox 37"/>
          <p:cNvSpPr txBox="1"/>
          <p:nvPr/>
        </p:nvSpPr>
        <p:spPr>
          <a:xfrm>
            <a:off x="3098297" y="5956789"/>
            <a:ext cx="731203" cy="2769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140</a:t>
            </a:r>
            <a:r>
              <a:rPr kumimoji="0" 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%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5" name="Прямоугольник 74"/>
          <p:cNvSpPr/>
          <p:nvPr/>
        </p:nvSpPr>
        <p:spPr>
          <a:xfrm>
            <a:off x="4014307" y="5555408"/>
            <a:ext cx="43579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**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76" name="Прямоугольник 75"/>
          <p:cNvSpPr/>
          <p:nvPr/>
        </p:nvSpPr>
        <p:spPr>
          <a:xfrm>
            <a:off x="2785876" y="6310249"/>
            <a:ext cx="21793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*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77" name="Прямоугольник 76"/>
          <p:cNvSpPr/>
          <p:nvPr/>
        </p:nvSpPr>
        <p:spPr>
          <a:xfrm>
            <a:off x="1576809" y="4881834"/>
            <a:ext cx="425700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бъем фактически оказанной и планируемой кредитно-гарантийной </a:t>
            </a: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ддержки 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 </a:t>
            </a: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КФО 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 2016 по </a:t>
            </a: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9 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гг.</a:t>
            </a:r>
          </a:p>
        </p:txBody>
      </p:sp>
      <p:sp>
        <p:nvSpPr>
          <p:cNvPr id="78" name="Прямоугольник 77"/>
          <p:cNvSpPr/>
          <p:nvPr/>
        </p:nvSpPr>
        <p:spPr>
          <a:xfrm>
            <a:off x="290842" y="4122621"/>
            <a:ext cx="12021808" cy="393293"/>
          </a:xfrm>
          <a:prstGeom prst="rect">
            <a:avLst/>
          </a:prstGeom>
          <a:solidFill>
            <a:schemeClr val="accent1">
              <a:lumMod val="5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База для увеличения объемов кредитно-гарантийной поддержки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41" name="Пятиугольник 40"/>
          <p:cNvSpPr/>
          <p:nvPr/>
        </p:nvSpPr>
        <p:spPr>
          <a:xfrm rot="5400000">
            <a:off x="1776812" y="-335146"/>
            <a:ext cx="2903539" cy="5584825"/>
          </a:xfrm>
          <a:prstGeom prst="homePlate">
            <a:avLst>
              <a:gd name="adj" fmla="val 25959"/>
            </a:avLst>
          </a:prstGeom>
          <a:solidFill>
            <a:schemeClr val="accent1">
              <a:lumMod val="20000"/>
              <a:lumOff val="80000"/>
              <a:alpha val="0"/>
            </a:schemeClr>
          </a:solidFill>
          <a:ln w="635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2" name="Прямоугольник 41"/>
          <p:cNvSpPr/>
          <p:nvPr/>
        </p:nvSpPr>
        <p:spPr>
          <a:xfrm>
            <a:off x="2658116" y="3325866"/>
            <a:ext cx="1356191" cy="215444"/>
          </a:xfrm>
          <a:prstGeom prst="rect">
            <a:avLst/>
          </a:prstGeom>
        </p:spPr>
        <p:txBody>
          <a:bodyPr wrap="none" lIns="54000" rIns="5400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прирост к предыдущему году</a:t>
            </a:r>
            <a:endParaRPr kumimoji="0" lang="ru-RU" sz="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2571515" y="3400676"/>
            <a:ext cx="76408" cy="7640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44" name="Диаграмма 43"/>
          <p:cNvGraphicFramePr>
            <a:graphicFrameLocks/>
          </p:cNvGraphicFramePr>
          <p:nvPr>
            <p:extLst/>
          </p:nvPr>
        </p:nvGraphicFramePr>
        <p:xfrm>
          <a:off x="436865" y="1068867"/>
          <a:ext cx="5467350" cy="22955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45" name="TextBox 37"/>
          <p:cNvSpPr txBox="1"/>
          <p:nvPr/>
        </p:nvSpPr>
        <p:spPr>
          <a:xfrm>
            <a:off x="3098297" y="1782132"/>
            <a:ext cx="60863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258</a:t>
            </a:r>
            <a:r>
              <a:rPr kumimoji="0" 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%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6" name="TextBox 37"/>
          <p:cNvSpPr txBox="1"/>
          <p:nvPr/>
        </p:nvSpPr>
        <p:spPr>
          <a:xfrm>
            <a:off x="2149440" y="2591595"/>
            <a:ext cx="60863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115</a:t>
            </a:r>
            <a:r>
              <a:rPr kumimoji="0" 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%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7" name="Прямоугольник 46"/>
          <p:cNvSpPr/>
          <p:nvPr/>
        </p:nvSpPr>
        <p:spPr>
          <a:xfrm>
            <a:off x="962948" y="1248033"/>
            <a:ext cx="1404730" cy="55108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1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В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2019 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г.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заключен</a:t>
            </a: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endParaRPr kumimoji="0" lang="ru-RU" sz="1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1251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оговор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 </a:t>
            </a: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664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убъектами 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МСП</a:t>
            </a:r>
          </a:p>
        </p:txBody>
      </p:sp>
      <p:sp>
        <p:nvSpPr>
          <p:cNvPr id="48" name="Прямоугольник 47"/>
          <p:cNvSpPr/>
          <p:nvPr/>
        </p:nvSpPr>
        <p:spPr>
          <a:xfrm>
            <a:off x="840311" y="965908"/>
            <a:ext cx="5122294" cy="2923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Увеличение доли закупок в </a:t>
            </a:r>
            <a:r>
              <a:rPr kumimoji="0" lang="ru-RU" sz="13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КФО</a:t>
            </a:r>
            <a:endParaRPr kumimoji="0" lang="ru-RU" sz="1300" b="1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113011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Рисунок 1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7865" y="3049953"/>
            <a:ext cx="458822" cy="458822"/>
          </a:xfrm>
          <a:prstGeom prst="rect">
            <a:avLst/>
          </a:prstGeom>
        </p:spPr>
      </p:pic>
      <p:grpSp>
        <p:nvGrpSpPr>
          <p:cNvPr id="247" name="Группа 246"/>
          <p:cNvGrpSpPr/>
          <p:nvPr/>
        </p:nvGrpSpPr>
        <p:grpSpPr>
          <a:xfrm>
            <a:off x="238885" y="2441654"/>
            <a:ext cx="830513" cy="484551"/>
            <a:chOff x="4677899" y="1909489"/>
            <a:chExt cx="1286511" cy="750597"/>
          </a:xfrm>
        </p:grpSpPr>
        <p:sp>
          <p:nvSpPr>
            <p:cNvPr id="105" name="Freeform 88"/>
            <p:cNvSpPr>
              <a:spLocks/>
            </p:cNvSpPr>
            <p:nvPr/>
          </p:nvSpPr>
          <p:spPr bwMode="auto">
            <a:xfrm>
              <a:off x="5071145" y="2209916"/>
              <a:ext cx="213176" cy="314812"/>
            </a:xfrm>
            <a:custGeom>
              <a:avLst/>
              <a:gdLst>
                <a:gd name="T0" fmla="*/ 2890 w 2958"/>
                <a:gd name="T1" fmla="*/ 2777 h 4375"/>
                <a:gd name="T2" fmla="*/ 2932 w 2958"/>
                <a:gd name="T3" fmla="*/ 2536 h 4375"/>
                <a:gd name="T4" fmla="*/ 2801 w 2958"/>
                <a:gd name="T5" fmla="*/ 2252 h 4375"/>
                <a:gd name="T6" fmla="*/ 2701 w 2958"/>
                <a:gd name="T7" fmla="*/ 1789 h 4375"/>
                <a:gd name="T8" fmla="*/ 2679 w 2958"/>
                <a:gd name="T9" fmla="*/ 1485 h 4375"/>
                <a:gd name="T10" fmla="*/ 2710 w 2958"/>
                <a:gd name="T11" fmla="*/ 1238 h 4375"/>
                <a:gd name="T12" fmla="*/ 2471 w 2958"/>
                <a:gd name="T13" fmla="*/ 1098 h 4375"/>
                <a:gd name="T14" fmla="*/ 2586 w 2958"/>
                <a:gd name="T15" fmla="*/ 848 h 4375"/>
                <a:gd name="T16" fmla="*/ 2533 w 2958"/>
                <a:gd name="T17" fmla="*/ 571 h 4375"/>
                <a:gd name="T18" fmla="*/ 2493 w 2958"/>
                <a:gd name="T19" fmla="*/ 392 h 4375"/>
                <a:gd name="T20" fmla="*/ 2449 w 2958"/>
                <a:gd name="T21" fmla="*/ 445 h 4375"/>
                <a:gd name="T22" fmla="*/ 2270 w 2958"/>
                <a:gd name="T23" fmla="*/ 495 h 4375"/>
                <a:gd name="T24" fmla="*/ 2409 w 2958"/>
                <a:gd name="T25" fmla="*/ 717 h 4375"/>
                <a:gd name="T26" fmla="*/ 2193 w 2958"/>
                <a:gd name="T27" fmla="*/ 515 h 4375"/>
                <a:gd name="T28" fmla="*/ 2231 w 2958"/>
                <a:gd name="T29" fmla="*/ 127 h 4375"/>
                <a:gd name="T30" fmla="*/ 2057 w 2958"/>
                <a:gd name="T31" fmla="*/ 388 h 4375"/>
                <a:gd name="T32" fmla="*/ 2020 w 2958"/>
                <a:gd name="T33" fmla="*/ 772 h 4375"/>
                <a:gd name="T34" fmla="*/ 2056 w 2958"/>
                <a:gd name="T35" fmla="*/ 1109 h 4375"/>
                <a:gd name="T36" fmla="*/ 2251 w 2958"/>
                <a:gd name="T37" fmla="*/ 1369 h 4375"/>
                <a:gd name="T38" fmla="*/ 2313 w 2958"/>
                <a:gd name="T39" fmla="*/ 1575 h 4375"/>
                <a:gd name="T40" fmla="*/ 2197 w 2958"/>
                <a:gd name="T41" fmla="*/ 1277 h 4375"/>
                <a:gd name="T42" fmla="*/ 1958 w 2958"/>
                <a:gd name="T43" fmla="*/ 1196 h 4375"/>
                <a:gd name="T44" fmla="*/ 1780 w 2958"/>
                <a:gd name="T45" fmla="*/ 1638 h 4375"/>
                <a:gd name="T46" fmla="*/ 1500 w 2958"/>
                <a:gd name="T47" fmla="*/ 1687 h 4375"/>
                <a:gd name="T48" fmla="*/ 1349 w 2958"/>
                <a:gd name="T49" fmla="*/ 1541 h 4375"/>
                <a:gd name="T50" fmla="*/ 1529 w 2958"/>
                <a:gd name="T51" fmla="*/ 1670 h 4375"/>
                <a:gd name="T52" fmla="*/ 1814 w 2958"/>
                <a:gd name="T53" fmla="*/ 1351 h 4375"/>
                <a:gd name="T54" fmla="*/ 1828 w 2958"/>
                <a:gd name="T55" fmla="*/ 1094 h 4375"/>
                <a:gd name="T56" fmla="*/ 1953 w 2958"/>
                <a:gd name="T57" fmla="*/ 548 h 4375"/>
                <a:gd name="T58" fmla="*/ 2066 w 2958"/>
                <a:gd name="T59" fmla="*/ 220 h 4375"/>
                <a:gd name="T60" fmla="*/ 1824 w 2958"/>
                <a:gd name="T61" fmla="*/ 8 h 4375"/>
                <a:gd name="T62" fmla="*/ 1500 w 2958"/>
                <a:gd name="T63" fmla="*/ 365 h 4375"/>
                <a:gd name="T64" fmla="*/ 1481 w 2958"/>
                <a:gd name="T65" fmla="*/ 563 h 4375"/>
                <a:gd name="T66" fmla="*/ 1404 w 2958"/>
                <a:gd name="T67" fmla="*/ 816 h 4375"/>
                <a:gd name="T68" fmla="*/ 1457 w 2958"/>
                <a:gd name="T69" fmla="*/ 1104 h 4375"/>
                <a:gd name="T70" fmla="*/ 1187 w 2958"/>
                <a:gd name="T71" fmla="*/ 798 h 4375"/>
                <a:gd name="T72" fmla="*/ 1177 w 2958"/>
                <a:gd name="T73" fmla="*/ 1033 h 4375"/>
                <a:gd name="T74" fmla="*/ 1156 w 2958"/>
                <a:gd name="T75" fmla="*/ 1240 h 4375"/>
                <a:gd name="T76" fmla="*/ 660 w 2958"/>
                <a:gd name="T77" fmla="*/ 1527 h 4375"/>
                <a:gd name="T78" fmla="*/ 379 w 2958"/>
                <a:gd name="T79" fmla="*/ 1629 h 4375"/>
                <a:gd name="T80" fmla="*/ 146 w 2958"/>
                <a:gd name="T81" fmla="*/ 1930 h 4375"/>
                <a:gd name="T82" fmla="*/ 16 w 2958"/>
                <a:gd name="T83" fmla="*/ 2300 h 4375"/>
                <a:gd name="T84" fmla="*/ 254 w 2958"/>
                <a:gd name="T85" fmla="*/ 2647 h 4375"/>
                <a:gd name="T86" fmla="*/ 240 w 2958"/>
                <a:gd name="T87" fmla="*/ 3080 h 4375"/>
                <a:gd name="T88" fmla="*/ 388 w 2958"/>
                <a:gd name="T89" fmla="*/ 3510 h 4375"/>
                <a:gd name="T90" fmla="*/ 144 w 2958"/>
                <a:gd name="T91" fmla="*/ 3763 h 4375"/>
                <a:gd name="T92" fmla="*/ 207 w 2958"/>
                <a:gd name="T93" fmla="*/ 3994 h 4375"/>
                <a:gd name="T94" fmla="*/ 459 w 2958"/>
                <a:gd name="T95" fmla="*/ 4158 h 4375"/>
                <a:gd name="T96" fmla="*/ 655 w 2958"/>
                <a:gd name="T97" fmla="*/ 4334 h 4375"/>
                <a:gd name="T98" fmla="*/ 787 w 2958"/>
                <a:gd name="T99" fmla="*/ 4202 h 4375"/>
                <a:gd name="T100" fmla="*/ 980 w 2958"/>
                <a:gd name="T101" fmla="*/ 4031 h 4375"/>
                <a:gd name="T102" fmla="*/ 900 w 2958"/>
                <a:gd name="T103" fmla="*/ 3897 h 4375"/>
                <a:gd name="T104" fmla="*/ 897 w 2958"/>
                <a:gd name="T105" fmla="*/ 3757 h 4375"/>
                <a:gd name="T106" fmla="*/ 1029 w 2958"/>
                <a:gd name="T107" fmla="*/ 3667 h 4375"/>
                <a:gd name="T108" fmla="*/ 1275 w 2958"/>
                <a:gd name="T109" fmla="*/ 3761 h 4375"/>
                <a:gd name="T110" fmla="*/ 1584 w 2958"/>
                <a:gd name="T111" fmla="*/ 3653 h 4375"/>
                <a:gd name="T112" fmla="*/ 1805 w 2958"/>
                <a:gd name="T113" fmla="*/ 3325 h 4375"/>
                <a:gd name="T114" fmla="*/ 2195 w 2958"/>
                <a:gd name="T115" fmla="*/ 3293 h 4375"/>
                <a:gd name="T116" fmla="*/ 2530 w 2958"/>
                <a:gd name="T117" fmla="*/ 3316 h 4375"/>
                <a:gd name="T118" fmla="*/ 2725 w 2958"/>
                <a:gd name="T119" fmla="*/ 3294 h 4375"/>
                <a:gd name="T120" fmla="*/ 2854 w 2958"/>
                <a:gd name="T121" fmla="*/ 3138 h 4375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2958"/>
                <a:gd name="T184" fmla="*/ 0 h 4375"/>
                <a:gd name="T185" fmla="*/ 2958 w 2958"/>
                <a:gd name="T186" fmla="*/ 4375 h 4375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2958" h="4375">
                  <a:moveTo>
                    <a:pt x="2753" y="2965"/>
                  </a:moveTo>
                  <a:lnTo>
                    <a:pt x="2765" y="2963"/>
                  </a:lnTo>
                  <a:lnTo>
                    <a:pt x="2774" y="2963"/>
                  </a:lnTo>
                  <a:lnTo>
                    <a:pt x="2778" y="2961"/>
                  </a:lnTo>
                  <a:lnTo>
                    <a:pt x="2783" y="2960"/>
                  </a:lnTo>
                  <a:lnTo>
                    <a:pt x="2789" y="2957"/>
                  </a:lnTo>
                  <a:lnTo>
                    <a:pt x="2795" y="2953"/>
                  </a:lnTo>
                  <a:lnTo>
                    <a:pt x="2801" y="2948"/>
                  </a:lnTo>
                  <a:lnTo>
                    <a:pt x="2805" y="2941"/>
                  </a:lnTo>
                  <a:lnTo>
                    <a:pt x="2807" y="2933"/>
                  </a:lnTo>
                  <a:lnTo>
                    <a:pt x="2809" y="2924"/>
                  </a:lnTo>
                  <a:lnTo>
                    <a:pt x="2810" y="2904"/>
                  </a:lnTo>
                  <a:lnTo>
                    <a:pt x="2813" y="2881"/>
                  </a:lnTo>
                  <a:lnTo>
                    <a:pt x="2815" y="2873"/>
                  </a:lnTo>
                  <a:lnTo>
                    <a:pt x="2819" y="2865"/>
                  </a:lnTo>
                  <a:lnTo>
                    <a:pt x="2825" y="2857"/>
                  </a:lnTo>
                  <a:lnTo>
                    <a:pt x="2830" y="2851"/>
                  </a:lnTo>
                  <a:lnTo>
                    <a:pt x="2843" y="2839"/>
                  </a:lnTo>
                  <a:lnTo>
                    <a:pt x="2857" y="2827"/>
                  </a:lnTo>
                  <a:lnTo>
                    <a:pt x="2870" y="2815"/>
                  </a:lnTo>
                  <a:lnTo>
                    <a:pt x="2881" y="2801"/>
                  </a:lnTo>
                  <a:lnTo>
                    <a:pt x="2885" y="2793"/>
                  </a:lnTo>
                  <a:lnTo>
                    <a:pt x="2889" y="2785"/>
                  </a:lnTo>
                  <a:lnTo>
                    <a:pt x="2890" y="2777"/>
                  </a:lnTo>
                  <a:lnTo>
                    <a:pt x="2891" y="2767"/>
                  </a:lnTo>
                  <a:lnTo>
                    <a:pt x="2891" y="2757"/>
                  </a:lnTo>
                  <a:lnTo>
                    <a:pt x="2890" y="2748"/>
                  </a:lnTo>
                  <a:lnTo>
                    <a:pt x="2887" y="2740"/>
                  </a:lnTo>
                  <a:lnTo>
                    <a:pt x="2885" y="2732"/>
                  </a:lnTo>
                  <a:lnTo>
                    <a:pt x="2878" y="2716"/>
                  </a:lnTo>
                  <a:lnTo>
                    <a:pt x="2870" y="2703"/>
                  </a:lnTo>
                  <a:lnTo>
                    <a:pt x="2862" y="2691"/>
                  </a:lnTo>
                  <a:lnTo>
                    <a:pt x="2855" y="2679"/>
                  </a:lnTo>
                  <a:lnTo>
                    <a:pt x="2853" y="2672"/>
                  </a:lnTo>
                  <a:lnTo>
                    <a:pt x="2851" y="2665"/>
                  </a:lnTo>
                  <a:lnTo>
                    <a:pt x="2850" y="2659"/>
                  </a:lnTo>
                  <a:lnTo>
                    <a:pt x="2849" y="2652"/>
                  </a:lnTo>
                  <a:lnTo>
                    <a:pt x="2850" y="2635"/>
                  </a:lnTo>
                  <a:lnTo>
                    <a:pt x="2854" y="2620"/>
                  </a:lnTo>
                  <a:lnTo>
                    <a:pt x="2859" y="2607"/>
                  </a:lnTo>
                  <a:lnTo>
                    <a:pt x="2866" y="2596"/>
                  </a:lnTo>
                  <a:lnTo>
                    <a:pt x="2874" y="2585"/>
                  </a:lnTo>
                  <a:lnTo>
                    <a:pt x="2883" y="2577"/>
                  </a:lnTo>
                  <a:lnTo>
                    <a:pt x="2893" y="2569"/>
                  </a:lnTo>
                  <a:lnTo>
                    <a:pt x="2903" y="2561"/>
                  </a:lnTo>
                  <a:lnTo>
                    <a:pt x="2914" y="2553"/>
                  </a:lnTo>
                  <a:lnTo>
                    <a:pt x="2923" y="2545"/>
                  </a:lnTo>
                  <a:lnTo>
                    <a:pt x="2932" y="2536"/>
                  </a:lnTo>
                  <a:lnTo>
                    <a:pt x="2940" y="2527"/>
                  </a:lnTo>
                  <a:lnTo>
                    <a:pt x="2947" y="2515"/>
                  </a:lnTo>
                  <a:lnTo>
                    <a:pt x="2952" y="2501"/>
                  </a:lnTo>
                  <a:lnTo>
                    <a:pt x="2956" y="2485"/>
                  </a:lnTo>
                  <a:lnTo>
                    <a:pt x="2958" y="2466"/>
                  </a:lnTo>
                  <a:lnTo>
                    <a:pt x="2955" y="2432"/>
                  </a:lnTo>
                  <a:lnTo>
                    <a:pt x="2951" y="2402"/>
                  </a:lnTo>
                  <a:lnTo>
                    <a:pt x="2947" y="2372"/>
                  </a:lnTo>
                  <a:lnTo>
                    <a:pt x="2946" y="2346"/>
                  </a:lnTo>
                  <a:lnTo>
                    <a:pt x="2927" y="2344"/>
                  </a:lnTo>
                  <a:lnTo>
                    <a:pt x="2904" y="2340"/>
                  </a:lnTo>
                  <a:lnTo>
                    <a:pt x="2879" y="2334"/>
                  </a:lnTo>
                  <a:lnTo>
                    <a:pt x="2854" y="2326"/>
                  </a:lnTo>
                  <a:lnTo>
                    <a:pt x="2842" y="2320"/>
                  </a:lnTo>
                  <a:lnTo>
                    <a:pt x="2831" y="2315"/>
                  </a:lnTo>
                  <a:lnTo>
                    <a:pt x="2821" y="2308"/>
                  </a:lnTo>
                  <a:lnTo>
                    <a:pt x="2813" y="2303"/>
                  </a:lnTo>
                  <a:lnTo>
                    <a:pt x="2805" y="2296"/>
                  </a:lnTo>
                  <a:lnTo>
                    <a:pt x="2799" y="2288"/>
                  </a:lnTo>
                  <a:lnTo>
                    <a:pt x="2797" y="2282"/>
                  </a:lnTo>
                  <a:lnTo>
                    <a:pt x="2795" y="2274"/>
                  </a:lnTo>
                  <a:lnTo>
                    <a:pt x="2795" y="2267"/>
                  </a:lnTo>
                  <a:lnTo>
                    <a:pt x="2798" y="2259"/>
                  </a:lnTo>
                  <a:lnTo>
                    <a:pt x="2801" y="2252"/>
                  </a:lnTo>
                  <a:lnTo>
                    <a:pt x="2805" y="2244"/>
                  </a:lnTo>
                  <a:lnTo>
                    <a:pt x="2813" y="2232"/>
                  </a:lnTo>
                  <a:lnTo>
                    <a:pt x="2819" y="2226"/>
                  </a:lnTo>
                  <a:lnTo>
                    <a:pt x="2813" y="2111"/>
                  </a:lnTo>
                  <a:lnTo>
                    <a:pt x="2794" y="2099"/>
                  </a:lnTo>
                  <a:lnTo>
                    <a:pt x="2775" y="2088"/>
                  </a:lnTo>
                  <a:lnTo>
                    <a:pt x="2758" y="2076"/>
                  </a:lnTo>
                  <a:lnTo>
                    <a:pt x="2741" y="2063"/>
                  </a:lnTo>
                  <a:lnTo>
                    <a:pt x="2733" y="2056"/>
                  </a:lnTo>
                  <a:lnTo>
                    <a:pt x="2726" y="2048"/>
                  </a:lnTo>
                  <a:lnTo>
                    <a:pt x="2719" y="2039"/>
                  </a:lnTo>
                  <a:lnTo>
                    <a:pt x="2714" y="2030"/>
                  </a:lnTo>
                  <a:lnTo>
                    <a:pt x="2710" y="2020"/>
                  </a:lnTo>
                  <a:lnTo>
                    <a:pt x="2707" y="2010"/>
                  </a:lnTo>
                  <a:lnTo>
                    <a:pt x="2705" y="1998"/>
                  </a:lnTo>
                  <a:lnTo>
                    <a:pt x="2705" y="1984"/>
                  </a:lnTo>
                  <a:lnTo>
                    <a:pt x="2705" y="1934"/>
                  </a:lnTo>
                  <a:lnTo>
                    <a:pt x="2705" y="1896"/>
                  </a:lnTo>
                  <a:lnTo>
                    <a:pt x="2705" y="1862"/>
                  </a:lnTo>
                  <a:lnTo>
                    <a:pt x="2705" y="1822"/>
                  </a:lnTo>
                  <a:lnTo>
                    <a:pt x="2705" y="1811"/>
                  </a:lnTo>
                  <a:lnTo>
                    <a:pt x="2703" y="1802"/>
                  </a:lnTo>
                  <a:lnTo>
                    <a:pt x="2702" y="1795"/>
                  </a:lnTo>
                  <a:lnTo>
                    <a:pt x="2701" y="1789"/>
                  </a:lnTo>
                  <a:lnTo>
                    <a:pt x="2698" y="1783"/>
                  </a:lnTo>
                  <a:lnTo>
                    <a:pt x="2695" y="1778"/>
                  </a:lnTo>
                  <a:lnTo>
                    <a:pt x="2693" y="1774"/>
                  </a:lnTo>
                  <a:lnTo>
                    <a:pt x="2689" y="1771"/>
                  </a:lnTo>
                  <a:lnTo>
                    <a:pt x="2671" y="1758"/>
                  </a:lnTo>
                  <a:lnTo>
                    <a:pt x="2650" y="1738"/>
                  </a:lnTo>
                  <a:lnTo>
                    <a:pt x="2645" y="1722"/>
                  </a:lnTo>
                  <a:lnTo>
                    <a:pt x="2638" y="1695"/>
                  </a:lnTo>
                  <a:lnTo>
                    <a:pt x="2631" y="1662"/>
                  </a:lnTo>
                  <a:lnTo>
                    <a:pt x="2625" y="1626"/>
                  </a:lnTo>
                  <a:lnTo>
                    <a:pt x="2618" y="1591"/>
                  </a:lnTo>
                  <a:lnTo>
                    <a:pt x="2613" y="1562"/>
                  </a:lnTo>
                  <a:lnTo>
                    <a:pt x="2610" y="1541"/>
                  </a:lnTo>
                  <a:lnTo>
                    <a:pt x="2609" y="1533"/>
                  </a:lnTo>
                  <a:lnTo>
                    <a:pt x="2609" y="1527"/>
                  </a:lnTo>
                  <a:lnTo>
                    <a:pt x="2610" y="1523"/>
                  </a:lnTo>
                  <a:lnTo>
                    <a:pt x="2611" y="1519"/>
                  </a:lnTo>
                  <a:lnTo>
                    <a:pt x="2614" y="1517"/>
                  </a:lnTo>
                  <a:lnTo>
                    <a:pt x="2621" y="1511"/>
                  </a:lnTo>
                  <a:lnTo>
                    <a:pt x="2629" y="1509"/>
                  </a:lnTo>
                  <a:lnTo>
                    <a:pt x="2646" y="1506"/>
                  </a:lnTo>
                  <a:lnTo>
                    <a:pt x="2662" y="1502"/>
                  </a:lnTo>
                  <a:lnTo>
                    <a:pt x="2671" y="1495"/>
                  </a:lnTo>
                  <a:lnTo>
                    <a:pt x="2679" y="1485"/>
                  </a:lnTo>
                  <a:lnTo>
                    <a:pt x="2686" y="1474"/>
                  </a:lnTo>
                  <a:lnTo>
                    <a:pt x="2693" y="1463"/>
                  </a:lnTo>
                  <a:lnTo>
                    <a:pt x="2698" y="1451"/>
                  </a:lnTo>
                  <a:lnTo>
                    <a:pt x="2701" y="1439"/>
                  </a:lnTo>
                  <a:lnTo>
                    <a:pt x="2703" y="1429"/>
                  </a:lnTo>
                  <a:lnTo>
                    <a:pt x="2705" y="1418"/>
                  </a:lnTo>
                  <a:lnTo>
                    <a:pt x="2710" y="1418"/>
                  </a:lnTo>
                  <a:lnTo>
                    <a:pt x="2705" y="1406"/>
                  </a:lnTo>
                  <a:lnTo>
                    <a:pt x="2702" y="1386"/>
                  </a:lnTo>
                  <a:lnTo>
                    <a:pt x="2698" y="1370"/>
                  </a:lnTo>
                  <a:lnTo>
                    <a:pt x="2709" y="1363"/>
                  </a:lnTo>
                  <a:lnTo>
                    <a:pt x="2715" y="1357"/>
                  </a:lnTo>
                  <a:lnTo>
                    <a:pt x="2721" y="1349"/>
                  </a:lnTo>
                  <a:lnTo>
                    <a:pt x="2725" y="1341"/>
                  </a:lnTo>
                  <a:lnTo>
                    <a:pt x="2727" y="1331"/>
                  </a:lnTo>
                  <a:lnTo>
                    <a:pt x="2729" y="1322"/>
                  </a:lnTo>
                  <a:lnTo>
                    <a:pt x="2729" y="1310"/>
                  </a:lnTo>
                  <a:lnTo>
                    <a:pt x="2729" y="1298"/>
                  </a:lnTo>
                  <a:lnTo>
                    <a:pt x="2727" y="1285"/>
                  </a:lnTo>
                  <a:lnTo>
                    <a:pt x="2726" y="1274"/>
                  </a:lnTo>
                  <a:lnTo>
                    <a:pt x="2723" y="1264"/>
                  </a:lnTo>
                  <a:lnTo>
                    <a:pt x="2719" y="1254"/>
                  </a:lnTo>
                  <a:lnTo>
                    <a:pt x="2715" y="1245"/>
                  </a:lnTo>
                  <a:lnTo>
                    <a:pt x="2710" y="1238"/>
                  </a:lnTo>
                  <a:lnTo>
                    <a:pt x="2705" y="1230"/>
                  </a:lnTo>
                  <a:lnTo>
                    <a:pt x="2698" y="1225"/>
                  </a:lnTo>
                  <a:lnTo>
                    <a:pt x="2686" y="1213"/>
                  </a:lnTo>
                  <a:lnTo>
                    <a:pt x="2673" y="1201"/>
                  </a:lnTo>
                  <a:lnTo>
                    <a:pt x="2661" y="1190"/>
                  </a:lnTo>
                  <a:lnTo>
                    <a:pt x="2650" y="1177"/>
                  </a:lnTo>
                  <a:lnTo>
                    <a:pt x="2645" y="1176"/>
                  </a:lnTo>
                  <a:lnTo>
                    <a:pt x="2641" y="1176"/>
                  </a:lnTo>
                  <a:lnTo>
                    <a:pt x="2637" y="1177"/>
                  </a:lnTo>
                  <a:lnTo>
                    <a:pt x="2633" y="1178"/>
                  </a:lnTo>
                  <a:lnTo>
                    <a:pt x="2629" y="1180"/>
                  </a:lnTo>
                  <a:lnTo>
                    <a:pt x="2622" y="1182"/>
                  </a:lnTo>
                  <a:lnTo>
                    <a:pt x="2614" y="1184"/>
                  </a:lnTo>
                  <a:lnTo>
                    <a:pt x="2602" y="1184"/>
                  </a:lnTo>
                  <a:lnTo>
                    <a:pt x="2590" y="1182"/>
                  </a:lnTo>
                  <a:lnTo>
                    <a:pt x="2578" y="1180"/>
                  </a:lnTo>
                  <a:lnTo>
                    <a:pt x="2565" y="1174"/>
                  </a:lnTo>
                  <a:lnTo>
                    <a:pt x="2550" y="1166"/>
                  </a:lnTo>
                  <a:lnTo>
                    <a:pt x="2537" y="1158"/>
                  </a:lnTo>
                  <a:lnTo>
                    <a:pt x="2522" y="1148"/>
                  </a:lnTo>
                  <a:lnTo>
                    <a:pt x="2509" y="1137"/>
                  </a:lnTo>
                  <a:lnTo>
                    <a:pt x="2495" y="1125"/>
                  </a:lnTo>
                  <a:lnTo>
                    <a:pt x="2482" y="1112"/>
                  </a:lnTo>
                  <a:lnTo>
                    <a:pt x="2471" y="1098"/>
                  </a:lnTo>
                  <a:lnTo>
                    <a:pt x="2461" y="1085"/>
                  </a:lnTo>
                  <a:lnTo>
                    <a:pt x="2451" y="1072"/>
                  </a:lnTo>
                  <a:lnTo>
                    <a:pt x="2443" y="1058"/>
                  </a:lnTo>
                  <a:lnTo>
                    <a:pt x="2438" y="1045"/>
                  </a:lnTo>
                  <a:lnTo>
                    <a:pt x="2434" y="1033"/>
                  </a:lnTo>
                  <a:lnTo>
                    <a:pt x="2434" y="1021"/>
                  </a:lnTo>
                  <a:lnTo>
                    <a:pt x="2434" y="1008"/>
                  </a:lnTo>
                  <a:lnTo>
                    <a:pt x="2435" y="996"/>
                  </a:lnTo>
                  <a:lnTo>
                    <a:pt x="2438" y="984"/>
                  </a:lnTo>
                  <a:lnTo>
                    <a:pt x="2441" y="974"/>
                  </a:lnTo>
                  <a:lnTo>
                    <a:pt x="2445" y="965"/>
                  </a:lnTo>
                  <a:lnTo>
                    <a:pt x="2449" y="956"/>
                  </a:lnTo>
                  <a:lnTo>
                    <a:pt x="2454" y="949"/>
                  </a:lnTo>
                  <a:lnTo>
                    <a:pt x="2459" y="942"/>
                  </a:lnTo>
                  <a:lnTo>
                    <a:pt x="2473" y="930"/>
                  </a:lnTo>
                  <a:lnTo>
                    <a:pt x="2487" y="920"/>
                  </a:lnTo>
                  <a:lnTo>
                    <a:pt x="2502" y="912"/>
                  </a:lnTo>
                  <a:lnTo>
                    <a:pt x="2518" y="902"/>
                  </a:lnTo>
                  <a:lnTo>
                    <a:pt x="2534" y="894"/>
                  </a:lnTo>
                  <a:lnTo>
                    <a:pt x="2549" y="885"/>
                  </a:lnTo>
                  <a:lnTo>
                    <a:pt x="2563" y="876"/>
                  </a:lnTo>
                  <a:lnTo>
                    <a:pt x="2575" y="862"/>
                  </a:lnTo>
                  <a:lnTo>
                    <a:pt x="2582" y="856"/>
                  </a:lnTo>
                  <a:lnTo>
                    <a:pt x="2586" y="848"/>
                  </a:lnTo>
                  <a:lnTo>
                    <a:pt x="2591" y="838"/>
                  </a:lnTo>
                  <a:lnTo>
                    <a:pt x="2595" y="829"/>
                  </a:lnTo>
                  <a:lnTo>
                    <a:pt x="2598" y="818"/>
                  </a:lnTo>
                  <a:lnTo>
                    <a:pt x="2601" y="806"/>
                  </a:lnTo>
                  <a:lnTo>
                    <a:pt x="2602" y="794"/>
                  </a:lnTo>
                  <a:lnTo>
                    <a:pt x="2602" y="780"/>
                  </a:lnTo>
                  <a:lnTo>
                    <a:pt x="2601" y="762"/>
                  </a:lnTo>
                  <a:lnTo>
                    <a:pt x="2598" y="746"/>
                  </a:lnTo>
                  <a:lnTo>
                    <a:pt x="2594" y="732"/>
                  </a:lnTo>
                  <a:lnTo>
                    <a:pt x="2589" y="719"/>
                  </a:lnTo>
                  <a:lnTo>
                    <a:pt x="2582" y="707"/>
                  </a:lnTo>
                  <a:lnTo>
                    <a:pt x="2575" y="695"/>
                  </a:lnTo>
                  <a:lnTo>
                    <a:pt x="2567" y="684"/>
                  </a:lnTo>
                  <a:lnTo>
                    <a:pt x="2559" y="675"/>
                  </a:lnTo>
                  <a:lnTo>
                    <a:pt x="2545" y="655"/>
                  </a:lnTo>
                  <a:lnTo>
                    <a:pt x="2531" y="637"/>
                  </a:lnTo>
                  <a:lnTo>
                    <a:pt x="2526" y="628"/>
                  </a:lnTo>
                  <a:lnTo>
                    <a:pt x="2522" y="619"/>
                  </a:lnTo>
                  <a:lnTo>
                    <a:pt x="2519" y="609"/>
                  </a:lnTo>
                  <a:lnTo>
                    <a:pt x="2518" y="600"/>
                  </a:lnTo>
                  <a:lnTo>
                    <a:pt x="2519" y="589"/>
                  </a:lnTo>
                  <a:lnTo>
                    <a:pt x="2522" y="581"/>
                  </a:lnTo>
                  <a:lnTo>
                    <a:pt x="2526" y="576"/>
                  </a:lnTo>
                  <a:lnTo>
                    <a:pt x="2533" y="571"/>
                  </a:lnTo>
                  <a:lnTo>
                    <a:pt x="2547" y="564"/>
                  </a:lnTo>
                  <a:lnTo>
                    <a:pt x="2565" y="557"/>
                  </a:lnTo>
                  <a:lnTo>
                    <a:pt x="2573" y="553"/>
                  </a:lnTo>
                  <a:lnTo>
                    <a:pt x="2581" y="549"/>
                  </a:lnTo>
                  <a:lnTo>
                    <a:pt x="2587" y="543"/>
                  </a:lnTo>
                  <a:lnTo>
                    <a:pt x="2594" y="535"/>
                  </a:lnTo>
                  <a:lnTo>
                    <a:pt x="2599" y="525"/>
                  </a:lnTo>
                  <a:lnTo>
                    <a:pt x="2602" y="513"/>
                  </a:lnTo>
                  <a:lnTo>
                    <a:pt x="2603" y="497"/>
                  </a:lnTo>
                  <a:lnTo>
                    <a:pt x="2602" y="479"/>
                  </a:lnTo>
                  <a:lnTo>
                    <a:pt x="2599" y="467"/>
                  </a:lnTo>
                  <a:lnTo>
                    <a:pt x="2595" y="456"/>
                  </a:lnTo>
                  <a:lnTo>
                    <a:pt x="2589" y="448"/>
                  </a:lnTo>
                  <a:lnTo>
                    <a:pt x="2582" y="441"/>
                  </a:lnTo>
                  <a:lnTo>
                    <a:pt x="2573" y="436"/>
                  </a:lnTo>
                  <a:lnTo>
                    <a:pt x="2563" y="431"/>
                  </a:lnTo>
                  <a:lnTo>
                    <a:pt x="2553" y="427"/>
                  </a:lnTo>
                  <a:lnTo>
                    <a:pt x="2542" y="423"/>
                  </a:lnTo>
                  <a:lnTo>
                    <a:pt x="2533" y="419"/>
                  </a:lnTo>
                  <a:lnTo>
                    <a:pt x="2522" y="415"/>
                  </a:lnTo>
                  <a:lnTo>
                    <a:pt x="2513" y="411"/>
                  </a:lnTo>
                  <a:lnTo>
                    <a:pt x="2505" y="405"/>
                  </a:lnTo>
                  <a:lnTo>
                    <a:pt x="2498" y="399"/>
                  </a:lnTo>
                  <a:lnTo>
                    <a:pt x="2493" y="392"/>
                  </a:lnTo>
                  <a:lnTo>
                    <a:pt x="2489" y="383"/>
                  </a:lnTo>
                  <a:lnTo>
                    <a:pt x="2487" y="371"/>
                  </a:lnTo>
                  <a:lnTo>
                    <a:pt x="2487" y="359"/>
                  </a:lnTo>
                  <a:lnTo>
                    <a:pt x="2486" y="349"/>
                  </a:lnTo>
                  <a:lnTo>
                    <a:pt x="2486" y="345"/>
                  </a:lnTo>
                  <a:lnTo>
                    <a:pt x="2487" y="340"/>
                  </a:lnTo>
                  <a:lnTo>
                    <a:pt x="2490" y="335"/>
                  </a:lnTo>
                  <a:lnTo>
                    <a:pt x="2494" y="328"/>
                  </a:lnTo>
                  <a:lnTo>
                    <a:pt x="2465" y="333"/>
                  </a:lnTo>
                  <a:lnTo>
                    <a:pt x="2437" y="340"/>
                  </a:lnTo>
                  <a:lnTo>
                    <a:pt x="2425" y="344"/>
                  </a:lnTo>
                  <a:lnTo>
                    <a:pt x="2415" y="349"/>
                  </a:lnTo>
                  <a:lnTo>
                    <a:pt x="2411" y="353"/>
                  </a:lnTo>
                  <a:lnTo>
                    <a:pt x="2407" y="356"/>
                  </a:lnTo>
                  <a:lnTo>
                    <a:pt x="2405" y="360"/>
                  </a:lnTo>
                  <a:lnTo>
                    <a:pt x="2403" y="365"/>
                  </a:lnTo>
                  <a:lnTo>
                    <a:pt x="2421" y="385"/>
                  </a:lnTo>
                  <a:lnTo>
                    <a:pt x="2435" y="403"/>
                  </a:lnTo>
                  <a:lnTo>
                    <a:pt x="2443" y="417"/>
                  </a:lnTo>
                  <a:lnTo>
                    <a:pt x="2449" y="429"/>
                  </a:lnTo>
                  <a:lnTo>
                    <a:pt x="2450" y="435"/>
                  </a:lnTo>
                  <a:lnTo>
                    <a:pt x="2450" y="439"/>
                  </a:lnTo>
                  <a:lnTo>
                    <a:pt x="2450" y="443"/>
                  </a:lnTo>
                  <a:lnTo>
                    <a:pt x="2449" y="445"/>
                  </a:lnTo>
                  <a:lnTo>
                    <a:pt x="2446" y="448"/>
                  </a:lnTo>
                  <a:lnTo>
                    <a:pt x="2443" y="451"/>
                  </a:lnTo>
                  <a:lnTo>
                    <a:pt x="2439" y="452"/>
                  </a:lnTo>
                  <a:lnTo>
                    <a:pt x="2435" y="452"/>
                  </a:lnTo>
                  <a:lnTo>
                    <a:pt x="2425" y="452"/>
                  </a:lnTo>
                  <a:lnTo>
                    <a:pt x="2413" y="448"/>
                  </a:lnTo>
                  <a:lnTo>
                    <a:pt x="2397" y="443"/>
                  </a:lnTo>
                  <a:lnTo>
                    <a:pt x="2381" y="435"/>
                  </a:lnTo>
                  <a:lnTo>
                    <a:pt x="2362" y="424"/>
                  </a:lnTo>
                  <a:lnTo>
                    <a:pt x="2342" y="411"/>
                  </a:lnTo>
                  <a:lnTo>
                    <a:pt x="2322" y="395"/>
                  </a:lnTo>
                  <a:lnTo>
                    <a:pt x="2301" y="377"/>
                  </a:lnTo>
                  <a:lnTo>
                    <a:pt x="2289" y="392"/>
                  </a:lnTo>
                  <a:lnTo>
                    <a:pt x="2275" y="409"/>
                  </a:lnTo>
                  <a:lnTo>
                    <a:pt x="2269" y="420"/>
                  </a:lnTo>
                  <a:lnTo>
                    <a:pt x="2263" y="431"/>
                  </a:lnTo>
                  <a:lnTo>
                    <a:pt x="2259" y="441"/>
                  </a:lnTo>
                  <a:lnTo>
                    <a:pt x="2257" y="453"/>
                  </a:lnTo>
                  <a:lnTo>
                    <a:pt x="2257" y="460"/>
                  </a:lnTo>
                  <a:lnTo>
                    <a:pt x="2258" y="467"/>
                  </a:lnTo>
                  <a:lnTo>
                    <a:pt x="2259" y="473"/>
                  </a:lnTo>
                  <a:lnTo>
                    <a:pt x="2262" y="480"/>
                  </a:lnTo>
                  <a:lnTo>
                    <a:pt x="2266" y="487"/>
                  </a:lnTo>
                  <a:lnTo>
                    <a:pt x="2270" y="495"/>
                  </a:lnTo>
                  <a:lnTo>
                    <a:pt x="2275" y="501"/>
                  </a:lnTo>
                  <a:lnTo>
                    <a:pt x="2282" y="509"/>
                  </a:lnTo>
                  <a:lnTo>
                    <a:pt x="2290" y="516"/>
                  </a:lnTo>
                  <a:lnTo>
                    <a:pt x="2299" y="524"/>
                  </a:lnTo>
                  <a:lnTo>
                    <a:pt x="2310" y="532"/>
                  </a:lnTo>
                  <a:lnTo>
                    <a:pt x="2322" y="541"/>
                  </a:lnTo>
                  <a:lnTo>
                    <a:pt x="2350" y="557"/>
                  </a:lnTo>
                  <a:lnTo>
                    <a:pt x="2385" y="576"/>
                  </a:lnTo>
                  <a:lnTo>
                    <a:pt x="2389" y="581"/>
                  </a:lnTo>
                  <a:lnTo>
                    <a:pt x="2398" y="595"/>
                  </a:lnTo>
                  <a:lnTo>
                    <a:pt x="2411" y="615"/>
                  </a:lnTo>
                  <a:lnTo>
                    <a:pt x="2423" y="640"/>
                  </a:lnTo>
                  <a:lnTo>
                    <a:pt x="2429" y="652"/>
                  </a:lnTo>
                  <a:lnTo>
                    <a:pt x="2434" y="665"/>
                  </a:lnTo>
                  <a:lnTo>
                    <a:pt x="2437" y="677"/>
                  </a:lnTo>
                  <a:lnTo>
                    <a:pt x="2438" y="689"/>
                  </a:lnTo>
                  <a:lnTo>
                    <a:pt x="2438" y="701"/>
                  </a:lnTo>
                  <a:lnTo>
                    <a:pt x="2435" y="711"/>
                  </a:lnTo>
                  <a:lnTo>
                    <a:pt x="2433" y="716"/>
                  </a:lnTo>
                  <a:lnTo>
                    <a:pt x="2430" y="720"/>
                  </a:lnTo>
                  <a:lnTo>
                    <a:pt x="2426" y="723"/>
                  </a:lnTo>
                  <a:lnTo>
                    <a:pt x="2422" y="727"/>
                  </a:lnTo>
                  <a:lnTo>
                    <a:pt x="2415" y="723"/>
                  </a:lnTo>
                  <a:lnTo>
                    <a:pt x="2409" y="717"/>
                  </a:lnTo>
                  <a:lnTo>
                    <a:pt x="2403" y="712"/>
                  </a:lnTo>
                  <a:lnTo>
                    <a:pt x="2399" y="707"/>
                  </a:lnTo>
                  <a:lnTo>
                    <a:pt x="2390" y="693"/>
                  </a:lnTo>
                  <a:lnTo>
                    <a:pt x="2382" y="680"/>
                  </a:lnTo>
                  <a:lnTo>
                    <a:pt x="2374" y="664"/>
                  </a:lnTo>
                  <a:lnTo>
                    <a:pt x="2366" y="649"/>
                  </a:lnTo>
                  <a:lnTo>
                    <a:pt x="2355" y="636"/>
                  </a:lnTo>
                  <a:lnTo>
                    <a:pt x="2343" y="624"/>
                  </a:lnTo>
                  <a:lnTo>
                    <a:pt x="2327" y="623"/>
                  </a:lnTo>
                  <a:lnTo>
                    <a:pt x="2313" y="620"/>
                  </a:lnTo>
                  <a:lnTo>
                    <a:pt x="2298" y="616"/>
                  </a:lnTo>
                  <a:lnTo>
                    <a:pt x="2285" y="611"/>
                  </a:lnTo>
                  <a:lnTo>
                    <a:pt x="2271" y="605"/>
                  </a:lnTo>
                  <a:lnTo>
                    <a:pt x="2259" y="597"/>
                  </a:lnTo>
                  <a:lnTo>
                    <a:pt x="2249" y="589"/>
                  </a:lnTo>
                  <a:lnTo>
                    <a:pt x="2238" y="581"/>
                  </a:lnTo>
                  <a:lnTo>
                    <a:pt x="2229" y="572"/>
                  </a:lnTo>
                  <a:lnTo>
                    <a:pt x="2221" y="563"/>
                  </a:lnTo>
                  <a:lnTo>
                    <a:pt x="2213" y="553"/>
                  </a:lnTo>
                  <a:lnTo>
                    <a:pt x="2206" y="545"/>
                  </a:lnTo>
                  <a:lnTo>
                    <a:pt x="2202" y="536"/>
                  </a:lnTo>
                  <a:lnTo>
                    <a:pt x="2197" y="528"/>
                  </a:lnTo>
                  <a:lnTo>
                    <a:pt x="2194" y="521"/>
                  </a:lnTo>
                  <a:lnTo>
                    <a:pt x="2193" y="515"/>
                  </a:lnTo>
                  <a:lnTo>
                    <a:pt x="2191" y="499"/>
                  </a:lnTo>
                  <a:lnTo>
                    <a:pt x="2193" y="483"/>
                  </a:lnTo>
                  <a:lnTo>
                    <a:pt x="2194" y="468"/>
                  </a:lnTo>
                  <a:lnTo>
                    <a:pt x="2197" y="453"/>
                  </a:lnTo>
                  <a:lnTo>
                    <a:pt x="2201" y="440"/>
                  </a:lnTo>
                  <a:lnTo>
                    <a:pt x="2205" y="427"/>
                  </a:lnTo>
                  <a:lnTo>
                    <a:pt x="2210" y="413"/>
                  </a:lnTo>
                  <a:lnTo>
                    <a:pt x="2215" y="400"/>
                  </a:lnTo>
                  <a:lnTo>
                    <a:pt x="2227" y="375"/>
                  </a:lnTo>
                  <a:lnTo>
                    <a:pt x="2239" y="351"/>
                  </a:lnTo>
                  <a:lnTo>
                    <a:pt x="2253" y="325"/>
                  </a:lnTo>
                  <a:lnTo>
                    <a:pt x="2265" y="299"/>
                  </a:lnTo>
                  <a:lnTo>
                    <a:pt x="2267" y="285"/>
                  </a:lnTo>
                  <a:lnTo>
                    <a:pt x="2271" y="248"/>
                  </a:lnTo>
                  <a:lnTo>
                    <a:pt x="2273" y="223"/>
                  </a:lnTo>
                  <a:lnTo>
                    <a:pt x="2273" y="195"/>
                  </a:lnTo>
                  <a:lnTo>
                    <a:pt x="2270" y="163"/>
                  </a:lnTo>
                  <a:lnTo>
                    <a:pt x="2265" y="130"/>
                  </a:lnTo>
                  <a:lnTo>
                    <a:pt x="2258" y="124"/>
                  </a:lnTo>
                  <a:lnTo>
                    <a:pt x="2251" y="122"/>
                  </a:lnTo>
                  <a:lnTo>
                    <a:pt x="2246" y="120"/>
                  </a:lnTo>
                  <a:lnTo>
                    <a:pt x="2241" y="120"/>
                  </a:lnTo>
                  <a:lnTo>
                    <a:pt x="2235" y="123"/>
                  </a:lnTo>
                  <a:lnTo>
                    <a:pt x="2231" y="127"/>
                  </a:lnTo>
                  <a:lnTo>
                    <a:pt x="2229" y="131"/>
                  </a:lnTo>
                  <a:lnTo>
                    <a:pt x="2225" y="138"/>
                  </a:lnTo>
                  <a:lnTo>
                    <a:pt x="2219" y="153"/>
                  </a:lnTo>
                  <a:lnTo>
                    <a:pt x="2215" y="172"/>
                  </a:lnTo>
                  <a:lnTo>
                    <a:pt x="2211" y="195"/>
                  </a:lnTo>
                  <a:lnTo>
                    <a:pt x="2209" y="217"/>
                  </a:lnTo>
                  <a:lnTo>
                    <a:pt x="2206" y="243"/>
                  </a:lnTo>
                  <a:lnTo>
                    <a:pt x="2203" y="265"/>
                  </a:lnTo>
                  <a:lnTo>
                    <a:pt x="2199" y="288"/>
                  </a:lnTo>
                  <a:lnTo>
                    <a:pt x="2195" y="308"/>
                  </a:lnTo>
                  <a:lnTo>
                    <a:pt x="2193" y="317"/>
                  </a:lnTo>
                  <a:lnTo>
                    <a:pt x="2190" y="325"/>
                  </a:lnTo>
                  <a:lnTo>
                    <a:pt x="2186" y="332"/>
                  </a:lnTo>
                  <a:lnTo>
                    <a:pt x="2182" y="339"/>
                  </a:lnTo>
                  <a:lnTo>
                    <a:pt x="2178" y="343"/>
                  </a:lnTo>
                  <a:lnTo>
                    <a:pt x="2174" y="345"/>
                  </a:lnTo>
                  <a:lnTo>
                    <a:pt x="2169" y="347"/>
                  </a:lnTo>
                  <a:lnTo>
                    <a:pt x="2162" y="347"/>
                  </a:lnTo>
                  <a:lnTo>
                    <a:pt x="2138" y="352"/>
                  </a:lnTo>
                  <a:lnTo>
                    <a:pt x="2117" y="359"/>
                  </a:lnTo>
                  <a:lnTo>
                    <a:pt x="2098" y="365"/>
                  </a:lnTo>
                  <a:lnTo>
                    <a:pt x="2082" y="372"/>
                  </a:lnTo>
                  <a:lnTo>
                    <a:pt x="2069" y="380"/>
                  </a:lnTo>
                  <a:lnTo>
                    <a:pt x="2057" y="388"/>
                  </a:lnTo>
                  <a:lnTo>
                    <a:pt x="2048" y="396"/>
                  </a:lnTo>
                  <a:lnTo>
                    <a:pt x="2040" y="404"/>
                  </a:lnTo>
                  <a:lnTo>
                    <a:pt x="2033" y="413"/>
                  </a:lnTo>
                  <a:lnTo>
                    <a:pt x="2029" y="423"/>
                  </a:lnTo>
                  <a:lnTo>
                    <a:pt x="2025" y="432"/>
                  </a:lnTo>
                  <a:lnTo>
                    <a:pt x="2021" y="443"/>
                  </a:lnTo>
                  <a:lnTo>
                    <a:pt x="2016" y="463"/>
                  </a:lnTo>
                  <a:lnTo>
                    <a:pt x="2012" y="485"/>
                  </a:lnTo>
                  <a:lnTo>
                    <a:pt x="2009" y="505"/>
                  </a:lnTo>
                  <a:lnTo>
                    <a:pt x="2009" y="525"/>
                  </a:lnTo>
                  <a:lnTo>
                    <a:pt x="2010" y="548"/>
                  </a:lnTo>
                  <a:lnTo>
                    <a:pt x="2013" y="569"/>
                  </a:lnTo>
                  <a:lnTo>
                    <a:pt x="2022" y="615"/>
                  </a:lnTo>
                  <a:lnTo>
                    <a:pt x="2032" y="657"/>
                  </a:lnTo>
                  <a:lnTo>
                    <a:pt x="2036" y="679"/>
                  </a:lnTo>
                  <a:lnTo>
                    <a:pt x="2038" y="699"/>
                  </a:lnTo>
                  <a:lnTo>
                    <a:pt x="2040" y="716"/>
                  </a:lnTo>
                  <a:lnTo>
                    <a:pt x="2040" y="733"/>
                  </a:lnTo>
                  <a:lnTo>
                    <a:pt x="2038" y="741"/>
                  </a:lnTo>
                  <a:lnTo>
                    <a:pt x="2036" y="748"/>
                  </a:lnTo>
                  <a:lnTo>
                    <a:pt x="2033" y="754"/>
                  </a:lnTo>
                  <a:lnTo>
                    <a:pt x="2029" y="761"/>
                  </a:lnTo>
                  <a:lnTo>
                    <a:pt x="2025" y="766"/>
                  </a:lnTo>
                  <a:lnTo>
                    <a:pt x="2020" y="772"/>
                  </a:lnTo>
                  <a:lnTo>
                    <a:pt x="2013" y="777"/>
                  </a:lnTo>
                  <a:lnTo>
                    <a:pt x="2006" y="780"/>
                  </a:lnTo>
                  <a:lnTo>
                    <a:pt x="1994" y="810"/>
                  </a:lnTo>
                  <a:lnTo>
                    <a:pt x="1984" y="840"/>
                  </a:lnTo>
                  <a:lnTo>
                    <a:pt x="1974" y="868"/>
                  </a:lnTo>
                  <a:lnTo>
                    <a:pt x="1965" y="894"/>
                  </a:lnTo>
                  <a:lnTo>
                    <a:pt x="1957" y="920"/>
                  </a:lnTo>
                  <a:lnTo>
                    <a:pt x="1950" y="945"/>
                  </a:lnTo>
                  <a:lnTo>
                    <a:pt x="1948" y="968"/>
                  </a:lnTo>
                  <a:lnTo>
                    <a:pt x="1946" y="990"/>
                  </a:lnTo>
                  <a:lnTo>
                    <a:pt x="1945" y="1029"/>
                  </a:lnTo>
                  <a:lnTo>
                    <a:pt x="1945" y="1060"/>
                  </a:lnTo>
                  <a:lnTo>
                    <a:pt x="1946" y="1073"/>
                  </a:lnTo>
                  <a:lnTo>
                    <a:pt x="1949" y="1085"/>
                  </a:lnTo>
                  <a:lnTo>
                    <a:pt x="1953" y="1096"/>
                  </a:lnTo>
                  <a:lnTo>
                    <a:pt x="1958" y="1104"/>
                  </a:lnTo>
                  <a:lnTo>
                    <a:pt x="1962" y="1106"/>
                  </a:lnTo>
                  <a:lnTo>
                    <a:pt x="1966" y="1109"/>
                  </a:lnTo>
                  <a:lnTo>
                    <a:pt x="1972" y="1112"/>
                  </a:lnTo>
                  <a:lnTo>
                    <a:pt x="1978" y="1113"/>
                  </a:lnTo>
                  <a:lnTo>
                    <a:pt x="1992" y="1116"/>
                  </a:lnTo>
                  <a:lnTo>
                    <a:pt x="2009" y="1116"/>
                  </a:lnTo>
                  <a:lnTo>
                    <a:pt x="2030" y="1113"/>
                  </a:lnTo>
                  <a:lnTo>
                    <a:pt x="2056" y="1109"/>
                  </a:lnTo>
                  <a:lnTo>
                    <a:pt x="2086" y="1102"/>
                  </a:lnTo>
                  <a:lnTo>
                    <a:pt x="2121" y="1093"/>
                  </a:lnTo>
                  <a:lnTo>
                    <a:pt x="2136" y="1097"/>
                  </a:lnTo>
                  <a:lnTo>
                    <a:pt x="2150" y="1104"/>
                  </a:lnTo>
                  <a:lnTo>
                    <a:pt x="2163" y="1110"/>
                  </a:lnTo>
                  <a:lnTo>
                    <a:pt x="2175" y="1118"/>
                  </a:lnTo>
                  <a:lnTo>
                    <a:pt x="2187" y="1128"/>
                  </a:lnTo>
                  <a:lnTo>
                    <a:pt x="2198" y="1140"/>
                  </a:lnTo>
                  <a:lnTo>
                    <a:pt x="2209" y="1152"/>
                  </a:lnTo>
                  <a:lnTo>
                    <a:pt x="2217" y="1164"/>
                  </a:lnTo>
                  <a:lnTo>
                    <a:pt x="2226" y="1178"/>
                  </a:lnTo>
                  <a:lnTo>
                    <a:pt x="2233" y="1193"/>
                  </a:lnTo>
                  <a:lnTo>
                    <a:pt x="2241" y="1209"/>
                  </a:lnTo>
                  <a:lnTo>
                    <a:pt x="2246" y="1225"/>
                  </a:lnTo>
                  <a:lnTo>
                    <a:pt x="2251" y="1242"/>
                  </a:lnTo>
                  <a:lnTo>
                    <a:pt x="2257" y="1261"/>
                  </a:lnTo>
                  <a:lnTo>
                    <a:pt x="2261" y="1280"/>
                  </a:lnTo>
                  <a:lnTo>
                    <a:pt x="2265" y="1298"/>
                  </a:lnTo>
                  <a:lnTo>
                    <a:pt x="2267" y="1315"/>
                  </a:lnTo>
                  <a:lnTo>
                    <a:pt x="2267" y="1330"/>
                  </a:lnTo>
                  <a:lnTo>
                    <a:pt x="2265" y="1343"/>
                  </a:lnTo>
                  <a:lnTo>
                    <a:pt x="2262" y="1354"/>
                  </a:lnTo>
                  <a:lnTo>
                    <a:pt x="2257" y="1362"/>
                  </a:lnTo>
                  <a:lnTo>
                    <a:pt x="2251" y="1369"/>
                  </a:lnTo>
                  <a:lnTo>
                    <a:pt x="2245" y="1375"/>
                  </a:lnTo>
                  <a:lnTo>
                    <a:pt x="2237" y="1381"/>
                  </a:lnTo>
                  <a:lnTo>
                    <a:pt x="2221" y="1390"/>
                  </a:lnTo>
                  <a:lnTo>
                    <a:pt x="2206" y="1401"/>
                  </a:lnTo>
                  <a:lnTo>
                    <a:pt x="2199" y="1407"/>
                  </a:lnTo>
                  <a:lnTo>
                    <a:pt x="2194" y="1415"/>
                  </a:lnTo>
                  <a:lnTo>
                    <a:pt x="2190" y="1425"/>
                  </a:lnTo>
                  <a:lnTo>
                    <a:pt x="2186" y="1437"/>
                  </a:lnTo>
                  <a:lnTo>
                    <a:pt x="2186" y="1443"/>
                  </a:lnTo>
                  <a:lnTo>
                    <a:pt x="2187" y="1450"/>
                  </a:lnTo>
                  <a:lnTo>
                    <a:pt x="2189" y="1458"/>
                  </a:lnTo>
                  <a:lnTo>
                    <a:pt x="2190" y="1465"/>
                  </a:lnTo>
                  <a:lnTo>
                    <a:pt x="2197" y="1477"/>
                  </a:lnTo>
                  <a:lnTo>
                    <a:pt x="2205" y="1489"/>
                  </a:lnTo>
                  <a:lnTo>
                    <a:pt x="2214" y="1499"/>
                  </a:lnTo>
                  <a:lnTo>
                    <a:pt x="2226" y="1510"/>
                  </a:lnTo>
                  <a:lnTo>
                    <a:pt x="2237" y="1519"/>
                  </a:lnTo>
                  <a:lnTo>
                    <a:pt x="2250" y="1529"/>
                  </a:lnTo>
                  <a:lnTo>
                    <a:pt x="2274" y="1543"/>
                  </a:lnTo>
                  <a:lnTo>
                    <a:pt x="2295" y="1557"/>
                  </a:lnTo>
                  <a:lnTo>
                    <a:pt x="2303" y="1562"/>
                  </a:lnTo>
                  <a:lnTo>
                    <a:pt x="2309" y="1567"/>
                  </a:lnTo>
                  <a:lnTo>
                    <a:pt x="2313" y="1571"/>
                  </a:lnTo>
                  <a:lnTo>
                    <a:pt x="2313" y="1575"/>
                  </a:lnTo>
                  <a:lnTo>
                    <a:pt x="2299" y="1575"/>
                  </a:lnTo>
                  <a:lnTo>
                    <a:pt x="2286" y="1575"/>
                  </a:lnTo>
                  <a:lnTo>
                    <a:pt x="2273" y="1573"/>
                  </a:lnTo>
                  <a:lnTo>
                    <a:pt x="2259" y="1570"/>
                  </a:lnTo>
                  <a:lnTo>
                    <a:pt x="2246" y="1566"/>
                  </a:lnTo>
                  <a:lnTo>
                    <a:pt x="2234" y="1562"/>
                  </a:lnTo>
                  <a:lnTo>
                    <a:pt x="2222" y="1555"/>
                  </a:lnTo>
                  <a:lnTo>
                    <a:pt x="2210" y="1549"/>
                  </a:lnTo>
                  <a:lnTo>
                    <a:pt x="2201" y="1542"/>
                  </a:lnTo>
                  <a:lnTo>
                    <a:pt x="2191" y="1534"/>
                  </a:lnTo>
                  <a:lnTo>
                    <a:pt x="2183" y="1526"/>
                  </a:lnTo>
                  <a:lnTo>
                    <a:pt x="2175" y="1517"/>
                  </a:lnTo>
                  <a:lnTo>
                    <a:pt x="2170" y="1509"/>
                  </a:lnTo>
                  <a:lnTo>
                    <a:pt x="2166" y="1498"/>
                  </a:lnTo>
                  <a:lnTo>
                    <a:pt x="2163" y="1489"/>
                  </a:lnTo>
                  <a:lnTo>
                    <a:pt x="2162" y="1478"/>
                  </a:lnTo>
                  <a:lnTo>
                    <a:pt x="2163" y="1459"/>
                  </a:lnTo>
                  <a:lnTo>
                    <a:pt x="2166" y="1439"/>
                  </a:lnTo>
                  <a:lnTo>
                    <a:pt x="2170" y="1419"/>
                  </a:lnTo>
                  <a:lnTo>
                    <a:pt x="2175" y="1399"/>
                  </a:lnTo>
                  <a:lnTo>
                    <a:pt x="2193" y="1354"/>
                  </a:lnTo>
                  <a:lnTo>
                    <a:pt x="2217" y="1298"/>
                  </a:lnTo>
                  <a:lnTo>
                    <a:pt x="2206" y="1289"/>
                  </a:lnTo>
                  <a:lnTo>
                    <a:pt x="2197" y="1277"/>
                  </a:lnTo>
                  <a:lnTo>
                    <a:pt x="2190" y="1265"/>
                  </a:lnTo>
                  <a:lnTo>
                    <a:pt x="2182" y="1253"/>
                  </a:lnTo>
                  <a:lnTo>
                    <a:pt x="2170" y="1226"/>
                  </a:lnTo>
                  <a:lnTo>
                    <a:pt x="2157" y="1201"/>
                  </a:lnTo>
                  <a:lnTo>
                    <a:pt x="2149" y="1189"/>
                  </a:lnTo>
                  <a:lnTo>
                    <a:pt x="2140" y="1178"/>
                  </a:lnTo>
                  <a:lnTo>
                    <a:pt x="2129" y="1169"/>
                  </a:lnTo>
                  <a:lnTo>
                    <a:pt x="2117" y="1162"/>
                  </a:lnTo>
                  <a:lnTo>
                    <a:pt x="2110" y="1158"/>
                  </a:lnTo>
                  <a:lnTo>
                    <a:pt x="2102" y="1156"/>
                  </a:lnTo>
                  <a:lnTo>
                    <a:pt x="2094" y="1154"/>
                  </a:lnTo>
                  <a:lnTo>
                    <a:pt x="2085" y="1153"/>
                  </a:lnTo>
                  <a:lnTo>
                    <a:pt x="2076" y="1152"/>
                  </a:lnTo>
                  <a:lnTo>
                    <a:pt x="2065" y="1152"/>
                  </a:lnTo>
                  <a:lnTo>
                    <a:pt x="2054" y="1152"/>
                  </a:lnTo>
                  <a:lnTo>
                    <a:pt x="2042" y="1153"/>
                  </a:lnTo>
                  <a:lnTo>
                    <a:pt x="2022" y="1157"/>
                  </a:lnTo>
                  <a:lnTo>
                    <a:pt x="2006" y="1161"/>
                  </a:lnTo>
                  <a:lnTo>
                    <a:pt x="1990" y="1166"/>
                  </a:lnTo>
                  <a:lnTo>
                    <a:pt x="1978" y="1174"/>
                  </a:lnTo>
                  <a:lnTo>
                    <a:pt x="1973" y="1178"/>
                  </a:lnTo>
                  <a:lnTo>
                    <a:pt x="1968" y="1184"/>
                  </a:lnTo>
                  <a:lnTo>
                    <a:pt x="1962" y="1189"/>
                  </a:lnTo>
                  <a:lnTo>
                    <a:pt x="1958" y="1196"/>
                  </a:lnTo>
                  <a:lnTo>
                    <a:pt x="1950" y="1209"/>
                  </a:lnTo>
                  <a:lnTo>
                    <a:pt x="1945" y="1225"/>
                  </a:lnTo>
                  <a:lnTo>
                    <a:pt x="1941" y="1244"/>
                  </a:lnTo>
                  <a:lnTo>
                    <a:pt x="1938" y="1265"/>
                  </a:lnTo>
                  <a:lnTo>
                    <a:pt x="1937" y="1289"/>
                  </a:lnTo>
                  <a:lnTo>
                    <a:pt x="1938" y="1315"/>
                  </a:lnTo>
                  <a:lnTo>
                    <a:pt x="1940" y="1345"/>
                  </a:lnTo>
                  <a:lnTo>
                    <a:pt x="1942" y="1378"/>
                  </a:lnTo>
                  <a:lnTo>
                    <a:pt x="1946" y="1414"/>
                  </a:lnTo>
                  <a:lnTo>
                    <a:pt x="1952" y="1454"/>
                  </a:lnTo>
                  <a:lnTo>
                    <a:pt x="1913" y="1474"/>
                  </a:lnTo>
                  <a:lnTo>
                    <a:pt x="1886" y="1490"/>
                  </a:lnTo>
                  <a:lnTo>
                    <a:pt x="1877" y="1497"/>
                  </a:lnTo>
                  <a:lnTo>
                    <a:pt x="1869" y="1503"/>
                  </a:lnTo>
                  <a:lnTo>
                    <a:pt x="1862" y="1509"/>
                  </a:lnTo>
                  <a:lnTo>
                    <a:pt x="1858" y="1515"/>
                  </a:lnTo>
                  <a:lnTo>
                    <a:pt x="1846" y="1539"/>
                  </a:lnTo>
                  <a:lnTo>
                    <a:pt x="1832" y="1575"/>
                  </a:lnTo>
                  <a:lnTo>
                    <a:pt x="1822" y="1589"/>
                  </a:lnTo>
                  <a:lnTo>
                    <a:pt x="1814" y="1601"/>
                  </a:lnTo>
                  <a:lnTo>
                    <a:pt x="1806" y="1613"/>
                  </a:lnTo>
                  <a:lnTo>
                    <a:pt x="1797" y="1622"/>
                  </a:lnTo>
                  <a:lnTo>
                    <a:pt x="1789" y="1630"/>
                  </a:lnTo>
                  <a:lnTo>
                    <a:pt x="1780" y="1638"/>
                  </a:lnTo>
                  <a:lnTo>
                    <a:pt x="1772" y="1643"/>
                  </a:lnTo>
                  <a:lnTo>
                    <a:pt x="1764" y="1649"/>
                  </a:lnTo>
                  <a:lnTo>
                    <a:pt x="1746" y="1657"/>
                  </a:lnTo>
                  <a:lnTo>
                    <a:pt x="1730" y="1662"/>
                  </a:lnTo>
                  <a:lnTo>
                    <a:pt x="1714" y="1666"/>
                  </a:lnTo>
                  <a:lnTo>
                    <a:pt x="1700" y="1669"/>
                  </a:lnTo>
                  <a:lnTo>
                    <a:pt x="1685" y="1671"/>
                  </a:lnTo>
                  <a:lnTo>
                    <a:pt x="1672" y="1675"/>
                  </a:lnTo>
                  <a:lnTo>
                    <a:pt x="1658" y="1679"/>
                  </a:lnTo>
                  <a:lnTo>
                    <a:pt x="1646" y="1686"/>
                  </a:lnTo>
                  <a:lnTo>
                    <a:pt x="1640" y="1690"/>
                  </a:lnTo>
                  <a:lnTo>
                    <a:pt x="1634" y="1695"/>
                  </a:lnTo>
                  <a:lnTo>
                    <a:pt x="1629" y="1702"/>
                  </a:lnTo>
                  <a:lnTo>
                    <a:pt x="1625" y="1709"/>
                  </a:lnTo>
                  <a:lnTo>
                    <a:pt x="1620" y="1717"/>
                  </a:lnTo>
                  <a:lnTo>
                    <a:pt x="1616" y="1726"/>
                  </a:lnTo>
                  <a:lnTo>
                    <a:pt x="1612" y="1738"/>
                  </a:lnTo>
                  <a:lnTo>
                    <a:pt x="1609" y="1750"/>
                  </a:lnTo>
                  <a:lnTo>
                    <a:pt x="1592" y="1733"/>
                  </a:lnTo>
                  <a:lnTo>
                    <a:pt x="1573" y="1719"/>
                  </a:lnTo>
                  <a:lnTo>
                    <a:pt x="1554" y="1709"/>
                  </a:lnTo>
                  <a:lnTo>
                    <a:pt x="1537" y="1701"/>
                  </a:lnTo>
                  <a:lnTo>
                    <a:pt x="1518" y="1693"/>
                  </a:lnTo>
                  <a:lnTo>
                    <a:pt x="1500" y="1687"/>
                  </a:lnTo>
                  <a:lnTo>
                    <a:pt x="1482" y="1683"/>
                  </a:lnTo>
                  <a:lnTo>
                    <a:pt x="1466" y="1679"/>
                  </a:lnTo>
                  <a:lnTo>
                    <a:pt x="1450" y="1675"/>
                  </a:lnTo>
                  <a:lnTo>
                    <a:pt x="1437" y="1671"/>
                  </a:lnTo>
                  <a:lnTo>
                    <a:pt x="1424" y="1666"/>
                  </a:lnTo>
                  <a:lnTo>
                    <a:pt x="1413" y="1659"/>
                  </a:lnTo>
                  <a:lnTo>
                    <a:pt x="1408" y="1657"/>
                  </a:lnTo>
                  <a:lnTo>
                    <a:pt x="1404" y="1653"/>
                  </a:lnTo>
                  <a:lnTo>
                    <a:pt x="1400" y="1647"/>
                  </a:lnTo>
                  <a:lnTo>
                    <a:pt x="1397" y="1643"/>
                  </a:lnTo>
                  <a:lnTo>
                    <a:pt x="1394" y="1638"/>
                  </a:lnTo>
                  <a:lnTo>
                    <a:pt x="1393" y="1631"/>
                  </a:lnTo>
                  <a:lnTo>
                    <a:pt x="1392" y="1625"/>
                  </a:lnTo>
                  <a:lnTo>
                    <a:pt x="1392" y="1617"/>
                  </a:lnTo>
                  <a:lnTo>
                    <a:pt x="1390" y="1609"/>
                  </a:lnTo>
                  <a:lnTo>
                    <a:pt x="1388" y="1601"/>
                  </a:lnTo>
                  <a:lnTo>
                    <a:pt x="1382" y="1593"/>
                  </a:lnTo>
                  <a:lnTo>
                    <a:pt x="1377" y="1585"/>
                  </a:lnTo>
                  <a:lnTo>
                    <a:pt x="1364" y="1570"/>
                  </a:lnTo>
                  <a:lnTo>
                    <a:pt x="1353" y="1557"/>
                  </a:lnTo>
                  <a:lnTo>
                    <a:pt x="1351" y="1551"/>
                  </a:lnTo>
                  <a:lnTo>
                    <a:pt x="1349" y="1546"/>
                  </a:lnTo>
                  <a:lnTo>
                    <a:pt x="1349" y="1543"/>
                  </a:lnTo>
                  <a:lnTo>
                    <a:pt x="1349" y="1541"/>
                  </a:lnTo>
                  <a:lnTo>
                    <a:pt x="1352" y="1539"/>
                  </a:lnTo>
                  <a:lnTo>
                    <a:pt x="1353" y="1538"/>
                  </a:lnTo>
                  <a:lnTo>
                    <a:pt x="1361" y="1535"/>
                  </a:lnTo>
                  <a:lnTo>
                    <a:pt x="1373" y="1533"/>
                  </a:lnTo>
                  <a:lnTo>
                    <a:pt x="1389" y="1533"/>
                  </a:lnTo>
                  <a:lnTo>
                    <a:pt x="1409" y="1533"/>
                  </a:lnTo>
                  <a:lnTo>
                    <a:pt x="1416" y="1534"/>
                  </a:lnTo>
                  <a:lnTo>
                    <a:pt x="1422" y="1535"/>
                  </a:lnTo>
                  <a:lnTo>
                    <a:pt x="1428" y="1538"/>
                  </a:lnTo>
                  <a:lnTo>
                    <a:pt x="1432" y="1541"/>
                  </a:lnTo>
                  <a:lnTo>
                    <a:pt x="1440" y="1547"/>
                  </a:lnTo>
                  <a:lnTo>
                    <a:pt x="1446" y="1557"/>
                  </a:lnTo>
                  <a:lnTo>
                    <a:pt x="1457" y="1579"/>
                  </a:lnTo>
                  <a:lnTo>
                    <a:pt x="1465" y="1605"/>
                  </a:lnTo>
                  <a:lnTo>
                    <a:pt x="1470" y="1617"/>
                  </a:lnTo>
                  <a:lnTo>
                    <a:pt x="1476" y="1629"/>
                  </a:lnTo>
                  <a:lnTo>
                    <a:pt x="1482" y="1641"/>
                  </a:lnTo>
                  <a:lnTo>
                    <a:pt x="1490" y="1650"/>
                  </a:lnTo>
                  <a:lnTo>
                    <a:pt x="1496" y="1655"/>
                  </a:lnTo>
                  <a:lnTo>
                    <a:pt x="1501" y="1659"/>
                  </a:lnTo>
                  <a:lnTo>
                    <a:pt x="1508" y="1662"/>
                  </a:lnTo>
                  <a:lnTo>
                    <a:pt x="1514" y="1666"/>
                  </a:lnTo>
                  <a:lnTo>
                    <a:pt x="1521" y="1669"/>
                  </a:lnTo>
                  <a:lnTo>
                    <a:pt x="1529" y="1670"/>
                  </a:lnTo>
                  <a:lnTo>
                    <a:pt x="1538" y="1671"/>
                  </a:lnTo>
                  <a:lnTo>
                    <a:pt x="1548" y="1671"/>
                  </a:lnTo>
                  <a:lnTo>
                    <a:pt x="1556" y="1670"/>
                  </a:lnTo>
                  <a:lnTo>
                    <a:pt x="1564" y="1669"/>
                  </a:lnTo>
                  <a:lnTo>
                    <a:pt x="1570" y="1665"/>
                  </a:lnTo>
                  <a:lnTo>
                    <a:pt x="1578" y="1661"/>
                  </a:lnTo>
                  <a:lnTo>
                    <a:pt x="1592" y="1650"/>
                  </a:lnTo>
                  <a:lnTo>
                    <a:pt x="1605" y="1637"/>
                  </a:lnTo>
                  <a:lnTo>
                    <a:pt x="1618" y="1619"/>
                  </a:lnTo>
                  <a:lnTo>
                    <a:pt x="1632" y="1601"/>
                  </a:lnTo>
                  <a:lnTo>
                    <a:pt x="1646" y="1581"/>
                  </a:lnTo>
                  <a:lnTo>
                    <a:pt x="1660" y="1558"/>
                  </a:lnTo>
                  <a:lnTo>
                    <a:pt x="1674" y="1535"/>
                  </a:lnTo>
                  <a:lnTo>
                    <a:pt x="1689" y="1511"/>
                  </a:lnTo>
                  <a:lnTo>
                    <a:pt x="1705" y="1489"/>
                  </a:lnTo>
                  <a:lnTo>
                    <a:pt x="1722" y="1465"/>
                  </a:lnTo>
                  <a:lnTo>
                    <a:pt x="1741" y="1442"/>
                  </a:lnTo>
                  <a:lnTo>
                    <a:pt x="1761" y="1421"/>
                  </a:lnTo>
                  <a:lnTo>
                    <a:pt x="1772" y="1410"/>
                  </a:lnTo>
                  <a:lnTo>
                    <a:pt x="1784" y="1401"/>
                  </a:lnTo>
                  <a:lnTo>
                    <a:pt x="1796" y="1391"/>
                  </a:lnTo>
                  <a:lnTo>
                    <a:pt x="1808" y="1382"/>
                  </a:lnTo>
                  <a:lnTo>
                    <a:pt x="1810" y="1366"/>
                  </a:lnTo>
                  <a:lnTo>
                    <a:pt x="1814" y="1351"/>
                  </a:lnTo>
                  <a:lnTo>
                    <a:pt x="1818" y="1339"/>
                  </a:lnTo>
                  <a:lnTo>
                    <a:pt x="1822" y="1329"/>
                  </a:lnTo>
                  <a:lnTo>
                    <a:pt x="1828" y="1319"/>
                  </a:lnTo>
                  <a:lnTo>
                    <a:pt x="1833" y="1311"/>
                  </a:lnTo>
                  <a:lnTo>
                    <a:pt x="1838" y="1305"/>
                  </a:lnTo>
                  <a:lnTo>
                    <a:pt x="1844" y="1301"/>
                  </a:lnTo>
                  <a:lnTo>
                    <a:pt x="1854" y="1293"/>
                  </a:lnTo>
                  <a:lnTo>
                    <a:pt x="1865" y="1288"/>
                  </a:lnTo>
                  <a:lnTo>
                    <a:pt x="1874" y="1285"/>
                  </a:lnTo>
                  <a:lnTo>
                    <a:pt x="1884" y="1281"/>
                  </a:lnTo>
                  <a:lnTo>
                    <a:pt x="1886" y="1280"/>
                  </a:lnTo>
                  <a:lnTo>
                    <a:pt x="1890" y="1277"/>
                  </a:lnTo>
                  <a:lnTo>
                    <a:pt x="1892" y="1274"/>
                  </a:lnTo>
                  <a:lnTo>
                    <a:pt x="1894" y="1272"/>
                  </a:lnTo>
                  <a:lnTo>
                    <a:pt x="1894" y="1266"/>
                  </a:lnTo>
                  <a:lnTo>
                    <a:pt x="1896" y="1261"/>
                  </a:lnTo>
                  <a:lnTo>
                    <a:pt x="1894" y="1254"/>
                  </a:lnTo>
                  <a:lnTo>
                    <a:pt x="1893" y="1246"/>
                  </a:lnTo>
                  <a:lnTo>
                    <a:pt x="1886" y="1226"/>
                  </a:lnTo>
                  <a:lnTo>
                    <a:pt x="1876" y="1198"/>
                  </a:lnTo>
                  <a:lnTo>
                    <a:pt x="1860" y="1164"/>
                  </a:lnTo>
                  <a:lnTo>
                    <a:pt x="1837" y="1117"/>
                  </a:lnTo>
                  <a:lnTo>
                    <a:pt x="1832" y="1106"/>
                  </a:lnTo>
                  <a:lnTo>
                    <a:pt x="1828" y="1094"/>
                  </a:lnTo>
                  <a:lnTo>
                    <a:pt x="1825" y="1082"/>
                  </a:lnTo>
                  <a:lnTo>
                    <a:pt x="1824" y="1069"/>
                  </a:lnTo>
                  <a:lnTo>
                    <a:pt x="1822" y="1056"/>
                  </a:lnTo>
                  <a:lnTo>
                    <a:pt x="1821" y="1041"/>
                  </a:lnTo>
                  <a:lnTo>
                    <a:pt x="1822" y="1026"/>
                  </a:lnTo>
                  <a:lnTo>
                    <a:pt x="1824" y="1012"/>
                  </a:lnTo>
                  <a:lnTo>
                    <a:pt x="1828" y="981"/>
                  </a:lnTo>
                  <a:lnTo>
                    <a:pt x="1834" y="949"/>
                  </a:lnTo>
                  <a:lnTo>
                    <a:pt x="1844" y="916"/>
                  </a:lnTo>
                  <a:lnTo>
                    <a:pt x="1854" y="884"/>
                  </a:lnTo>
                  <a:lnTo>
                    <a:pt x="1866" y="850"/>
                  </a:lnTo>
                  <a:lnTo>
                    <a:pt x="1880" y="818"/>
                  </a:lnTo>
                  <a:lnTo>
                    <a:pt x="1894" y="786"/>
                  </a:lnTo>
                  <a:lnTo>
                    <a:pt x="1908" y="756"/>
                  </a:lnTo>
                  <a:lnTo>
                    <a:pt x="1934" y="700"/>
                  </a:lnTo>
                  <a:lnTo>
                    <a:pt x="1958" y="653"/>
                  </a:lnTo>
                  <a:lnTo>
                    <a:pt x="1966" y="633"/>
                  </a:lnTo>
                  <a:lnTo>
                    <a:pt x="1970" y="617"/>
                  </a:lnTo>
                  <a:lnTo>
                    <a:pt x="1973" y="603"/>
                  </a:lnTo>
                  <a:lnTo>
                    <a:pt x="1972" y="589"/>
                  </a:lnTo>
                  <a:lnTo>
                    <a:pt x="1969" y="577"/>
                  </a:lnTo>
                  <a:lnTo>
                    <a:pt x="1965" y="568"/>
                  </a:lnTo>
                  <a:lnTo>
                    <a:pt x="1958" y="559"/>
                  </a:lnTo>
                  <a:lnTo>
                    <a:pt x="1953" y="548"/>
                  </a:lnTo>
                  <a:lnTo>
                    <a:pt x="1946" y="539"/>
                  </a:lnTo>
                  <a:lnTo>
                    <a:pt x="1940" y="528"/>
                  </a:lnTo>
                  <a:lnTo>
                    <a:pt x="1934" y="516"/>
                  </a:lnTo>
                  <a:lnTo>
                    <a:pt x="1930" y="503"/>
                  </a:lnTo>
                  <a:lnTo>
                    <a:pt x="1928" y="488"/>
                  </a:lnTo>
                  <a:lnTo>
                    <a:pt x="1926" y="469"/>
                  </a:lnTo>
                  <a:lnTo>
                    <a:pt x="1929" y="449"/>
                  </a:lnTo>
                  <a:lnTo>
                    <a:pt x="1934" y="425"/>
                  </a:lnTo>
                  <a:lnTo>
                    <a:pt x="1941" y="405"/>
                  </a:lnTo>
                  <a:lnTo>
                    <a:pt x="1948" y="389"/>
                  </a:lnTo>
                  <a:lnTo>
                    <a:pt x="1956" y="376"/>
                  </a:lnTo>
                  <a:lnTo>
                    <a:pt x="1964" y="367"/>
                  </a:lnTo>
                  <a:lnTo>
                    <a:pt x="1972" y="359"/>
                  </a:lnTo>
                  <a:lnTo>
                    <a:pt x="1981" y="353"/>
                  </a:lnTo>
                  <a:lnTo>
                    <a:pt x="1989" y="348"/>
                  </a:lnTo>
                  <a:lnTo>
                    <a:pt x="1998" y="343"/>
                  </a:lnTo>
                  <a:lnTo>
                    <a:pt x="2006" y="337"/>
                  </a:lnTo>
                  <a:lnTo>
                    <a:pt x="2016" y="329"/>
                  </a:lnTo>
                  <a:lnTo>
                    <a:pt x="2024" y="321"/>
                  </a:lnTo>
                  <a:lnTo>
                    <a:pt x="2033" y="309"/>
                  </a:lnTo>
                  <a:lnTo>
                    <a:pt x="2041" y="293"/>
                  </a:lnTo>
                  <a:lnTo>
                    <a:pt x="2050" y="275"/>
                  </a:lnTo>
                  <a:lnTo>
                    <a:pt x="2058" y="249"/>
                  </a:lnTo>
                  <a:lnTo>
                    <a:pt x="2066" y="220"/>
                  </a:lnTo>
                  <a:lnTo>
                    <a:pt x="2069" y="204"/>
                  </a:lnTo>
                  <a:lnTo>
                    <a:pt x="2070" y="189"/>
                  </a:lnTo>
                  <a:lnTo>
                    <a:pt x="2072" y="176"/>
                  </a:lnTo>
                  <a:lnTo>
                    <a:pt x="2072" y="164"/>
                  </a:lnTo>
                  <a:lnTo>
                    <a:pt x="2069" y="152"/>
                  </a:lnTo>
                  <a:lnTo>
                    <a:pt x="2066" y="143"/>
                  </a:lnTo>
                  <a:lnTo>
                    <a:pt x="2062" y="132"/>
                  </a:lnTo>
                  <a:lnTo>
                    <a:pt x="2057" y="124"/>
                  </a:lnTo>
                  <a:lnTo>
                    <a:pt x="2049" y="116"/>
                  </a:lnTo>
                  <a:lnTo>
                    <a:pt x="2041" y="108"/>
                  </a:lnTo>
                  <a:lnTo>
                    <a:pt x="2030" y="100"/>
                  </a:lnTo>
                  <a:lnTo>
                    <a:pt x="2018" y="94"/>
                  </a:lnTo>
                  <a:lnTo>
                    <a:pt x="1989" y="79"/>
                  </a:lnTo>
                  <a:lnTo>
                    <a:pt x="1952" y="64"/>
                  </a:lnTo>
                  <a:lnTo>
                    <a:pt x="1934" y="55"/>
                  </a:lnTo>
                  <a:lnTo>
                    <a:pt x="1918" y="46"/>
                  </a:lnTo>
                  <a:lnTo>
                    <a:pt x="1904" y="36"/>
                  </a:lnTo>
                  <a:lnTo>
                    <a:pt x="1892" y="27"/>
                  </a:lnTo>
                  <a:lnTo>
                    <a:pt x="1870" y="12"/>
                  </a:lnTo>
                  <a:lnTo>
                    <a:pt x="1854" y="3"/>
                  </a:lnTo>
                  <a:lnTo>
                    <a:pt x="1846" y="0"/>
                  </a:lnTo>
                  <a:lnTo>
                    <a:pt x="1838" y="0"/>
                  </a:lnTo>
                  <a:lnTo>
                    <a:pt x="1830" y="3"/>
                  </a:lnTo>
                  <a:lnTo>
                    <a:pt x="1824" y="8"/>
                  </a:lnTo>
                  <a:lnTo>
                    <a:pt x="1814" y="18"/>
                  </a:lnTo>
                  <a:lnTo>
                    <a:pt x="1805" y="30"/>
                  </a:lnTo>
                  <a:lnTo>
                    <a:pt x="1794" y="44"/>
                  </a:lnTo>
                  <a:lnTo>
                    <a:pt x="1784" y="64"/>
                  </a:lnTo>
                  <a:lnTo>
                    <a:pt x="1773" y="87"/>
                  </a:lnTo>
                  <a:lnTo>
                    <a:pt x="1757" y="126"/>
                  </a:lnTo>
                  <a:lnTo>
                    <a:pt x="1748" y="148"/>
                  </a:lnTo>
                  <a:lnTo>
                    <a:pt x="1737" y="173"/>
                  </a:lnTo>
                  <a:lnTo>
                    <a:pt x="1724" y="199"/>
                  </a:lnTo>
                  <a:lnTo>
                    <a:pt x="1709" y="225"/>
                  </a:lnTo>
                  <a:lnTo>
                    <a:pt x="1693" y="252"/>
                  </a:lnTo>
                  <a:lnTo>
                    <a:pt x="1673" y="276"/>
                  </a:lnTo>
                  <a:lnTo>
                    <a:pt x="1662" y="288"/>
                  </a:lnTo>
                  <a:lnTo>
                    <a:pt x="1652" y="300"/>
                  </a:lnTo>
                  <a:lnTo>
                    <a:pt x="1640" y="311"/>
                  </a:lnTo>
                  <a:lnTo>
                    <a:pt x="1628" y="320"/>
                  </a:lnTo>
                  <a:lnTo>
                    <a:pt x="1614" y="329"/>
                  </a:lnTo>
                  <a:lnTo>
                    <a:pt x="1600" y="337"/>
                  </a:lnTo>
                  <a:lnTo>
                    <a:pt x="1585" y="345"/>
                  </a:lnTo>
                  <a:lnTo>
                    <a:pt x="1570" y="352"/>
                  </a:lnTo>
                  <a:lnTo>
                    <a:pt x="1554" y="357"/>
                  </a:lnTo>
                  <a:lnTo>
                    <a:pt x="1537" y="361"/>
                  </a:lnTo>
                  <a:lnTo>
                    <a:pt x="1518" y="364"/>
                  </a:lnTo>
                  <a:lnTo>
                    <a:pt x="1500" y="365"/>
                  </a:lnTo>
                  <a:lnTo>
                    <a:pt x="1489" y="375"/>
                  </a:lnTo>
                  <a:lnTo>
                    <a:pt x="1481" y="385"/>
                  </a:lnTo>
                  <a:lnTo>
                    <a:pt x="1474" y="395"/>
                  </a:lnTo>
                  <a:lnTo>
                    <a:pt x="1468" y="404"/>
                  </a:lnTo>
                  <a:lnTo>
                    <a:pt x="1464" y="412"/>
                  </a:lnTo>
                  <a:lnTo>
                    <a:pt x="1461" y="420"/>
                  </a:lnTo>
                  <a:lnTo>
                    <a:pt x="1460" y="428"/>
                  </a:lnTo>
                  <a:lnTo>
                    <a:pt x="1458" y="436"/>
                  </a:lnTo>
                  <a:lnTo>
                    <a:pt x="1460" y="443"/>
                  </a:lnTo>
                  <a:lnTo>
                    <a:pt x="1460" y="449"/>
                  </a:lnTo>
                  <a:lnTo>
                    <a:pt x="1462" y="456"/>
                  </a:lnTo>
                  <a:lnTo>
                    <a:pt x="1464" y="463"/>
                  </a:lnTo>
                  <a:lnTo>
                    <a:pt x="1470" y="475"/>
                  </a:lnTo>
                  <a:lnTo>
                    <a:pt x="1477" y="485"/>
                  </a:lnTo>
                  <a:lnTo>
                    <a:pt x="1485" y="497"/>
                  </a:lnTo>
                  <a:lnTo>
                    <a:pt x="1492" y="507"/>
                  </a:lnTo>
                  <a:lnTo>
                    <a:pt x="1496" y="517"/>
                  </a:lnTo>
                  <a:lnTo>
                    <a:pt x="1498" y="528"/>
                  </a:lnTo>
                  <a:lnTo>
                    <a:pt x="1498" y="533"/>
                  </a:lnTo>
                  <a:lnTo>
                    <a:pt x="1497" y="539"/>
                  </a:lnTo>
                  <a:lnTo>
                    <a:pt x="1494" y="545"/>
                  </a:lnTo>
                  <a:lnTo>
                    <a:pt x="1492" y="551"/>
                  </a:lnTo>
                  <a:lnTo>
                    <a:pt x="1486" y="556"/>
                  </a:lnTo>
                  <a:lnTo>
                    <a:pt x="1481" y="563"/>
                  </a:lnTo>
                  <a:lnTo>
                    <a:pt x="1473" y="569"/>
                  </a:lnTo>
                  <a:lnTo>
                    <a:pt x="1464" y="576"/>
                  </a:lnTo>
                  <a:lnTo>
                    <a:pt x="1462" y="588"/>
                  </a:lnTo>
                  <a:lnTo>
                    <a:pt x="1458" y="599"/>
                  </a:lnTo>
                  <a:lnTo>
                    <a:pt x="1456" y="611"/>
                  </a:lnTo>
                  <a:lnTo>
                    <a:pt x="1450" y="621"/>
                  </a:lnTo>
                  <a:lnTo>
                    <a:pt x="1441" y="641"/>
                  </a:lnTo>
                  <a:lnTo>
                    <a:pt x="1429" y="659"/>
                  </a:lnTo>
                  <a:lnTo>
                    <a:pt x="1404" y="691"/>
                  </a:lnTo>
                  <a:lnTo>
                    <a:pt x="1380" y="719"/>
                  </a:lnTo>
                  <a:lnTo>
                    <a:pt x="1371" y="730"/>
                  </a:lnTo>
                  <a:lnTo>
                    <a:pt x="1363" y="744"/>
                  </a:lnTo>
                  <a:lnTo>
                    <a:pt x="1360" y="749"/>
                  </a:lnTo>
                  <a:lnTo>
                    <a:pt x="1359" y="754"/>
                  </a:lnTo>
                  <a:lnTo>
                    <a:pt x="1357" y="761"/>
                  </a:lnTo>
                  <a:lnTo>
                    <a:pt x="1357" y="766"/>
                  </a:lnTo>
                  <a:lnTo>
                    <a:pt x="1359" y="773"/>
                  </a:lnTo>
                  <a:lnTo>
                    <a:pt x="1361" y="778"/>
                  </a:lnTo>
                  <a:lnTo>
                    <a:pt x="1364" y="785"/>
                  </a:lnTo>
                  <a:lnTo>
                    <a:pt x="1369" y="790"/>
                  </a:lnTo>
                  <a:lnTo>
                    <a:pt x="1376" y="797"/>
                  </a:lnTo>
                  <a:lnTo>
                    <a:pt x="1384" y="804"/>
                  </a:lnTo>
                  <a:lnTo>
                    <a:pt x="1393" y="809"/>
                  </a:lnTo>
                  <a:lnTo>
                    <a:pt x="1404" y="816"/>
                  </a:lnTo>
                  <a:lnTo>
                    <a:pt x="1417" y="825"/>
                  </a:lnTo>
                  <a:lnTo>
                    <a:pt x="1428" y="833"/>
                  </a:lnTo>
                  <a:lnTo>
                    <a:pt x="1436" y="844"/>
                  </a:lnTo>
                  <a:lnTo>
                    <a:pt x="1442" y="853"/>
                  </a:lnTo>
                  <a:lnTo>
                    <a:pt x="1448" y="864"/>
                  </a:lnTo>
                  <a:lnTo>
                    <a:pt x="1452" y="876"/>
                  </a:lnTo>
                  <a:lnTo>
                    <a:pt x="1454" y="886"/>
                  </a:lnTo>
                  <a:lnTo>
                    <a:pt x="1456" y="898"/>
                  </a:lnTo>
                  <a:lnTo>
                    <a:pt x="1460" y="921"/>
                  </a:lnTo>
                  <a:lnTo>
                    <a:pt x="1462" y="944"/>
                  </a:lnTo>
                  <a:lnTo>
                    <a:pt x="1466" y="956"/>
                  </a:lnTo>
                  <a:lnTo>
                    <a:pt x="1470" y="965"/>
                  </a:lnTo>
                  <a:lnTo>
                    <a:pt x="1474" y="976"/>
                  </a:lnTo>
                  <a:lnTo>
                    <a:pt x="1482" y="985"/>
                  </a:lnTo>
                  <a:lnTo>
                    <a:pt x="1482" y="990"/>
                  </a:lnTo>
                  <a:lnTo>
                    <a:pt x="1485" y="1004"/>
                  </a:lnTo>
                  <a:lnTo>
                    <a:pt x="1486" y="1024"/>
                  </a:lnTo>
                  <a:lnTo>
                    <a:pt x="1485" y="1046"/>
                  </a:lnTo>
                  <a:lnTo>
                    <a:pt x="1484" y="1057"/>
                  </a:lnTo>
                  <a:lnTo>
                    <a:pt x="1481" y="1069"/>
                  </a:lnTo>
                  <a:lnTo>
                    <a:pt x="1477" y="1080"/>
                  </a:lnTo>
                  <a:lnTo>
                    <a:pt x="1472" y="1089"/>
                  </a:lnTo>
                  <a:lnTo>
                    <a:pt x="1465" y="1097"/>
                  </a:lnTo>
                  <a:lnTo>
                    <a:pt x="1457" y="1104"/>
                  </a:lnTo>
                  <a:lnTo>
                    <a:pt x="1452" y="1106"/>
                  </a:lnTo>
                  <a:lnTo>
                    <a:pt x="1446" y="1109"/>
                  </a:lnTo>
                  <a:lnTo>
                    <a:pt x="1440" y="1110"/>
                  </a:lnTo>
                  <a:lnTo>
                    <a:pt x="1434" y="1112"/>
                  </a:lnTo>
                  <a:lnTo>
                    <a:pt x="1426" y="1112"/>
                  </a:lnTo>
                  <a:lnTo>
                    <a:pt x="1418" y="1112"/>
                  </a:lnTo>
                  <a:lnTo>
                    <a:pt x="1410" y="1109"/>
                  </a:lnTo>
                  <a:lnTo>
                    <a:pt x="1404" y="1106"/>
                  </a:lnTo>
                  <a:lnTo>
                    <a:pt x="1396" y="1102"/>
                  </a:lnTo>
                  <a:lnTo>
                    <a:pt x="1389" y="1097"/>
                  </a:lnTo>
                  <a:lnTo>
                    <a:pt x="1381" y="1090"/>
                  </a:lnTo>
                  <a:lnTo>
                    <a:pt x="1375" y="1084"/>
                  </a:lnTo>
                  <a:lnTo>
                    <a:pt x="1360" y="1066"/>
                  </a:lnTo>
                  <a:lnTo>
                    <a:pt x="1347" y="1046"/>
                  </a:lnTo>
                  <a:lnTo>
                    <a:pt x="1333" y="1024"/>
                  </a:lnTo>
                  <a:lnTo>
                    <a:pt x="1320" y="1000"/>
                  </a:lnTo>
                  <a:lnTo>
                    <a:pt x="1292" y="945"/>
                  </a:lnTo>
                  <a:lnTo>
                    <a:pt x="1264" y="886"/>
                  </a:lnTo>
                  <a:lnTo>
                    <a:pt x="1251" y="858"/>
                  </a:lnTo>
                  <a:lnTo>
                    <a:pt x="1236" y="829"/>
                  </a:lnTo>
                  <a:lnTo>
                    <a:pt x="1221" y="801"/>
                  </a:lnTo>
                  <a:lnTo>
                    <a:pt x="1205" y="774"/>
                  </a:lnTo>
                  <a:lnTo>
                    <a:pt x="1197" y="786"/>
                  </a:lnTo>
                  <a:lnTo>
                    <a:pt x="1187" y="798"/>
                  </a:lnTo>
                  <a:lnTo>
                    <a:pt x="1176" y="809"/>
                  </a:lnTo>
                  <a:lnTo>
                    <a:pt x="1165" y="820"/>
                  </a:lnTo>
                  <a:lnTo>
                    <a:pt x="1155" y="830"/>
                  </a:lnTo>
                  <a:lnTo>
                    <a:pt x="1147" y="842"/>
                  </a:lnTo>
                  <a:lnTo>
                    <a:pt x="1144" y="849"/>
                  </a:lnTo>
                  <a:lnTo>
                    <a:pt x="1141" y="856"/>
                  </a:lnTo>
                  <a:lnTo>
                    <a:pt x="1140" y="862"/>
                  </a:lnTo>
                  <a:lnTo>
                    <a:pt x="1139" y="870"/>
                  </a:lnTo>
                  <a:lnTo>
                    <a:pt x="1140" y="878"/>
                  </a:lnTo>
                  <a:lnTo>
                    <a:pt x="1141" y="885"/>
                  </a:lnTo>
                  <a:lnTo>
                    <a:pt x="1144" y="893"/>
                  </a:lnTo>
                  <a:lnTo>
                    <a:pt x="1147" y="900"/>
                  </a:lnTo>
                  <a:lnTo>
                    <a:pt x="1155" y="913"/>
                  </a:lnTo>
                  <a:lnTo>
                    <a:pt x="1163" y="926"/>
                  </a:lnTo>
                  <a:lnTo>
                    <a:pt x="1172" y="940"/>
                  </a:lnTo>
                  <a:lnTo>
                    <a:pt x="1180" y="956"/>
                  </a:lnTo>
                  <a:lnTo>
                    <a:pt x="1183" y="964"/>
                  </a:lnTo>
                  <a:lnTo>
                    <a:pt x="1185" y="972"/>
                  </a:lnTo>
                  <a:lnTo>
                    <a:pt x="1187" y="981"/>
                  </a:lnTo>
                  <a:lnTo>
                    <a:pt x="1187" y="990"/>
                  </a:lnTo>
                  <a:lnTo>
                    <a:pt x="1187" y="1004"/>
                  </a:lnTo>
                  <a:lnTo>
                    <a:pt x="1184" y="1014"/>
                  </a:lnTo>
                  <a:lnTo>
                    <a:pt x="1181" y="1025"/>
                  </a:lnTo>
                  <a:lnTo>
                    <a:pt x="1177" y="1033"/>
                  </a:lnTo>
                  <a:lnTo>
                    <a:pt x="1167" y="1049"/>
                  </a:lnTo>
                  <a:lnTo>
                    <a:pt x="1153" y="1062"/>
                  </a:lnTo>
                  <a:lnTo>
                    <a:pt x="1141" y="1074"/>
                  </a:lnTo>
                  <a:lnTo>
                    <a:pt x="1131" y="1088"/>
                  </a:lnTo>
                  <a:lnTo>
                    <a:pt x="1127" y="1096"/>
                  </a:lnTo>
                  <a:lnTo>
                    <a:pt x="1124" y="1104"/>
                  </a:lnTo>
                  <a:lnTo>
                    <a:pt x="1121" y="1113"/>
                  </a:lnTo>
                  <a:lnTo>
                    <a:pt x="1121" y="1124"/>
                  </a:lnTo>
                  <a:lnTo>
                    <a:pt x="1121" y="1128"/>
                  </a:lnTo>
                  <a:lnTo>
                    <a:pt x="1123" y="1132"/>
                  </a:lnTo>
                  <a:lnTo>
                    <a:pt x="1125" y="1137"/>
                  </a:lnTo>
                  <a:lnTo>
                    <a:pt x="1128" y="1141"/>
                  </a:lnTo>
                  <a:lnTo>
                    <a:pt x="1135" y="1149"/>
                  </a:lnTo>
                  <a:lnTo>
                    <a:pt x="1141" y="1158"/>
                  </a:lnTo>
                  <a:lnTo>
                    <a:pt x="1149" y="1168"/>
                  </a:lnTo>
                  <a:lnTo>
                    <a:pt x="1156" y="1177"/>
                  </a:lnTo>
                  <a:lnTo>
                    <a:pt x="1159" y="1184"/>
                  </a:lnTo>
                  <a:lnTo>
                    <a:pt x="1161" y="1189"/>
                  </a:lnTo>
                  <a:lnTo>
                    <a:pt x="1163" y="1196"/>
                  </a:lnTo>
                  <a:lnTo>
                    <a:pt x="1163" y="1202"/>
                  </a:lnTo>
                  <a:lnTo>
                    <a:pt x="1163" y="1212"/>
                  </a:lnTo>
                  <a:lnTo>
                    <a:pt x="1161" y="1221"/>
                  </a:lnTo>
                  <a:lnTo>
                    <a:pt x="1159" y="1232"/>
                  </a:lnTo>
                  <a:lnTo>
                    <a:pt x="1156" y="1240"/>
                  </a:lnTo>
                  <a:lnTo>
                    <a:pt x="1151" y="1249"/>
                  </a:lnTo>
                  <a:lnTo>
                    <a:pt x="1147" y="1258"/>
                  </a:lnTo>
                  <a:lnTo>
                    <a:pt x="1141" y="1266"/>
                  </a:lnTo>
                  <a:lnTo>
                    <a:pt x="1135" y="1274"/>
                  </a:lnTo>
                  <a:lnTo>
                    <a:pt x="1120" y="1290"/>
                  </a:lnTo>
                  <a:lnTo>
                    <a:pt x="1104" y="1304"/>
                  </a:lnTo>
                  <a:lnTo>
                    <a:pt x="1085" y="1317"/>
                  </a:lnTo>
                  <a:lnTo>
                    <a:pt x="1067" y="1330"/>
                  </a:lnTo>
                  <a:lnTo>
                    <a:pt x="1047" y="1341"/>
                  </a:lnTo>
                  <a:lnTo>
                    <a:pt x="1025" y="1351"/>
                  </a:lnTo>
                  <a:lnTo>
                    <a:pt x="1005" y="1361"/>
                  </a:lnTo>
                  <a:lnTo>
                    <a:pt x="985" y="1369"/>
                  </a:lnTo>
                  <a:lnTo>
                    <a:pt x="948" y="1383"/>
                  </a:lnTo>
                  <a:lnTo>
                    <a:pt x="916" y="1394"/>
                  </a:lnTo>
                  <a:lnTo>
                    <a:pt x="893" y="1402"/>
                  </a:lnTo>
                  <a:lnTo>
                    <a:pt x="872" y="1411"/>
                  </a:lnTo>
                  <a:lnTo>
                    <a:pt x="851" y="1421"/>
                  </a:lnTo>
                  <a:lnTo>
                    <a:pt x="832" y="1430"/>
                  </a:lnTo>
                  <a:lnTo>
                    <a:pt x="796" y="1449"/>
                  </a:lnTo>
                  <a:lnTo>
                    <a:pt x="761" y="1470"/>
                  </a:lnTo>
                  <a:lnTo>
                    <a:pt x="728" y="1490"/>
                  </a:lnTo>
                  <a:lnTo>
                    <a:pt x="695" y="1510"/>
                  </a:lnTo>
                  <a:lnTo>
                    <a:pt x="677" y="1519"/>
                  </a:lnTo>
                  <a:lnTo>
                    <a:pt x="660" y="1527"/>
                  </a:lnTo>
                  <a:lnTo>
                    <a:pt x="640" y="1537"/>
                  </a:lnTo>
                  <a:lnTo>
                    <a:pt x="621" y="1545"/>
                  </a:lnTo>
                  <a:lnTo>
                    <a:pt x="604" y="1550"/>
                  </a:lnTo>
                  <a:lnTo>
                    <a:pt x="590" y="1557"/>
                  </a:lnTo>
                  <a:lnTo>
                    <a:pt x="576" y="1565"/>
                  </a:lnTo>
                  <a:lnTo>
                    <a:pt x="563" y="1573"/>
                  </a:lnTo>
                  <a:lnTo>
                    <a:pt x="539" y="1591"/>
                  </a:lnTo>
                  <a:lnTo>
                    <a:pt x="516" y="1611"/>
                  </a:lnTo>
                  <a:lnTo>
                    <a:pt x="504" y="1621"/>
                  </a:lnTo>
                  <a:lnTo>
                    <a:pt x="492" y="1630"/>
                  </a:lnTo>
                  <a:lnTo>
                    <a:pt x="482" y="1638"/>
                  </a:lnTo>
                  <a:lnTo>
                    <a:pt x="468" y="1645"/>
                  </a:lnTo>
                  <a:lnTo>
                    <a:pt x="455" y="1651"/>
                  </a:lnTo>
                  <a:lnTo>
                    <a:pt x="442" y="1655"/>
                  </a:lnTo>
                  <a:lnTo>
                    <a:pt x="427" y="1658"/>
                  </a:lnTo>
                  <a:lnTo>
                    <a:pt x="410" y="1659"/>
                  </a:lnTo>
                  <a:lnTo>
                    <a:pt x="408" y="1658"/>
                  </a:lnTo>
                  <a:lnTo>
                    <a:pt x="406" y="1655"/>
                  </a:lnTo>
                  <a:lnTo>
                    <a:pt x="404" y="1651"/>
                  </a:lnTo>
                  <a:lnTo>
                    <a:pt x="402" y="1646"/>
                  </a:lnTo>
                  <a:lnTo>
                    <a:pt x="399" y="1637"/>
                  </a:lnTo>
                  <a:lnTo>
                    <a:pt x="398" y="1629"/>
                  </a:lnTo>
                  <a:lnTo>
                    <a:pt x="386" y="1629"/>
                  </a:lnTo>
                  <a:lnTo>
                    <a:pt x="379" y="1629"/>
                  </a:lnTo>
                  <a:lnTo>
                    <a:pt x="375" y="1629"/>
                  </a:lnTo>
                  <a:lnTo>
                    <a:pt x="368" y="1629"/>
                  </a:lnTo>
                  <a:lnTo>
                    <a:pt x="352" y="1630"/>
                  </a:lnTo>
                  <a:lnTo>
                    <a:pt x="338" y="1634"/>
                  </a:lnTo>
                  <a:lnTo>
                    <a:pt x="324" y="1639"/>
                  </a:lnTo>
                  <a:lnTo>
                    <a:pt x="312" y="1647"/>
                  </a:lnTo>
                  <a:lnTo>
                    <a:pt x="302" y="1657"/>
                  </a:lnTo>
                  <a:lnTo>
                    <a:pt x="291" y="1667"/>
                  </a:lnTo>
                  <a:lnTo>
                    <a:pt x="283" y="1681"/>
                  </a:lnTo>
                  <a:lnTo>
                    <a:pt x="275" y="1694"/>
                  </a:lnTo>
                  <a:lnTo>
                    <a:pt x="268" y="1709"/>
                  </a:lnTo>
                  <a:lnTo>
                    <a:pt x="262" y="1723"/>
                  </a:lnTo>
                  <a:lnTo>
                    <a:pt x="256" y="1739"/>
                  </a:lnTo>
                  <a:lnTo>
                    <a:pt x="251" y="1757"/>
                  </a:lnTo>
                  <a:lnTo>
                    <a:pt x="243" y="1790"/>
                  </a:lnTo>
                  <a:lnTo>
                    <a:pt x="235" y="1822"/>
                  </a:lnTo>
                  <a:lnTo>
                    <a:pt x="235" y="1827"/>
                  </a:lnTo>
                  <a:lnTo>
                    <a:pt x="232" y="1833"/>
                  </a:lnTo>
                  <a:lnTo>
                    <a:pt x="228" y="1839"/>
                  </a:lnTo>
                  <a:lnTo>
                    <a:pt x="224" y="1846"/>
                  </a:lnTo>
                  <a:lnTo>
                    <a:pt x="212" y="1861"/>
                  </a:lnTo>
                  <a:lnTo>
                    <a:pt x="198" y="1877"/>
                  </a:lnTo>
                  <a:lnTo>
                    <a:pt x="167" y="1906"/>
                  </a:lnTo>
                  <a:lnTo>
                    <a:pt x="146" y="1930"/>
                  </a:lnTo>
                  <a:lnTo>
                    <a:pt x="135" y="1944"/>
                  </a:lnTo>
                  <a:lnTo>
                    <a:pt x="126" y="1958"/>
                  </a:lnTo>
                  <a:lnTo>
                    <a:pt x="118" y="1972"/>
                  </a:lnTo>
                  <a:lnTo>
                    <a:pt x="111" y="1987"/>
                  </a:lnTo>
                  <a:lnTo>
                    <a:pt x="100" y="2016"/>
                  </a:lnTo>
                  <a:lnTo>
                    <a:pt x="91" y="2047"/>
                  </a:lnTo>
                  <a:lnTo>
                    <a:pt x="83" y="2080"/>
                  </a:lnTo>
                  <a:lnTo>
                    <a:pt x="76" y="2114"/>
                  </a:lnTo>
                  <a:lnTo>
                    <a:pt x="67" y="2147"/>
                  </a:lnTo>
                  <a:lnTo>
                    <a:pt x="55" y="2183"/>
                  </a:lnTo>
                  <a:lnTo>
                    <a:pt x="50" y="2195"/>
                  </a:lnTo>
                  <a:lnTo>
                    <a:pt x="42" y="2206"/>
                  </a:lnTo>
                  <a:lnTo>
                    <a:pt x="32" y="2218"/>
                  </a:lnTo>
                  <a:lnTo>
                    <a:pt x="23" y="2228"/>
                  </a:lnTo>
                  <a:lnTo>
                    <a:pt x="15" y="2240"/>
                  </a:lnTo>
                  <a:lnTo>
                    <a:pt x="7" y="2254"/>
                  </a:lnTo>
                  <a:lnTo>
                    <a:pt x="4" y="2260"/>
                  </a:lnTo>
                  <a:lnTo>
                    <a:pt x="3" y="2266"/>
                  </a:lnTo>
                  <a:lnTo>
                    <a:pt x="2" y="2272"/>
                  </a:lnTo>
                  <a:lnTo>
                    <a:pt x="0" y="2279"/>
                  </a:lnTo>
                  <a:lnTo>
                    <a:pt x="2" y="2284"/>
                  </a:lnTo>
                  <a:lnTo>
                    <a:pt x="6" y="2290"/>
                  </a:lnTo>
                  <a:lnTo>
                    <a:pt x="10" y="2295"/>
                  </a:lnTo>
                  <a:lnTo>
                    <a:pt x="16" y="2300"/>
                  </a:lnTo>
                  <a:lnTo>
                    <a:pt x="26" y="2310"/>
                  </a:lnTo>
                  <a:lnTo>
                    <a:pt x="31" y="2315"/>
                  </a:lnTo>
                  <a:lnTo>
                    <a:pt x="38" y="2336"/>
                  </a:lnTo>
                  <a:lnTo>
                    <a:pt x="47" y="2356"/>
                  </a:lnTo>
                  <a:lnTo>
                    <a:pt x="56" y="2372"/>
                  </a:lnTo>
                  <a:lnTo>
                    <a:pt x="67" y="2388"/>
                  </a:lnTo>
                  <a:lnTo>
                    <a:pt x="79" y="2402"/>
                  </a:lnTo>
                  <a:lnTo>
                    <a:pt x="91" y="2414"/>
                  </a:lnTo>
                  <a:lnTo>
                    <a:pt x="103" y="2426"/>
                  </a:lnTo>
                  <a:lnTo>
                    <a:pt x="115" y="2438"/>
                  </a:lnTo>
                  <a:lnTo>
                    <a:pt x="140" y="2460"/>
                  </a:lnTo>
                  <a:lnTo>
                    <a:pt x="163" y="2484"/>
                  </a:lnTo>
                  <a:lnTo>
                    <a:pt x="174" y="2499"/>
                  </a:lnTo>
                  <a:lnTo>
                    <a:pt x="183" y="2513"/>
                  </a:lnTo>
                  <a:lnTo>
                    <a:pt x="192" y="2531"/>
                  </a:lnTo>
                  <a:lnTo>
                    <a:pt x="199" y="2551"/>
                  </a:lnTo>
                  <a:lnTo>
                    <a:pt x="215" y="2572"/>
                  </a:lnTo>
                  <a:lnTo>
                    <a:pt x="234" y="2593"/>
                  </a:lnTo>
                  <a:lnTo>
                    <a:pt x="242" y="2605"/>
                  </a:lnTo>
                  <a:lnTo>
                    <a:pt x="248" y="2617"/>
                  </a:lnTo>
                  <a:lnTo>
                    <a:pt x="250" y="2624"/>
                  </a:lnTo>
                  <a:lnTo>
                    <a:pt x="252" y="2632"/>
                  </a:lnTo>
                  <a:lnTo>
                    <a:pt x="254" y="2639"/>
                  </a:lnTo>
                  <a:lnTo>
                    <a:pt x="254" y="2647"/>
                  </a:lnTo>
                  <a:lnTo>
                    <a:pt x="252" y="2660"/>
                  </a:lnTo>
                  <a:lnTo>
                    <a:pt x="251" y="2672"/>
                  </a:lnTo>
                  <a:lnTo>
                    <a:pt x="248" y="2684"/>
                  </a:lnTo>
                  <a:lnTo>
                    <a:pt x="244" y="2695"/>
                  </a:lnTo>
                  <a:lnTo>
                    <a:pt x="242" y="2707"/>
                  </a:lnTo>
                  <a:lnTo>
                    <a:pt x="239" y="2717"/>
                  </a:lnTo>
                  <a:lnTo>
                    <a:pt x="236" y="2729"/>
                  </a:lnTo>
                  <a:lnTo>
                    <a:pt x="235" y="2743"/>
                  </a:lnTo>
                  <a:lnTo>
                    <a:pt x="236" y="2767"/>
                  </a:lnTo>
                  <a:lnTo>
                    <a:pt x="239" y="2791"/>
                  </a:lnTo>
                  <a:lnTo>
                    <a:pt x="242" y="2813"/>
                  </a:lnTo>
                  <a:lnTo>
                    <a:pt x="244" y="2836"/>
                  </a:lnTo>
                  <a:lnTo>
                    <a:pt x="248" y="2859"/>
                  </a:lnTo>
                  <a:lnTo>
                    <a:pt x="251" y="2881"/>
                  </a:lnTo>
                  <a:lnTo>
                    <a:pt x="252" y="2905"/>
                  </a:lnTo>
                  <a:lnTo>
                    <a:pt x="254" y="2929"/>
                  </a:lnTo>
                  <a:lnTo>
                    <a:pt x="254" y="2960"/>
                  </a:lnTo>
                  <a:lnTo>
                    <a:pt x="254" y="2991"/>
                  </a:lnTo>
                  <a:lnTo>
                    <a:pt x="254" y="3019"/>
                  </a:lnTo>
                  <a:lnTo>
                    <a:pt x="254" y="3039"/>
                  </a:lnTo>
                  <a:lnTo>
                    <a:pt x="251" y="3049"/>
                  </a:lnTo>
                  <a:lnTo>
                    <a:pt x="246" y="3064"/>
                  </a:lnTo>
                  <a:lnTo>
                    <a:pt x="243" y="3072"/>
                  </a:lnTo>
                  <a:lnTo>
                    <a:pt x="240" y="3080"/>
                  </a:lnTo>
                  <a:lnTo>
                    <a:pt x="240" y="3089"/>
                  </a:lnTo>
                  <a:lnTo>
                    <a:pt x="242" y="3098"/>
                  </a:lnTo>
                  <a:lnTo>
                    <a:pt x="246" y="3109"/>
                  </a:lnTo>
                  <a:lnTo>
                    <a:pt x="251" y="3117"/>
                  </a:lnTo>
                  <a:lnTo>
                    <a:pt x="259" y="3125"/>
                  </a:lnTo>
                  <a:lnTo>
                    <a:pt x="267" y="3130"/>
                  </a:lnTo>
                  <a:lnTo>
                    <a:pt x="284" y="3141"/>
                  </a:lnTo>
                  <a:lnTo>
                    <a:pt x="304" y="3149"/>
                  </a:lnTo>
                  <a:lnTo>
                    <a:pt x="324" y="3157"/>
                  </a:lnTo>
                  <a:lnTo>
                    <a:pt x="343" y="3168"/>
                  </a:lnTo>
                  <a:lnTo>
                    <a:pt x="351" y="3174"/>
                  </a:lnTo>
                  <a:lnTo>
                    <a:pt x="358" y="3181"/>
                  </a:lnTo>
                  <a:lnTo>
                    <a:pt x="364" y="3190"/>
                  </a:lnTo>
                  <a:lnTo>
                    <a:pt x="368" y="3201"/>
                  </a:lnTo>
                  <a:lnTo>
                    <a:pt x="375" y="3224"/>
                  </a:lnTo>
                  <a:lnTo>
                    <a:pt x="382" y="3250"/>
                  </a:lnTo>
                  <a:lnTo>
                    <a:pt x="387" y="3280"/>
                  </a:lnTo>
                  <a:lnTo>
                    <a:pt x="394" y="3308"/>
                  </a:lnTo>
                  <a:lnTo>
                    <a:pt x="402" y="3356"/>
                  </a:lnTo>
                  <a:lnTo>
                    <a:pt x="404" y="3376"/>
                  </a:lnTo>
                  <a:lnTo>
                    <a:pt x="402" y="3425"/>
                  </a:lnTo>
                  <a:lnTo>
                    <a:pt x="398" y="3469"/>
                  </a:lnTo>
                  <a:lnTo>
                    <a:pt x="394" y="3490"/>
                  </a:lnTo>
                  <a:lnTo>
                    <a:pt x="388" y="3510"/>
                  </a:lnTo>
                  <a:lnTo>
                    <a:pt x="384" y="3520"/>
                  </a:lnTo>
                  <a:lnTo>
                    <a:pt x="380" y="3530"/>
                  </a:lnTo>
                  <a:lnTo>
                    <a:pt x="375" y="3540"/>
                  </a:lnTo>
                  <a:lnTo>
                    <a:pt x="368" y="3550"/>
                  </a:lnTo>
                  <a:lnTo>
                    <a:pt x="230" y="3550"/>
                  </a:lnTo>
                  <a:lnTo>
                    <a:pt x="218" y="3560"/>
                  </a:lnTo>
                  <a:lnTo>
                    <a:pt x="207" y="3569"/>
                  </a:lnTo>
                  <a:lnTo>
                    <a:pt x="199" y="3580"/>
                  </a:lnTo>
                  <a:lnTo>
                    <a:pt x="191" y="3592"/>
                  </a:lnTo>
                  <a:lnTo>
                    <a:pt x="176" y="3620"/>
                  </a:lnTo>
                  <a:lnTo>
                    <a:pt x="158" y="3651"/>
                  </a:lnTo>
                  <a:lnTo>
                    <a:pt x="163" y="3666"/>
                  </a:lnTo>
                  <a:lnTo>
                    <a:pt x="171" y="3698"/>
                  </a:lnTo>
                  <a:lnTo>
                    <a:pt x="172" y="3707"/>
                  </a:lnTo>
                  <a:lnTo>
                    <a:pt x="174" y="3717"/>
                  </a:lnTo>
                  <a:lnTo>
                    <a:pt x="174" y="3726"/>
                  </a:lnTo>
                  <a:lnTo>
                    <a:pt x="172" y="3735"/>
                  </a:lnTo>
                  <a:lnTo>
                    <a:pt x="171" y="3745"/>
                  </a:lnTo>
                  <a:lnTo>
                    <a:pt x="168" y="3753"/>
                  </a:lnTo>
                  <a:lnTo>
                    <a:pt x="163" y="3761"/>
                  </a:lnTo>
                  <a:lnTo>
                    <a:pt x="158" y="3766"/>
                  </a:lnTo>
                  <a:lnTo>
                    <a:pt x="152" y="3766"/>
                  </a:lnTo>
                  <a:lnTo>
                    <a:pt x="148" y="3766"/>
                  </a:lnTo>
                  <a:lnTo>
                    <a:pt x="144" y="3763"/>
                  </a:lnTo>
                  <a:lnTo>
                    <a:pt x="139" y="3761"/>
                  </a:lnTo>
                  <a:lnTo>
                    <a:pt x="139" y="3785"/>
                  </a:lnTo>
                  <a:lnTo>
                    <a:pt x="139" y="3805"/>
                  </a:lnTo>
                  <a:lnTo>
                    <a:pt x="139" y="3822"/>
                  </a:lnTo>
                  <a:lnTo>
                    <a:pt x="139" y="3839"/>
                  </a:lnTo>
                  <a:lnTo>
                    <a:pt x="140" y="3854"/>
                  </a:lnTo>
                  <a:lnTo>
                    <a:pt x="143" y="3866"/>
                  </a:lnTo>
                  <a:lnTo>
                    <a:pt x="148" y="3874"/>
                  </a:lnTo>
                  <a:lnTo>
                    <a:pt x="154" y="3881"/>
                  </a:lnTo>
                  <a:lnTo>
                    <a:pt x="162" y="3887"/>
                  </a:lnTo>
                  <a:lnTo>
                    <a:pt x="170" y="3897"/>
                  </a:lnTo>
                  <a:lnTo>
                    <a:pt x="179" y="3907"/>
                  </a:lnTo>
                  <a:lnTo>
                    <a:pt x="187" y="3923"/>
                  </a:lnTo>
                  <a:lnTo>
                    <a:pt x="191" y="3933"/>
                  </a:lnTo>
                  <a:lnTo>
                    <a:pt x="191" y="3942"/>
                  </a:lnTo>
                  <a:lnTo>
                    <a:pt x="190" y="3951"/>
                  </a:lnTo>
                  <a:lnTo>
                    <a:pt x="188" y="3961"/>
                  </a:lnTo>
                  <a:lnTo>
                    <a:pt x="188" y="3970"/>
                  </a:lnTo>
                  <a:lnTo>
                    <a:pt x="190" y="3977"/>
                  </a:lnTo>
                  <a:lnTo>
                    <a:pt x="191" y="3981"/>
                  </a:lnTo>
                  <a:lnTo>
                    <a:pt x="192" y="3983"/>
                  </a:lnTo>
                  <a:lnTo>
                    <a:pt x="195" y="3987"/>
                  </a:lnTo>
                  <a:lnTo>
                    <a:pt x="199" y="3989"/>
                  </a:lnTo>
                  <a:lnTo>
                    <a:pt x="207" y="3994"/>
                  </a:lnTo>
                  <a:lnTo>
                    <a:pt x="215" y="3998"/>
                  </a:lnTo>
                  <a:lnTo>
                    <a:pt x="222" y="4001"/>
                  </a:lnTo>
                  <a:lnTo>
                    <a:pt x="230" y="4003"/>
                  </a:lnTo>
                  <a:lnTo>
                    <a:pt x="243" y="4006"/>
                  </a:lnTo>
                  <a:lnTo>
                    <a:pt x="258" y="4006"/>
                  </a:lnTo>
                  <a:lnTo>
                    <a:pt x="272" y="4006"/>
                  </a:lnTo>
                  <a:lnTo>
                    <a:pt x="287" y="4006"/>
                  </a:lnTo>
                  <a:lnTo>
                    <a:pt x="303" y="4009"/>
                  </a:lnTo>
                  <a:lnTo>
                    <a:pt x="320" y="4014"/>
                  </a:lnTo>
                  <a:lnTo>
                    <a:pt x="327" y="4017"/>
                  </a:lnTo>
                  <a:lnTo>
                    <a:pt x="335" y="4022"/>
                  </a:lnTo>
                  <a:lnTo>
                    <a:pt x="340" y="4027"/>
                  </a:lnTo>
                  <a:lnTo>
                    <a:pt x="347" y="4033"/>
                  </a:lnTo>
                  <a:lnTo>
                    <a:pt x="356" y="4046"/>
                  </a:lnTo>
                  <a:lnTo>
                    <a:pt x="366" y="4061"/>
                  </a:lnTo>
                  <a:lnTo>
                    <a:pt x="382" y="4093"/>
                  </a:lnTo>
                  <a:lnTo>
                    <a:pt x="398" y="4122"/>
                  </a:lnTo>
                  <a:lnTo>
                    <a:pt x="406" y="4130"/>
                  </a:lnTo>
                  <a:lnTo>
                    <a:pt x="415" y="4137"/>
                  </a:lnTo>
                  <a:lnTo>
                    <a:pt x="424" y="4141"/>
                  </a:lnTo>
                  <a:lnTo>
                    <a:pt x="434" y="4145"/>
                  </a:lnTo>
                  <a:lnTo>
                    <a:pt x="443" y="4149"/>
                  </a:lnTo>
                  <a:lnTo>
                    <a:pt x="451" y="4153"/>
                  </a:lnTo>
                  <a:lnTo>
                    <a:pt x="459" y="4158"/>
                  </a:lnTo>
                  <a:lnTo>
                    <a:pt x="464" y="4163"/>
                  </a:lnTo>
                  <a:lnTo>
                    <a:pt x="468" y="4177"/>
                  </a:lnTo>
                  <a:lnTo>
                    <a:pt x="470" y="4194"/>
                  </a:lnTo>
                  <a:lnTo>
                    <a:pt x="472" y="4211"/>
                  </a:lnTo>
                  <a:lnTo>
                    <a:pt x="474" y="4230"/>
                  </a:lnTo>
                  <a:lnTo>
                    <a:pt x="476" y="4246"/>
                  </a:lnTo>
                  <a:lnTo>
                    <a:pt x="482" y="4259"/>
                  </a:lnTo>
                  <a:lnTo>
                    <a:pt x="484" y="4264"/>
                  </a:lnTo>
                  <a:lnTo>
                    <a:pt x="490" y="4268"/>
                  </a:lnTo>
                  <a:lnTo>
                    <a:pt x="495" y="4271"/>
                  </a:lnTo>
                  <a:lnTo>
                    <a:pt x="500" y="4272"/>
                  </a:lnTo>
                  <a:lnTo>
                    <a:pt x="518" y="4272"/>
                  </a:lnTo>
                  <a:lnTo>
                    <a:pt x="534" y="4272"/>
                  </a:lnTo>
                  <a:lnTo>
                    <a:pt x="547" y="4274"/>
                  </a:lnTo>
                  <a:lnTo>
                    <a:pt x="560" y="4276"/>
                  </a:lnTo>
                  <a:lnTo>
                    <a:pt x="575" y="4279"/>
                  </a:lnTo>
                  <a:lnTo>
                    <a:pt x="588" y="4284"/>
                  </a:lnTo>
                  <a:lnTo>
                    <a:pt x="604" y="4292"/>
                  </a:lnTo>
                  <a:lnTo>
                    <a:pt x="621" y="4302"/>
                  </a:lnTo>
                  <a:lnTo>
                    <a:pt x="628" y="4306"/>
                  </a:lnTo>
                  <a:lnTo>
                    <a:pt x="633" y="4311"/>
                  </a:lnTo>
                  <a:lnTo>
                    <a:pt x="639" y="4315"/>
                  </a:lnTo>
                  <a:lnTo>
                    <a:pt x="644" y="4322"/>
                  </a:lnTo>
                  <a:lnTo>
                    <a:pt x="655" y="4334"/>
                  </a:lnTo>
                  <a:lnTo>
                    <a:pt x="664" y="4346"/>
                  </a:lnTo>
                  <a:lnTo>
                    <a:pt x="675" y="4356"/>
                  </a:lnTo>
                  <a:lnTo>
                    <a:pt x="687" y="4366"/>
                  </a:lnTo>
                  <a:lnTo>
                    <a:pt x="693" y="4370"/>
                  </a:lnTo>
                  <a:lnTo>
                    <a:pt x="701" y="4372"/>
                  </a:lnTo>
                  <a:lnTo>
                    <a:pt x="708" y="4374"/>
                  </a:lnTo>
                  <a:lnTo>
                    <a:pt x="717" y="4375"/>
                  </a:lnTo>
                  <a:lnTo>
                    <a:pt x="727" y="4374"/>
                  </a:lnTo>
                  <a:lnTo>
                    <a:pt x="736" y="4371"/>
                  </a:lnTo>
                  <a:lnTo>
                    <a:pt x="743" y="4366"/>
                  </a:lnTo>
                  <a:lnTo>
                    <a:pt x="749" y="4360"/>
                  </a:lnTo>
                  <a:lnTo>
                    <a:pt x="755" y="4354"/>
                  </a:lnTo>
                  <a:lnTo>
                    <a:pt x="760" y="4344"/>
                  </a:lnTo>
                  <a:lnTo>
                    <a:pt x="764" y="4335"/>
                  </a:lnTo>
                  <a:lnTo>
                    <a:pt x="768" y="4324"/>
                  </a:lnTo>
                  <a:lnTo>
                    <a:pt x="773" y="4302"/>
                  </a:lnTo>
                  <a:lnTo>
                    <a:pt x="776" y="4278"/>
                  </a:lnTo>
                  <a:lnTo>
                    <a:pt x="777" y="4254"/>
                  </a:lnTo>
                  <a:lnTo>
                    <a:pt x="777" y="4230"/>
                  </a:lnTo>
                  <a:lnTo>
                    <a:pt x="777" y="4222"/>
                  </a:lnTo>
                  <a:lnTo>
                    <a:pt x="779" y="4215"/>
                  </a:lnTo>
                  <a:lnTo>
                    <a:pt x="781" y="4210"/>
                  </a:lnTo>
                  <a:lnTo>
                    <a:pt x="784" y="4205"/>
                  </a:lnTo>
                  <a:lnTo>
                    <a:pt x="787" y="4202"/>
                  </a:lnTo>
                  <a:lnTo>
                    <a:pt x="789" y="4199"/>
                  </a:lnTo>
                  <a:lnTo>
                    <a:pt x="793" y="4197"/>
                  </a:lnTo>
                  <a:lnTo>
                    <a:pt x="797" y="4195"/>
                  </a:lnTo>
                  <a:lnTo>
                    <a:pt x="816" y="4193"/>
                  </a:lnTo>
                  <a:lnTo>
                    <a:pt x="832" y="4189"/>
                  </a:lnTo>
                  <a:lnTo>
                    <a:pt x="835" y="4185"/>
                  </a:lnTo>
                  <a:lnTo>
                    <a:pt x="837" y="4179"/>
                  </a:lnTo>
                  <a:lnTo>
                    <a:pt x="839" y="4174"/>
                  </a:lnTo>
                  <a:lnTo>
                    <a:pt x="840" y="4167"/>
                  </a:lnTo>
                  <a:lnTo>
                    <a:pt x="843" y="4154"/>
                  </a:lnTo>
                  <a:lnTo>
                    <a:pt x="843" y="4139"/>
                  </a:lnTo>
                  <a:lnTo>
                    <a:pt x="844" y="4126"/>
                  </a:lnTo>
                  <a:lnTo>
                    <a:pt x="844" y="4111"/>
                  </a:lnTo>
                  <a:lnTo>
                    <a:pt x="847" y="4101"/>
                  </a:lnTo>
                  <a:lnTo>
                    <a:pt x="849" y="4091"/>
                  </a:lnTo>
                  <a:lnTo>
                    <a:pt x="857" y="4082"/>
                  </a:lnTo>
                  <a:lnTo>
                    <a:pt x="868" y="4074"/>
                  </a:lnTo>
                  <a:lnTo>
                    <a:pt x="879" y="4067"/>
                  </a:lnTo>
                  <a:lnTo>
                    <a:pt x="892" y="4062"/>
                  </a:lnTo>
                  <a:lnTo>
                    <a:pt x="919" y="4053"/>
                  </a:lnTo>
                  <a:lnTo>
                    <a:pt x="947" y="4045"/>
                  </a:lnTo>
                  <a:lnTo>
                    <a:pt x="959" y="4041"/>
                  </a:lnTo>
                  <a:lnTo>
                    <a:pt x="969" y="4037"/>
                  </a:lnTo>
                  <a:lnTo>
                    <a:pt x="980" y="4031"/>
                  </a:lnTo>
                  <a:lnTo>
                    <a:pt x="987" y="4026"/>
                  </a:lnTo>
                  <a:lnTo>
                    <a:pt x="989" y="4022"/>
                  </a:lnTo>
                  <a:lnTo>
                    <a:pt x="992" y="4019"/>
                  </a:lnTo>
                  <a:lnTo>
                    <a:pt x="993" y="4015"/>
                  </a:lnTo>
                  <a:lnTo>
                    <a:pt x="995" y="4010"/>
                  </a:lnTo>
                  <a:lnTo>
                    <a:pt x="995" y="4006"/>
                  </a:lnTo>
                  <a:lnTo>
                    <a:pt x="993" y="4001"/>
                  </a:lnTo>
                  <a:lnTo>
                    <a:pt x="991" y="3995"/>
                  </a:lnTo>
                  <a:lnTo>
                    <a:pt x="988" y="3989"/>
                  </a:lnTo>
                  <a:lnTo>
                    <a:pt x="973" y="3953"/>
                  </a:lnTo>
                  <a:lnTo>
                    <a:pt x="961" y="3917"/>
                  </a:lnTo>
                  <a:lnTo>
                    <a:pt x="959" y="3910"/>
                  </a:lnTo>
                  <a:lnTo>
                    <a:pt x="955" y="3902"/>
                  </a:lnTo>
                  <a:lnTo>
                    <a:pt x="951" y="3897"/>
                  </a:lnTo>
                  <a:lnTo>
                    <a:pt x="947" y="3891"/>
                  </a:lnTo>
                  <a:lnTo>
                    <a:pt x="941" y="3887"/>
                  </a:lnTo>
                  <a:lnTo>
                    <a:pt x="936" y="3883"/>
                  </a:lnTo>
                  <a:lnTo>
                    <a:pt x="929" y="3882"/>
                  </a:lnTo>
                  <a:lnTo>
                    <a:pt x="923" y="3881"/>
                  </a:lnTo>
                  <a:lnTo>
                    <a:pt x="915" y="3882"/>
                  </a:lnTo>
                  <a:lnTo>
                    <a:pt x="909" y="3885"/>
                  </a:lnTo>
                  <a:lnTo>
                    <a:pt x="905" y="3889"/>
                  </a:lnTo>
                  <a:lnTo>
                    <a:pt x="903" y="3893"/>
                  </a:lnTo>
                  <a:lnTo>
                    <a:pt x="900" y="3897"/>
                  </a:lnTo>
                  <a:lnTo>
                    <a:pt x="899" y="3901"/>
                  </a:lnTo>
                  <a:lnTo>
                    <a:pt x="896" y="3903"/>
                  </a:lnTo>
                  <a:lnTo>
                    <a:pt x="892" y="3905"/>
                  </a:lnTo>
                  <a:lnTo>
                    <a:pt x="884" y="3903"/>
                  </a:lnTo>
                  <a:lnTo>
                    <a:pt x="877" y="3901"/>
                  </a:lnTo>
                  <a:lnTo>
                    <a:pt x="872" y="3895"/>
                  </a:lnTo>
                  <a:lnTo>
                    <a:pt x="868" y="3889"/>
                  </a:lnTo>
                  <a:lnTo>
                    <a:pt x="865" y="3882"/>
                  </a:lnTo>
                  <a:lnTo>
                    <a:pt x="863" y="3874"/>
                  </a:lnTo>
                  <a:lnTo>
                    <a:pt x="863" y="3869"/>
                  </a:lnTo>
                  <a:lnTo>
                    <a:pt x="861" y="3863"/>
                  </a:lnTo>
                  <a:lnTo>
                    <a:pt x="863" y="3855"/>
                  </a:lnTo>
                  <a:lnTo>
                    <a:pt x="864" y="3849"/>
                  </a:lnTo>
                  <a:lnTo>
                    <a:pt x="868" y="3843"/>
                  </a:lnTo>
                  <a:lnTo>
                    <a:pt x="872" y="3837"/>
                  </a:lnTo>
                  <a:lnTo>
                    <a:pt x="881" y="3827"/>
                  </a:lnTo>
                  <a:lnTo>
                    <a:pt x="891" y="3817"/>
                  </a:lnTo>
                  <a:lnTo>
                    <a:pt x="895" y="3810"/>
                  </a:lnTo>
                  <a:lnTo>
                    <a:pt x="899" y="3803"/>
                  </a:lnTo>
                  <a:lnTo>
                    <a:pt x="901" y="3797"/>
                  </a:lnTo>
                  <a:lnTo>
                    <a:pt x="903" y="3789"/>
                  </a:lnTo>
                  <a:lnTo>
                    <a:pt x="903" y="3779"/>
                  </a:lnTo>
                  <a:lnTo>
                    <a:pt x="901" y="3769"/>
                  </a:lnTo>
                  <a:lnTo>
                    <a:pt x="897" y="3757"/>
                  </a:lnTo>
                  <a:lnTo>
                    <a:pt x="892" y="3742"/>
                  </a:lnTo>
                  <a:lnTo>
                    <a:pt x="900" y="3725"/>
                  </a:lnTo>
                  <a:lnTo>
                    <a:pt x="912" y="3703"/>
                  </a:lnTo>
                  <a:lnTo>
                    <a:pt x="925" y="3679"/>
                  </a:lnTo>
                  <a:lnTo>
                    <a:pt x="941" y="3657"/>
                  </a:lnTo>
                  <a:lnTo>
                    <a:pt x="949" y="3646"/>
                  </a:lnTo>
                  <a:lnTo>
                    <a:pt x="957" y="3637"/>
                  </a:lnTo>
                  <a:lnTo>
                    <a:pt x="967" y="3628"/>
                  </a:lnTo>
                  <a:lnTo>
                    <a:pt x="976" y="3620"/>
                  </a:lnTo>
                  <a:lnTo>
                    <a:pt x="985" y="3613"/>
                  </a:lnTo>
                  <a:lnTo>
                    <a:pt x="995" y="3608"/>
                  </a:lnTo>
                  <a:lnTo>
                    <a:pt x="1003" y="3605"/>
                  </a:lnTo>
                  <a:lnTo>
                    <a:pt x="1012" y="3604"/>
                  </a:lnTo>
                  <a:lnTo>
                    <a:pt x="1019" y="3605"/>
                  </a:lnTo>
                  <a:lnTo>
                    <a:pt x="1024" y="3608"/>
                  </a:lnTo>
                  <a:lnTo>
                    <a:pt x="1028" y="3613"/>
                  </a:lnTo>
                  <a:lnTo>
                    <a:pt x="1031" y="3618"/>
                  </a:lnTo>
                  <a:lnTo>
                    <a:pt x="1033" y="3625"/>
                  </a:lnTo>
                  <a:lnTo>
                    <a:pt x="1035" y="3632"/>
                  </a:lnTo>
                  <a:lnTo>
                    <a:pt x="1036" y="3640"/>
                  </a:lnTo>
                  <a:lnTo>
                    <a:pt x="1036" y="3646"/>
                  </a:lnTo>
                  <a:lnTo>
                    <a:pt x="1036" y="3654"/>
                  </a:lnTo>
                  <a:lnTo>
                    <a:pt x="1033" y="3661"/>
                  </a:lnTo>
                  <a:lnTo>
                    <a:pt x="1029" y="3667"/>
                  </a:lnTo>
                  <a:lnTo>
                    <a:pt x="1024" y="3671"/>
                  </a:lnTo>
                  <a:lnTo>
                    <a:pt x="1020" y="3675"/>
                  </a:lnTo>
                  <a:lnTo>
                    <a:pt x="1016" y="3679"/>
                  </a:lnTo>
                  <a:lnTo>
                    <a:pt x="1013" y="3683"/>
                  </a:lnTo>
                  <a:lnTo>
                    <a:pt x="1012" y="3689"/>
                  </a:lnTo>
                  <a:lnTo>
                    <a:pt x="1015" y="3693"/>
                  </a:lnTo>
                  <a:lnTo>
                    <a:pt x="1020" y="3699"/>
                  </a:lnTo>
                  <a:lnTo>
                    <a:pt x="1028" y="3706"/>
                  </a:lnTo>
                  <a:lnTo>
                    <a:pt x="1039" y="3713"/>
                  </a:lnTo>
                  <a:lnTo>
                    <a:pt x="1068" y="3727"/>
                  </a:lnTo>
                  <a:lnTo>
                    <a:pt x="1101" y="3742"/>
                  </a:lnTo>
                  <a:lnTo>
                    <a:pt x="1136" y="3757"/>
                  </a:lnTo>
                  <a:lnTo>
                    <a:pt x="1169" y="3767"/>
                  </a:lnTo>
                  <a:lnTo>
                    <a:pt x="1185" y="3773"/>
                  </a:lnTo>
                  <a:lnTo>
                    <a:pt x="1199" y="3775"/>
                  </a:lnTo>
                  <a:lnTo>
                    <a:pt x="1209" y="3778"/>
                  </a:lnTo>
                  <a:lnTo>
                    <a:pt x="1217" y="3778"/>
                  </a:lnTo>
                  <a:lnTo>
                    <a:pt x="1225" y="3778"/>
                  </a:lnTo>
                  <a:lnTo>
                    <a:pt x="1235" y="3775"/>
                  </a:lnTo>
                  <a:lnTo>
                    <a:pt x="1243" y="3773"/>
                  </a:lnTo>
                  <a:lnTo>
                    <a:pt x="1251" y="3770"/>
                  </a:lnTo>
                  <a:lnTo>
                    <a:pt x="1259" y="3766"/>
                  </a:lnTo>
                  <a:lnTo>
                    <a:pt x="1267" y="3763"/>
                  </a:lnTo>
                  <a:lnTo>
                    <a:pt x="1275" y="3761"/>
                  </a:lnTo>
                  <a:lnTo>
                    <a:pt x="1284" y="3761"/>
                  </a:lnTo>
                  <a:lnTo>
                    <a:pt x="1293" y="3761"/>
                  </a:lnTo>
                  <a:lnTo>
                    <a:pt x="1303" y="3762"/>
                  </a:lnTo>
                  <a:lnTo>
                    <a:pt x="1312" y="3765"/>
                  </a:lnTo>
                  <a:lnTo>
                    <a:pt x="1320" y="3767"/>
                  </a:lnTo>
                  <a:lnTo>
                    <a:pt x="1336" y="3773"/>
                  </a:lnTo>
                  <a:lnTo>
                    <a:pt x="1352" y="3779"/>
                  </a:lnTo>
                  <a:lnTo>
                    <a:pt x="1367" y="3786"/>
                  </a:lnTo>
                  <a:lnTo>
                    <a:pt x="1382" y="3791"/>
                  </a:lnTo>
                  <a:lnTo>
                    <a:pt x="1390" y="3793"/>
                  </a:lnTo>
                  <a:lnTo>
                    <a:pt x="1398" y="3793"/>
                  </a:lnTo>
                  <a:lnTo>
                    <a:pt x="1406" y="3793"/>
                  </a:lnTo>
                  <a:lnTo>
                    <a:pt x="1416" y="3790"/>
                  </a:lnTo>
                  <a:lnTo>
                    <a:pt x="1438" y="3782"/>
                  </a:lnTo>
                  <a:lnTo>
                    <a:pt x="1458" y="3771"/>
                  </a:lnTo>
                  <a:lnTo>
                    <a:pt x="1474" y="3762"/>
                  </a:lnTo>
                  <a:lnTo>
                    <a:pt x="1489" y="3750"/>
                  </a:lnTo>
                  <a:lnTo>
                    <a:pt x="1501" y="3738"/>
                  </a:lnTo>
                  <a:lnTo>
                    <a:pt x="1512" y="3723"/>
                  </a:lnTo>
                  <a:lnTo>
                    <a:pt x="1521" y="3707"/>
                  </a:lnTo>
                  <a:lnTo>
                    <a:pt x="1530" y="3689"/>
                  </a:lnTo>
                  <a:lnTo>
                    <a:pt x="1566" y="3689"/>
                  </a:lnTo>
                  <a:lnTo>
                    <a:pt x="1576" y="3670"/>
                  </a:lnTo>
                  <a:lnTo>
                    <a:pt x="1584" y="3653"/>
                  </a:lnTo>
                  <a:lnTo>
                    <a:pt x="1590" y="3637"/>
                  </a:lnTo>
                  <a:lnTo>
                    <a:pt x="1596" y="3621"/>
                  </a:lnTo>
                  <a:lnTo>
                    <a:pt x="1601" y="3605"/>
                  </a:lnTo>
                  <a:lnTo>
                    <a:pt x="1606" y="3590"/>
                  </a:lnTo>
                  <a:lnTo>
                    <a:pt x="1613" y="3576"/>
                  </a:lnTo>
                  <a:lnTo>
                    <a:pt x="1621" y="3562"/>
                  </a:lnTo>
                  <a:lnTo>
                    <a:pt x="1626" y="3552"/>
                  </a:lnTo>
                  <a:lnTo>
                    <a:pt x="1633" y="3542"/>
                  </a:lnTo>
                  <a:lnTo>
                    <a:pt x="1641" y="3536"/>
                  </a:lnTo>
                  <a:lnTo>
                    <a:pt x="1649" y="3530"/>
                  </a:lnTo>
                  <a:lnTo>
                    <a:pt x="1666" y="3521"/>
                  </a:lnTo>
                  <a:lnTo>
                    <a:pt x="1684" y="3514"/>
                  </a:lnTo>
                  <a:lnTo>
                    <a:pt x="1702" y="3508"/>
                  </a:lnTo>
                  <a:lnTo>
                    <a:pt x="1718" y="3500"/>
                  </a:lnTo>
                  <a:lnTo>
                    <a:pt x="1726" y="3494"/>
                  </a:lnTo>
                  <a:lnTo>
                    <a:pt x="1734" y="3489"/>
                  </a:lnTo>
                  <a:lnTo>
                    <a:pt x="1741" y="3481"/>
                  </a:lnTo>
                  <a:lnTo>
                    <a:pt x="1746" y="3472"/>
                  </a:lnTo>
                  <a:lnTo>
                    <a:pt x="1754" y="3458"/>
                  </a:lnTo>
                  <a:lnTo>
                    <a:pt x="1762" y="3444"/>
                  </a:lnTo>
                  <a:lnTo>
                    <a:pt x="1769" y="3426"/>
                  </a:lnTo>
                  <a:lnTo>
                    <a:pt x="1776" y="3408"/>
                  </a:lnTo>
                  <a:lnTo>
                    <a:pt x="1789" y="3366"/>
                  </a:lnTo>
                  <a:lnTo>
                    <a:pt x="1805" y="3325"/>
                  </a:lnTo>
                  <a:lnTo>
                    <a:pt x="1813" y="3305"/>
                  </a:lnTo>
                  <a:lnTo>
                    <a:pt x="1822" y="3286"/>
                  </a:lnTo>
                  <a:lnTo>
                    <a:pt x="1833" y="3270"/>
                  </a:lnTo>
                  <a:lnTo>
                    <a:pt x="1845" y="3254"/>
                  </a:lnTo>
                  <a:lnTo>
                    <a:pt x="1850" y="3248"/>
                  </a:lnTo>
                  <a:lnTo>
                    <a:pt x="1857" y="3242"/>
                  </a:lnTo>
                  <a:lnTo>
                    <a:pt x="1864" y="3237"/>
                  </a:lnTo>
                  <a:lnTo>
                    <a:pt x="1870" y="3233"/>
                  </a:lnTo>
                  <a:lnTo>
                    <a:pt x="1878" y="3229"/>
                  </a:lnTo>
                  <a:lnTo>
                    <a:pt x="1886" y="3226"/>
                  </a:lnTo>
                  <a:lnTo>
                    <a:pt x="1894" y="3225"/>
                  </a:lnTo>
                  <a:lnTo>
                    <a:pt x="1904" y="3225"/>
                  </a:lnTo>
                  <a:lnTo>
                    <a:pt x="1920" y="3225"/>
                  </a:lnTo>
                  <a:lnTo>
                    <a:pt x="1934" y="3229"/>
                  </a:lnTo>
                  <a:lnTo>
                    <a:pt x="1948" y="3233"/>
                  </a:lnTo>
                  <a:lnTo>
                    <a:pt x="1961" y="3237"/>
                  </a:lnTo>
                  <a:lnTo>
                    <a:pt x="1986" y="3248"/>
                  </a:lnTo>
                  <a:lnTo>
                    <a:pt x="2006" y="3254"/>
                  </a:lnTo>
                  <a:lnTo>
                    <a:pt x="2109" y="3254"/>
                  </a:lnTo>
                  <a:lnTo>
                    <a:pt x="2125" y="3266"/>
                  </a:lnTo>
                  <a:lnTo>
                    <a:pt x="2141" y="3277"/>
                  </a:lnTo>
                  <a:lnTo>
                    <a:pt x="2158" y="3284"/>
                  </a:lnTo>
                  <a:lnTo>
                    <a:pt x="2177" y="3289"/>
                  </a:lnTo>
                  <a:lnTo>
                    <a:pt x="2195" y="3293"/>
                  </a:lnTo>
                  <a:lnTo>
                    <a:pt x="2215" y="3296"/>
                  </a:lnTo>
                  <a:lnTo>
                    <a:pt x="2237" y="3297"/>
                  </a:lnTo>
                  <a:lnTo>
                    <a:pt x="2259" y="3297"/>
                  </a:lnTo>
                  <a:lnTo>
                    <a:pt x="2275" y="3297"/>
                  </a:lnTo>
                  <a:lnTo>
                    <a:pt x="2291" y="3300"/>
                  </a:lnTo>
                  <a:lnTo>
                    <a:pt x="2305" y="3304"/>
                  </a:lnTo>
                  <a:lnTo>
                    <a:pt x="2318" y="3308"/>
                  </a:lnTo>
                  <a:lnTo>
                    <a:pt x="2329" y="3313"/>
                  </a:lnTo>
                  <a:lnTo>
                    <a:pt x="2339" y="3320"/>
                  </a:lnTo>
                  <a:lnTo>
                    <a:pt x="2350" y="3326"/>
                  </a:lnTo>
                  <a:lnTo>
                    <a:pt x="2359" y="3333"/>
                  </a:lnTo>
                  <a:lnTo>
                    <a:pt x="2379" y="3346"/>
                  </a:lnTo>
                  <a:lnTo>
                    <a:pt x="2399" y="3358"/>
                  </a:lnTo>
                  <a:lnTo>
                    <a:pt x="2410" y="3362"/>
                  </a:lnTo>
                  <a:lnTo>
                    <a:pt x="2423" y="3366"/>
                  </a:lnTo>
                  <a:lnTo>
                    <a:pt x="2437" y="3368"/>
                  </a:lnTo>
                  <a:lnTo>
                    <a:pt x="2451" y="3369"/>
                  </a:lnTo>
                  <a:lnTo>
                    <a:pt x="2461" y="3368"/>
                  </a:lnTo>
                  <a:lnTo>
                    <a:pt x="2470" y="3365"/>
                  </a:lnTo>
                  <a:lnTo>
                    <a:pt x="2479" y="3361"/>
                  </a:lnTo>
                  <a:lnTo>
                    <a:pt x="2487" y="3356"/>
                  </a:lnTo>
                  <a:lnTo>
                    <a:pt x="2505" y="3341"/>
                  </a:lnTo>
                  <a:lnTo>
                    <a:pt x="2521" y="3324"/>
                  </a:lnTo>
                  <a:lnTo>
                    <a:pt x="2530" y="3316"/>
                  </a:lnTo>
                  <a:lnTo>
                    <a:pt x="2538" y="3308"/>
                  </a:lnTo>
                  <a:lnTo>
                    <a:pt x="2547" y="3300"/>
                  </a:lnTo>
                  <a:lnTo>
                    <a:pt x="2558" y="3293"/>
                  </a:lnTo>
                  <a:lnTo>
                    <a:pt x="2569" y="3288"/>
                  </a:lnTo>
                  <a:lnTo>
                    <a:pt x="2581" y="3282"/>
                  </a:lnTo>
                  <a:lnTo>
                    <a:pt x="2594" y="3280"/>
                  </a:lnTo>
                  <a:lnTo>
                    <a:pt x="2609" y="3278"/>
                  </a:lnTo>
                  <a:lnTo>
                    <a:pt x="2615" y="3280"/>
                  </a:lnTo>
                  <a:lnTo>
                    <a:pt x="2623" y="3281"/>
                  </a:lnTo>
                  <a:lnTo>
                    <a:pt x="2630" y="3284"/>
                  </a:lnTo>
                  <a:lnTo>
                    <a:pt x="2635" y="3288"/>
                  </a:lnTo>
                  <a:lnTo>
                    <a:pt x="2647" y="3296"/>
                  </a:lnTo>
                  <a:lnTo>
                    <a:pt x="2659" y="3306"/>
                  </a:lnTo>
                  <a:lnTo>
                    <a:pt x="2671" y="3316"/>
                  </a:lnTo>
                  <a:lnTo>
                    <a:pt x="2682" y="3325"/>
                  </a:lnTo>
                  <a:lnTo>
                    <a:pt x="2689" y="3328"/>
                  </a:lnTo>
                  <a:lnTo>
                    <a:pt x="2695" y="3330"/>
                  </a:lnTo>
                  <a:lnTo>
                    <a:pt x="2703" y="3333"/>
                  </a:lnTo>
                  <a:lnTo>
                    <a:pt x="2710" y="3333"/>
                  </a:lnTo>
                  <a:lnTo>
                    <a:pt x="2711" y="3324"/>
                  </a:lnTo>
                  <a:lnTo>
                    <a:pt x="2713" y="3316"/>
                  </a:lnTo>
                  <a:lnTo>
                    <a:pt x="2715" y="3308"/>
                  </a:lnTo>
                  <a:lnTo>
                    <a:pt x="2719" y="3301"/>
                  </a:lnTo>
                  <a:lnTo>
                    <a:pt x="2725" y="3294"/>
                  </a:lnTo>
                  <a:lnTo>
                    <a:pt x="2730" y="3289"/>
                  </a:lnTo>
                  <a:lnTo>
                    <a:pt x="2737" y="3284"/>
                  </a:lnTo>
                  <a:lnTo>
                    <a:pt x="2743" y="3280"/>
                  </a:lnTo>
                  <a:lnTo>
                    <a:pt x="2759" y="3270"/>
                  </a:lnTo>
                  <a:lnTo>
                    <a:pt x="2777" y="3264"/>
                  </a:lnTo>
                  <a:lnTo>
                    <a:pt x="2795" y="3257"/>
                  </a:lnTo>
                  <a:lnTo>
                    <a:pt x="2814" y="3250"/>
                  </a:lnTo>
                  <a:lnTo>
                    <a:pt x="2833" y="3244"/>
                  </a:lnTo>
                  <a:lnTo>
                    <a:pt x="2850" y="3237"/>
                  </a:lnTo>
                  <a:lnTo>
                    <a:pt x="2858" y="3232"/>
                  </a:lnTo>
                  <a:lnTo>
                    <a:pt x="2866" y="3228"/>
                  </a:lnTo>
                  <a:lnTo>
                    <a:pt x="2874" y="3222"/>
                  </a:lnTo>
                  <a:lnTo>
                    <a:pt x="2881" y="3217"/>
                  </a:lnTo>
                  <a:lnTo>
                    <a:pt x="2887" y="3210"/>
                  </a:lnTo>
                  <a:lnTo>
                    <a:pt x="2893" y="3204"/>
                  </a:lnTo>
                  <a:lnTo>
                    <a:pt x="2897" y="3197"/>
                  </a:lnTo>
                  <a:lnTo>
                    <a:pt x="2901" y="3188"/>
                  </a:lnTo>
                  <a:lnTo>
                    <a:pt x="2903" y="3180"/>
                  </a:lnTo>
                  <a:lnTo>
                    <a:pt x="2904" y="3169"/>
                  </a:lnTo>
                  <a:lnTo>
                    <a:pt x="2904" y="3158"/>
                  </a:lnTo>
                  <a:lnTo>
                    <a:pt x="2903" y="3146"/>
                  </a:lnTo>
                  <a:lnTo>
                    <a:pt x="2886" y="3145"/>
                  </a:lnTo>
                  <a:lnTo>
                    <a:pt x="2869" y="3142"/>
                  </a:lnTo>
                  <a:lnTo>
                    <a:pt x="2854" y="3138"/>
                  </a:lnTo>
                  <a:lnTo>
                    <a:pt x="2839" y="3132"/>
                  </a:lnTo>
                  <a:lnTo>
                    <a:pt x="2826" y="3124"/>
                  </a:lnTo>
                  <a:lnTo>
                    <a:pt x="2813" y="3114"/>
                  </a:lnTo>
                  <a:lnTo>
                    <a:pt x="2802" y="3104"/>
                  </a:lnTo>
                  <a:lnTo>
                    <a:pt x="2791" y="3092"/>
                  </a:lnTo>
                  <a:lnTo>
                    <a:pt x="2783" y="3078"/>
                  </a:lnTo>
                  <a:lnTo>
                    <a:pt x="2775" y="3064"/>
                  </a:lnTo>
                  <a:lnTo>
                    <a:pt x="2769" y="3048"/>
                  </a:lnTo>
                  <a:lnTo>
                    <a:pt x="2762" y="3032"/>
                  </a:lnTo>
                  <a:lnTo>
                    <a:pt x="2758" y="3015"/>
                  </a:lnTo>
                  <a:lnTo>
                    <a:pt x="2755" y="2997"/>
                  </a:lnTo>
                  <a:lnTo>
                    <a:pt x="2753" y="2979"/>
                  </a:lnTo>
                  <a:lnTo>
                    <a:pt x="2753" y="2960"/>
                  </a:lnTo>
                  <a:lnTo>
                    <a:pt x="2753" y="296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accent1">
                  <a:lumMod val="20000"/>
                  <a:lumOff val="8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95" b="0" i="0" u="none" strike="noStrike" kern="1200" cap="none" spc="0" normalizeH="0" baseline="0" noProof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6" name="Freeform 110"/>
            <p:cNvSpPr>
              <a:spLocks/>
            </p:cNvSpPr>
            <p:nvPr/>
          </p:nvSpPr>
          <p:spPr bwMode="auto">
            <a:xfrm>
              <a:off x="4728036" y="2505156"/>
              <a:ext cx="19808" cy="29713"/>
            </a:xfrm>
            <a:custGeom>
              <a:avLst/>
              <a:gdLst>
                <a:gd name="T0" fmla="*/ 276 w 276"/>
                <a:gd name="T1" fmla="*/ 237 h 411"/>
                <a:gd name="T2" fmla="*/ 273 w 276"/>
                <a:gd name="T3" fmla="*/ 216 h 411"/>
                <a:gd name="T4" fmla="*/ 268 w 276"/>
                <a:gd name="T5" fmla="*/ 181 h 411"/>
                <a:gd name="T6" fmla="*/ 254 w 276"/>
                <a:gd name="T7" fmla="*/ 145 h 411"/>
                <a:gd name="T8" fmla="*/ 230 w 276"/>
                <a:gd name="T9" fmla="*/ 111 h 411"/>
                <a:gd name="T10" fmla="*/ 202 w 276"/>
                <a:gd name="T11" fmla="*/ 83 h 411"/>
                <a:gd name="T12" fmla="*/ 170 w 276"/>
                <a:gd name="T13" fmla="*/ 64 h 411"/>
                <a:gd name="T14" fmla="*/ 141 w 276"/>
                <a:gd name="T15" fmla="*/ 60 h 411"/>
                <a:gd name="T16" fmla="*/ 118 w 276"/>
                <a:gd name="T17" fmla="*/ 55 h 411"/>
                <a:gd name="T18" fmla="*/ 72 w 276"/>
                <a:gd name="T19" fmla="*/ 20 h 411"/>
                <a:gd name="T20" fmla="*/ 31 w 276"/>
                <a:gd name="T21" fmla="*/ 43 h 411"/>
                <a:gd name="T22" fmla="*/ 55 w 276"/>
                <a:gd name="T23" fmla="*/ 80 h 411"/>
                <a:gd name="T24" fmla="*/ 94 w 276"/>
                <a:gd name="T25" fmla="*/ 114 h 411"/>
                <a:gd name="T26" fmla="*/ 118 w 276"/>
                <a:gd name="T27" fmla="*/ 120 h 411"/>
                <a:gd name="T28" fmla="*/ 162 w 276"/>
                <a:gd name="T29" fmla="*/ 110 h 411"/>
                <a:gd name="T30" fmla="*/ 178 w 276"/>
                <a:gd name="T31" fmla="*/ 119 h 411"/>
                <a:gd name="T32" fmla="*/ 186 w 276"/>
                <a:gd name="T33" fmla="*/ 151 h 411"/>
                <a:gd name="T34" fmla="*/ 180 w 276"/>
                <a:gd name="T35" fmla="*/ 167 h 411"/>
                <a:gd name="T36" fmla="*/ 148 w 276"/>
                <a:gd name="T37" fmla="*/ 193 h 411"/>
                <a:gd name="T38" fmla="*/ 101 w 276"/>
                <a:gd name="T39" fmla="*/ 216 h 411"/>
                <a:gd name="T40" fmla="*/ 92 w 276"/>
                <a:gd name="T41" fmla="*/ 279 h 411"/>
                <a:gd name="T42" fmla="*/ 88 w 276"/>
                <a:gd name="T43" fmla="*/ 297 h 411"/>
                <a:gd name="T44" fmla="*/ 77 w 276"/>
                <a:gd name="T45" fmla="*/ 309 h 411"/>
                <a:gd name="T46" fmla="*/ 61 w 276"/>
                <a:gd name="T47" fmla="*/ 301 h 411"/>
                <a:gd name="T48" fmla="*/ 51 w 276"/>
                <a:gd name="T49" fmla="*/ 285 h 411"/>
                <a:gd name="T50" fmla="*/ 37 w 276"/>
                <a:gd name="T51" fmla="*/ 284 h 411"/>
                <a:gd name="T52" fmla="*/ 16 w 276"/>
                <a:gd name="T53" fmla="*/ 292 h 411"/>
                <a:gd name="T54" fmla="*/ 1 w 276"/>
                <a:gd name="T55" fmla="*/ 307 h 411"/>
                <a:gd name="T56" fmla="*/ 4 w 276"/>
                <a:gd name="T57" fmla="*/ 352 h 411"/>
                <a:gd name="T58" fmla="*/ 13 w 276"/>
                <a:gd name="T59" fmla="*/ 376 h 411"/>
                <a:gd name="T60" fmla="*/ 27 w 276"/>
                <a:gd name="T61" fmla="*/ 393 h 411"/>
                <a:gd name="T62" fmla="*/ 44 w 276"/>
                <a:gd name="T63" fmla="*/ 405 h 411"/>
                <a:gd name="T64" fmla="*/ 66 w 276"/>
                <a:gd name="T65" fmla="*/ 411 h 411"/>
                <a:gd name="T66" fmla="*/ 96 w 276"/>
                <a:gd name="T67" fmla="*/ 400 h 411"/>
                <a:gd name="T68" fmla="*/ 125 w 276"/>
                <a:gd name="T69" fmla="*/ 373 h 411"/>
                <a:gd name="T70" fmla="*/ 158 w 276"/>
                <a:gd name="T71" fmla="*/ 323 h 411"/>
                <a:gd name="T72" fmla="*/ 193 w 276"/>
                <a:gd name="T73" fmla="*/ 248 h 411"/>
                <a:gd name="T74" fmla="*/ 218 w 276"/>
                <a:gd name="T75" fmla="*/ 248 h 411"/>
                <a:gd name="T76" fmla="*/ 228 w 276"/>
                <a:gd name="T77" fmla="*/ 292 h 411"/>
                <a:gd name="T78" fmla="*/ 234 w 276"/>
                <a:gd name="T79" fmla="*/ 315 h 411"/>
                <a:gd name="T80" fmla="*/ 241 w 276"/>
                <a:gd name="T81" fmla="*/ 320 h 411"/>
                <a:gd name="T82" fmla="*/ 253 w 276"/>
                <a:gd name="T83" fmla="*/ 312 h 411"/>
                <a:gd name="T84" fmla="*/ 258 w 276"/>
                <a:gd name="T85" fmla="*/ 280 h 411"/>
                <a:gd name="T86" fmla="*/ 261 w 276"/>
                <a:gd name="T87" fmla="*/ 248 h 411"/>
                <a:gd name="T88" fmla="*/ 270 w 276"/>
                <a:gd name="T89" fmla="*/ 241 h 411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276"/>
                <a:gd name="T136" fmla="*/ 0 h 411"/>
                <a:gd name="T137" fmla="*/ 276 w 276"/>
                <a:gd name="T138" fmla="*/ 411 h 411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276" h="411">
                  <a:moveTo>
                    <a:pt x="270" y="241"/>
                  </a:moveTo>
                  <a:lnTo>
                    <a:pt x="274" y="240"/>
                  </a:lnTo>
                  <a:lnTo>
                    <a:pt x="276" y="237"/>
                  </a:lnTo>
                  <a:lnTo>
                    <a:pt x="276" y="233"/>
                  </a:lnTo>
                  <a:lnTo>
                    <a:pt x="276" y="228"/>
                  </a:lnTo>
                  <a:lnTo>
                    <a:pt x="273" y="216"/>
                  </a:lnTo>
                  <a:lnTo>
                    <a:pt x="270" y="205"/>
                  </a:lnTo>
                  <a:lnTo>
                    <a:pt x="270" y="193"/>
                  </a:lnTo>
                  <a:lnTo>
                    <a:pt x="268" y="181"/>
                  </a:lnTo>
                  <a:lnTo>
                    <a:pt x="264" y="169"/>
                  </a:lnTo>
                  <a:lnTo>
                    <a:pt x="260" y="157"/>
                  </a:lnTo>
                  <a:lnTo>
                    <a:pt x="254" y="145"/>
                  </a:lnTo>
                  <a:lnTo>
                    <a:pt x="246" y="133"/>
                  </a:lnTo>
                  <a:lnTo>
                    <a:pt x="240" y="122"/>
                  </a:lnTo>
                  <a:lnTo>
                    <a:pt x="230" y="111"/>
                  </a:lnTo>
                  <a:lnTo>
                    <a:pt x="222" y="100"/>
                  </a:lnTo>
                  <a:lnTo>
                    <a:pt x="212" y="91"/>
                  </a:lnTo>
                  <a:lnTo>
                    <a:pt x="202" y="83"/>
                  </a:lnTo>
                  <a:lnTo>
                    <a:pt x="192" y="75"/>
                  </a:lnTo>
                  <a:lnTo>
                    <a:pt x="181" y="70"/>
                  </a:lnTo>
                  <a:lnTo>
                    <a:pt x="170" y="64"/>
                  </a:lnTo>
                  <a:lnTo>
                    <a:pt x="161" y="62"/>
                  </a:lnTo>
                  <a:lnTo>
                    <a:pt x="150" y="60"/>
                  </a:lnTo>
                  <a:lnTo>
                    <a:pt x="141" y="60"/>
                  </a:lnTo>
                  <a:lnTo>
                    <a:pt x="133" y="59"/>
                  </a:lnTo>
                  <a:lnTo>
                    <a:pt x="125" y="58"/>
                  </a:lnTo>
                  <a:lnTo>
                    <a:pt x="118" y="55"/>
                  </a:lnTo>
                  <a:lnTo>
                    <a:pt x="105" y="48"/>
                  </a:lnTo>
                  <a:lnTo>
                    <a:pt x="93" y="40"/>
                  </a:lnTo>
                  <a:lnTo>
                    <a:pt x="72" y="20"/>
                  </a:lnTo>
                  <a:lnTo>
                    <a:pt x="55" y="0"/>
                  </a:lnTo>
                  <a:lnTo>
                    <a:pt x="31" y="0"/>
                  </a:lnTo>
                  <a:lnTo>
                    <a:pt x="31" y="43"/>
                  </a:lnTo>
                  <a:lnTo>
                    <a:pt x="36" y="55"/>
                  </a:lnTo>
                  <a:lnTo>
                    <a:pt x="44" y="68"/>
                  </a:lnTo>
                  <a:lnTo>
                    <a:pt x="55" y="80"/>
                  </a:lnTo>
                  <a:lnTo>
                    <a:pt x="66" y="94"/>
                  </a:lnTo>
                  <a:lnTo>
                    <a:pt x="80" y="104"/>
                  </a:lnTo>
                  <a:lnTo>
                    <a:pt x="94" y="114"/>
                  </a:lnTo>
                  <a:lnTo>
                    <a:pt x="102" y="116"/>
                  </a:lnTo>
                  <a:lnTo>
                    <a:pt x="110" y="119"/>
                  </a:lnTo>
                  <a:lnTo>
                    <a:pt x="118" y="120"/>
                  </a:lnTo>
                  <a:lnTo>
                    <a:pt x="126" y="122"/>
                  </a:lnTo>
                  <a:lnTo>
                    <a:pt x="142" y="115"/>
                  </a:lnTo>
                  <a:lnTo>
                    <a:pt x="162" y="110"/>
                  </a:lnTo>
                  <a:lnTo>
                    <a:pt x="169" y="111"/>
                  </a:lnTo>
                  <a:lnTo>
                    <a:pt x="173" y="114"/>
                  </a:lnTo>
                  <a:lnTo>
                    <a:pt x="178" y="119"/>
                  </a:lnTo>
                  <a:lnTo>
                    <a:pt x="181" y="126"/>
                  </a:lnTo>
                  <a:lnTo>
                    <a:pt x="185" y="140"/>
                  </a:lnTo>
                  <a:lnTo>
                    <a:pt x="186" y="151"/>
                  </a:lnTo>
                  <a:lnTo>
                    <a:pt x="185" y="156"/>
                  </a:lnTo>
                  <a:lnTo>
                    <a:pt x="184" y="161"/>
                  </a:lnTo>
                  <a:lnTo>
                    <a:pt x="180" y="167"/>
                  </a:lnTo>
                  <a:lnTo>
                    <a:pt x="174" y="172"/>
                  </a:lnTo>
                  <a:lnTo>
                    <a:pt x="162" y="183"/>
                  </a:lnTo>
                  <a:lnTo>
                    <a:pt x="148" y="193"/>
                  </a:lnTo>
                  <a:lnTo>
                    <a:pt x="132" y="203"/>
                  </a:lnTo>
                  <a:lnTo>
                    <a:pt x="116" y="211"/>
                  </a:lnTo>
                  <a:lnTo>
                    <a:pt x="101" y="216"/>
                  </a:lnTo>
                  <a:lnTo>
                    <a:pt x="90" y="217"/>
                  </a:lnTo>
                  <a:lnTo>
                    <a:pt x="92" y="249"/>
                  </a:lnTo>
                  <a:lnTo>
                    <a:pt x="92" y="279"/>
                  </a:lnTo>
                  <a:lnTo>
                    <a:pt x="90" y="285"/>
                  </a:lnTo>
                  <a:lnTo>
                    <a:pt x="89" y="292"/>
                  </a:lnTo>
                  <a:lnTo>
                    <a:pt x="88" y="297"/>
                  </a:lnTo>
                  <a:lnTo>
                    <a:pt x="85" y="301"/>
                  </a:lnTo>
                  <a:lnTo>
                    <a:pt x="81" y="307"/>
                  </a:lnTo>
                  <a:lnTo>
                    <a:pt x="77" y="309"/>
                  </a:lnTo>
                  <a:lnTo>
                    <a:pt x="72" y="312"/>
                  </a:lnTo>
                  <a:lnTo>
                    <a:pt x="66" y="313"/>
                  </a:lnTo>
                  <a:lnTo>
                    <a:pt x="61" y="301"/>
                  </a:lnTo>
                  <a:lnTo>
                    <a:pt x="56" y="292"/>
                  </a:lnTo>
                  <a:lnTo>
                    <a:pt x="53" y="288"/>
                  </a:lnTo>
                  <a:lnTo>
                    <a:pt x="51" y="285"/>
                  </a:lnTo>
                  <a:lnTo>
                    <a:pt x="47" y="284"/>
                  </a:lnTo>
                  <a:lnTo>
                    <a:pt x="43" y="284"/>
                  </a:lnTo>
                  <a:lnTo>
                    <a:pt x="37" y="284"/>
                  </a:lnTo>
                  <a:lnTo>
                    <a:pt x="31" y="285"/>
                  </a:lnTo>
                  <a:lnTo>
                    <a:pt x="24" y="288"/>
                  </a:lnTo>
                  <a:lnTo>
                    <a:pt x="16" y="292"/>
                  </a:lnTo>
                  <a:lnTo>
                    <a:pt x="11" y="296"/>
                  </a:lnTo>
                  <a:lnTo>
                    <a:pt x="5" y="301"/>
                  </a:lnTo>
                  <a:lnTo>
                    <a:pt x="1" y="307"/>
                  </a:lnTo>
                  <a:lnTo>
                    <a:pt x="0" y="313"/>
                  </a:lnTo>
                  <a:lnTo>
                    <a:pt x="1" y="333"/>
                  </a:lnTo>
                  <a:lnTo>
                    <a:pt x="4" y="352"/>
                  </a:lnTo>
                  <a:lnTo>
                    <a:pt x="7" y="360"/>
                  </a:lnTo>
                  <a:lnTo>
                    <a:pt x="9" y="368"/>
                  </a:lnTo>
                  <a:lnTo>
                    <a:pt x="13" y="376"/>
                  </a:lnTo>
                  <a:lnTo>
                    <a:pt x="17" y="383"/>
                  </a:lnTo>
                  <a:lnTo>
                    <a:pt x="21" y="388"/>
                  </a:lnTo>
                  <a:lnTo>
                    <a:pt x="27" y="393"/>
                  </a:lnTo>
                  <a:lnTo>
                    <a:pt x="32" y="399"/>
                  </a:lnTo>
                  <a:lnTo>
                    <a:pt x="39" y="403"/>
                  </a:lnTo>
                  <a:lnTo>
                    <a:pt x="44" y="405"/>
                  </a:lnTo>
                  <a:lnTo>
                    <a:pt x="51" y="408"/>
                  </a:lnTo>
                  <a:lnTo>
                    <a:pt x="58" y="409"/>
                  </a:lnTo>
                  <a:lnTo>
                    <a:pt x="66" y="411"/>
                  </a:lnTo>
                  <a:lnTo>
                    <a:pt x="76" y="409"/>
                  </a:lnTo>
                  <a:lnTo>
                    <a:pt x="86" y="405"/>
                  </a:lnTo>
                  <a:lnTo>
                    <a:pt x="96" y="400"/>
                  </a:lnTo>
                  <a:lnTo>
                    <a:pt x="106" y="392"/>
                  </a:lnTo>
                  <a:lnTo>
                    <a:pt x="116" y="383"/>
                  </a:lnTo>
                  <a:lnTo>
                    <a:pt x="125" y="373"/>
                  </a:lnTo>
                  <a:lnTo>
                    <a:pt x="134" y="361"/>
                  </a:lnTo>
                  <a:lnTo>
                    <a:pt x="142" y="349"/>
                  </a:lnTo>
                  <a:lnTo>
                    <a:pt x="158" y="323"/>
                  </a:lnTo>
                  <a:lnTo>
                    <a:pt x="173" y="296"/>
                  </a:lnTo>
                  <a:lnTo>
                    <a:pt x="184" y="269"/>
                  </a:lnTo>
                  <a:lnTo>
                    <a:pt x="193" y="248"/>
                  </a:lnTo>
                  <a:lnTo>
                    <a:pt x="204" y="249"/>
                  </a:lnTo>
                  <a:lnTo>
                    <a:pt x="212" y="249"/>
                  </a:lnTo>
                  <a:lnTo>
                    <a:pt x="218" y="248"/>
                  </a:lnTo>
                  <a:lnTo>
                    <a:pt x="222" y="248"/>
                  </a:lnTo>
                  <a:lnTo>
                    <a:pt x="224" y="269"/>
                  </a:lnTo>
                  <a:lnTo>
                    <a:pt x="228" y="292"/>
                  </a:lnTo>
                  <a:lnTo>
                    <a:pt x="229" y="303"/>
                  </a:lnTo>
                  <a:lnTo>
                    <a:pt x="233" y="312"/>
                  </a:lnTo>
                  <a:lnTo>
                    <a:pt x="234" y="315"/>
                  </a:lnTo>
                  <a:lnTo>
                    <a:pt x="237" y="317"/>
                  </a:lnTo>
                  <a:lnTo>
                    <a:pt x="238" y="319"/>
                  </a:lnTo>
                  <a:lnTo>
                    <a:pt x="241" y="320"/>
                  </a:lnTo>
                  <a:lnTo>
                    <a:pt x="245" y="319"/>
                  </a:lnTo>
                  <a:lnTo>
                    <a:pt x="249" y="316"/>
                  </a:lnTo>
                  <a:lnTo>
                    <a:pt x="253" y="312"/>
                  </a:lnTo>
                  <a:lnTo>
                    <a:pt x="254" y="308"/>
                  </a:lnTo>
                  <a:lnTo>
                    <a:pt x="257" y="295"/>
                  </a:lnTo>
                  <a:lnTo>
                    <a:pt x="258" y="280"/>
                  </a:lnTo>
                  <a:lnTo>
                    <a:pt x="258" y="267"/>
                  </a:lnTo>
                  <a:lnTo>
                    <a:pt x="260" y="253"/>
                  </a:lnTo>
                  <a:lnTo>
                    <a:pt x="261" y="248"/>
                  </a:lnTo>
                  <a:lnTo>
                    <a:pt x="264" y="245"/>
                  </a:lnTo>
                  <a:lnTo>
                    <a:pt x="266" y="243"/>
                  </a:lnTo>
                  <a:lnTo>
                    <a:pt x="270" y="241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accent1">
                  <a:lumMod val="20000"/>
                  <a:lumOff val="8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95" b="0" i="0" u="none" strike="noStrike" kern="1200" cap="none" spc="0" normalizeH="0" baseline="0" noProof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7" name="Freeform 33"/>
            <p:cNvSpPr>
              <a:spLocks/>
            </p:cNvSpPr>
            <p:nvPr/>
          </p:nvSpPr>
          <p:spPr bwMode="auto">
            <a:xfrm>
              <a:off x="5796746" y="2370978"/>
              <a:ext cx="9197" cy="6367"/>
            </a:xfrm>
            <a:custGeom>
              <a:avLst/>
              <a:gdLst>
                <a:gd name="T0" fmla="*/ 54 w 126"/>
                <a:gd name="T1" fmla="*/ 0 h 86"/>
                <a:gd name="T2" fmla="*/ 37 w 126"/>
                <a:gd name="T3" fmla="*/ 5 h 86"/>
                <a:gd name="T4" fmla="*/ 25 w 126"/>
                <a:gd name="T5" fmla="*/ 10 h 86"/>
                <a:gd name="T6" fmla="*/ 16 w 126"/>
                <a:gd name="T7" fmla="*/ 16 h 86"/>
                <a:gd name="T8" fmla="*/ 9 w 126"/>
                <a:gd name="T9" fmla="*/ 22 h 86"/>
                <a:gd name="T10" fmla="*/ 6 w 126"/>
                <a:gd name="T11" fmla="*/ 25 h 86"/>
                <a:gd name="T12" fmla="*/ 4 w 126"/>
                <a:gd name="T13" fmla="*/ 29 h 86"/>
                <a:gd name="T14" fmla="*/ 2 w 126"/>
                <a:gd name="T15" fmla="*/ 34 h 86"/>
                <a:gd name="T16" fmla="*/ 1 w 126"/>
                <a:gd name="T17" fmla="*/ 40 h 86"/>
                <a:gd name="T18" fmla="*/ 0 w 126"/>
                <a:gd name="T19" fmla="*/ 53 h 86"/>
                <a:gd name="T20" fmla="*/ 0 w 126"/>
                <a:gd name="T21" fmla="*/ 72 h 86"/>
                <a:gd name="T22" fmla="*/ 44 w 126"/>
                <a:gd name="T23" fmla="*/ 81 h 86"/>
                <a:gd name="T24" fmla="*/ 74 w 126"/>
                <a:gd name="T25" fmla="*/ 86 h 86"/>
                <a:gd name="T26" fmla="*/ 81 w 126"/>
                <a:gd name="T27" fmla="*/ 86 h 86"/>
                <a:gd name="T28" fmla="*/ 86 w 126"/>
                <a:gd name="T29" fmla="*/ 85 h 86"/>
                <a:gd name="T30" fmla="*/ 93 w 126"/>
                <a:gd name="T31" fmla="*/ 84 h 86"/>
                <a:gd name="T32" fmla="*/ 98 w 126"/>
                <a:gd name="T33" fmla="*/ 81 h 86"/>
                <a:gd name="T34" fmla="*/ 105 w 126"/>
                <a:gd name="T35" fmla="*/ 77 h 86"/>
                <a:gd name="T36" fmla="*/ 112 w 126"/>
                <a:gd name="T37" fmla="*/ 73 h 86"/>
                <a:gd name="T38" fmla="*/ 118 w 126"/>
                <a:gd name="T39" fmla="*/ 66 h 86"/>
                <a:gd name="T40" fmla="*/ 126 w 126"/>
                <a:gd name="T41" fmla="*/ 60 h 86"/>
                <a:gd name="T42" fmla="*/ 108 w 126"/>
                <a:gd name="T43" fmla="*/ 44 h 86"/>
                <a:gd name="T44" fmla="*/ 88 w 126"/>
                <a:gd name="T45" fmla="*/ 32 h 86"/>
                <a:gd name="T46" fmla="*/ 78 w 126"/>
                <a:gd name="T47" fmla="*/ 25 h 86"/>
                <a:gd name="T48" fmla="*/ 69 w 126"/>
                <a:gd name="T49" fmla="*/ 18 h 86"/>
                <a:gd name="T50" fmla="*/ 61 w 126"/>
                <a:gd name="T51" fmla="*/ 9 h 86"/>
                <a:gd name="T52" fmla="*/ 54 w 126"/>
                <a:gd name="T53" fmla="*/ 0 h 8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126"/>
                <a:gd name="T82" fmla="*/ 0 h 86"/>
                <a:gd name="T83" fmla="*/ 126 w 126"/>
                <a:gd name="T84" fmla="*/ 86 h 8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126" h="86">
                  <a:moveTo>
                    <a:pt x="54" y="0"/>
                  </a:moveTo>
                  <a:lnTo>
                    <a:pt x="37" y="5"/>
                  </a:lnTo>
                  <a:lnTo>
                    <a:pt x="25" y="10"/>
                  </a:lnTo>
                  <a:lnTo>
                    <a:pt x="16" y="16"/>
                  </a:lnTo>
                  <a:lnTo>
                    <a:pt x="9" y="22"/>
                  </a:lnTo>
                  <a:lnTo>
                    <a:pt x="6" y="25"/>
                  </a:lnTo>
                  <a:lnTo>
                    <a:pt x="4" y="29"/>
                  </a:lnTo>
                  <a:lnTo>
                    <a:pt x="2" y="34"/>
                  </a:lnTo>
                  <a:lnTo>
                    <a:pt x="1" y="40"/>
                  </a:lnTo>
                  <a:lnTo>
                    <a:pt x="0" y="53"/>
                  </a:lnTo>
                  <a:lnTo>
                    <a:pt x="0" y="72"/>
                  </a:lnTo>
                  <a:lnTo>
                    <a:pt x="44" y="81"/>
                  </a:lnTo>
                  <a:lnTo>
                    <a:pt x="74" y="86"/>
                  </a:lnTo>
                  <a:lnTo>
                    <a:pt x="81" y="86"/>
                  </a:lnTo>
                  <a:lnTo>
                    <a:pt x="86" y="85"/>
                  </a:lnTo>
                  <a:lnTo>
                    <a:pt x="93" y="84"/>
                  </a:lnTo>
                  <a:lnTo>
                    <a:pt x="98" y="81"/>
                  </a:lnTo>
                  <a:lnTo>
                    <a:pt x="105" y="77"/>
                  </a:lnTo>
                  <a:lnTo>
                    <a:pt x="112" y="73"/>
                  </a:lnTo>
                  <a:lnTo>
                    <a:pt x="118" y="66"/>
                  </a:lnTo>
                  <a:lnTo>
                    <a:pt x="126" y="60"/>
                  </a:lnTo>
                  <a:lnTo>
                    <a:pt x="108" y="44"/>
                  </a:lnTo>
                  <a:lnTo>
                    <a:pt x="88" y="32"/>
                  </a:lnTo>
                  <a:lnTo>
                    <a:pt x="78" y="25"/>
                  </a:lnTo>
                  <a:lnTo>
                    <a:pt x="69" y="18"/>
                  </a:lnTo>
                  <a:lnTo>
                    <a:pt x="61" y="9"/>
                  </a:lnTo>
                  <a:lnTo>
                    <a:pt x="54" y="0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accent1">
                  <a:lumMod val="20000"/>
                  <a:lumOff val="8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95" b="0" i="0" u="none" strike="noStrike" kern="1200" cap="none" spc="0" normalizeH="0" baseline="0" noProof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108" name="Группа 107"/>
            <p:cNvGrpSpPr/>
            <p:nvPr/>
          </p:nvGrpSpPr>
          <p:grpSpPr>
            <a:xfrm>
              <a:off x="5802170" y="2300705"/>
              <a:ext cx="162240" cy="188887"/>
              <a:chOff x="10374097" y="4422467"/>
              <a:chExt cx="1340967" cy="1561211"/>
            </a:xfrm>
            <a:solidFill>
              <a:schemeClr val="accent1">
                <a:lumMod val="20000"/>
                <a:lumOff val="80000"/>
              </a:schemeClr>
            </a:solidFill>
          </p:grpSpPr>
          <p:sp>
            <p:nvSpPr>
              <p:cNvPr id="224" name="Freeform 16"/>
              <p:cNvSpPr>
                <a:spLocks/>
              </p:cNvSpPr>
              <p:nvPr/>
            </p:nvSpPr>
            <p:spPr bwMode="auto">
              <a:xfrm>
                <a:off x="11568884" y="5798517"/>
                <a:ext cx="60422" cy="171519"/>
              </a:xfrm>
              <a:custGeom>
                <a:avLst/>
                <a:gdLst>
                  <a:gd name="T0" fmla="*/ 0 w 102"/>
                  <a:gd name="T1" fmla="*/ 108 h 289"/>
                  <a:gd name="T2" fmla="*/ 1 w 102"/>
                  <a:gd name="T3" fmla="*/ 123 h 289"/>
                  <a:gd name="T4" fmla="*/ 4 w 102"/>
                  <a:gd name="T5" fmla="*/ 133 h 289"/>
                  <a:gd name="T6" fmla="*/ 8 w 102"/>
                  <a:gd name="T7" fmla="*/ 141 h 289"/>
                  <a:gd name="T8" fmla="*/ 12 w 102"/>
                  <a:gd name="T9" fmla="*/ 151 h 289"/>
                  <a:gd name="T10" fmla="*/ 22 w 102"/>
                  <a:gd name="T11" fmla="*/ 197 h 289"/>
                  <a:gd name="T12" fmla="*/ 34 w 102"/>
                  <a:gd name="T13" fmla="*/ 243 h 289"/>
                  <a:gd name="T14" fmla="*/ 38 w 102"/>
                  <a:gd name="T15" fmla="*/ 252 h 289"/>
                  <a:gd name="T16" fmla="*/ 44 w 102"/>
                  <a:gd name="T17" fmla="*/ 261 h 289"/>
                  <a:gd name="T18" fmla="*/ 50 w 102"/>
                  <a:gd name="T19" fmla="*/ 269 h 289"/>
                  <a:gd name="T20" fmla="*/ 58 w 102"/>
                  <a:gd name="T21" fmla="*/ 276 h 289"/>
                  <a:gd name="T22" fmla="*/ 66 w 102"/>
                  <a:gd name="T23" fmla="*/ 281 h 289"/>
                  <a:gd name="T24" fmla="*/ 77 w 102"/>
                  <a:gd name="T25" fmla="*/ 285 h 289"/>
                  <a:gd name="T26" fmla="*/ 89 w 102"/>
                  <a:gd name="T27" fmla="*/ 288 h 289"/>
                  <a:gd name="T28" fmla="*/ 102 w 102"/>
                  <a:gd name="T29" fmla="*/ 289 h 289"/>
                  <a:gd name="T30" fmla="*/ 102 w 102"/>
                  <a:gd name="T31" fmla="*/ 271 h 289"/>
                  <a:gd name="T32" fmla="*/ 92 w 102"/>
                  <a:gd name="T33" fmla="*/ 257 h 289"/>
                  <a:gd name="T34" fmla="*/ 80 w 102"/>
                  <a:gd name="T35" fmla="*/ 239 h 289"/>
                  <a:gd name="T36" fmla="*/ 74 w 102"/>
                  <a:gd name="T37" fmla="*/ 229 h 289"/>
                  <a:gd name="T38" fmla="*/ 70 w 102"/>
                  <a:gd name="T39" fmla="*/ 219 h 289"/>
                  <a:gd name="T40" fmla="*/ 68 w 102"/>
                  <a:gd name="T41" fmla="*/ 208 h 289"/>
                  <a:gd name="T42" fmla="*/ 66 w 102"/>
                  <a:gd name="T43" fmla="*/ 199 h 289"/>
                  <a:gd name="T44" fmla="*/ 66 w 102"/>
                  <a:gd name="T45" fmla="*/ 173 h 289"/>
                  <a:gd name="T46" fmla="*/ 66 w 102"/>
                  <a:gd name="T47" fmla="*/ 156 h 289"/>
                  <a:gd name="T48" fmla="*/ 66 w 102"/>
                  <a:gd name="T49" fmla="*/ 139 h 289"/>
                  <a:gd name="T50" fmla="*/ 66 w 102"/>
                  <a:gd name="T51" fmla="*/ 115 h 289"/>
                  <a:gd name="T52" fmla="*/ 66 w 102"/>
                  <a:gd name="T53" fmla="*/ 107 h 289"/>
                  <a:gd name="T54" fmla="*/ 69 w 102"/>
                  <a:gd name="T55" fmla="*/ 97 h 289"/>
                  <a:gd name="T56" fmla="*/ 72 w 102"/>
                  <a:gd name="T57" fmla="*/ 87 h 289"/>
                  <a:gd name="T58" fmla="*/ 76 w 102"/>
                  <a:gd name="T59" fmla="*/ 76 h 289"/>
                  <a:gd name="T60" fmla="*/ 84 w 102"/>
                  <a:gd name="T61" fmla="*/ 56 h 289"/>
                  <a:gd name="T62" fmla="*/ 90 w 102"/>
                  <a:gd name="T63" fmla="*/ 42 h 289"/>
                  <a:gd name="T64" fmla="*/ 90 w 102"/>
                  <a:gd name="T65" fmla="*/ 0 h 289"/>
                  <a:gd name="T66" fmla="*/ 73 w 102"/>
                  <a:gd name="T67" fmla="*/ 6 h 289"/>
                  <a:gd name="T68" fmla="*/ 56 w 102"/>
                  <a:gd name="T69" fmla="*/ 14 h 289"/>
                  <a:gd name="T70" fmla="*/ 48 w 102"/>
                  <a:gd name="T71" fmla="*/ 18 h 289"/>
                  <a:gd name="T72" fmla="*/ 41 w 102"/>
                  <a:gd name="T73" fmla="*/ 24 h 289"/>
                  <a:gd name="T74" fmla="*/ 33 w 102"/>
                  <a:gd name="T75" fmla="*/ 30 h 289"/>
                  <a:gd name="T76" fmla="*/ 28 w 102"/>
                  <a:gd name="T77" fmla="*/ 36 h 289"/>
                  <a:gd name="T78" fmla="*/ 21 w 102"/>
                  <a:gd name="T79" fmla="*/ 43 h 289"/>
                  <a:gd name="T80" fmla="*/ 16 w 102"/>
                  <a:gd name="T81" fmla="*/ 51 h 289"/>
                  <a:gd name="T82" fmla="*/ 12 w 102"/>
                  <a:gd name="T83" fmla="*/ 59 h 289"/>
                  <a:gd name="T84" fmla="*/ 8 w 102"/>
                  <a:gd name="T85" fmla="*/ 68 h 289"/>
                  <a:gd name="T86" fmla="*/ 4 w 102"/>
                  <a:gd name="T87" fmla="*/ 77 h 289"/>
                  <a:gd name="T88" fmla="*/ 2 w 102"/>
                  <a:gd name="T89" fmla="*/ 87 h 289"/>
                  <a:gd name="T90" fmla="*/ 1 w 102"/>
                  <a:gd name="T91" fmla="*/ 97 h 289"/>
                  <a:gd name="T92" fmla="*/ 0 w 102"/>
                  <a:gd name="T93" fmla="*/ 108 h 289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102"/>
                  <a:gd name="T142" fmla="*/ 0 h 289"/>
                  <a:gd name="T143" fmla="*/ 102 w 102"/>
                  <a:gd name="T144" fmla="*/ 289 h 289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102" h="289">
                    <a:moveTo>
                      <a:pt x="0" y="108"/>
                    </a:moveTo>
                    <a:lnTo>
                      <a:pt x="1" y="123"/>
                    </a:lnTo>
                    <a:lnTo>
                      <a:pt x="4" y="133"/>
                    </a:lnTo>
                    <a:lnTo>
                      <a:pt x="8" y="141"/>
                    </a:lnTo>
                    <a:lnTo>
                      <a:pt x="12" y="151"/>
                    </a:lnTo>
                    <a:lnTo>
                      <a:pt x="22" y="197"/>
                    </a:lnTo>
                    <a:lnTo>
                      <a:pt x="34" y="243"/>
                    </a:lnTo>
                    <a:lnTo>
                      <a:pt x="38" y="252"/>
                    </a:lnTo>
                    <a:lnTo>
                      <a:pt x="44" y="261"/>
                    </a:lnTo>
                    <a:lnTo>
                      <a:pt x="50" y="269"/>
                    </a:lnTo>
                    <a:lnTo>
                      <a:pt x="58" y="276"/>
                    </a:lnTo>
                    <a:lnTo>
                      <a:pt x="66" y="281"/>
                    </a:lnTo>
                    <a:lnTo>
                      <a:pt x="77" y="285"/>
                    </a:lnTo>
                    <a:lnTo>
                      <a:pt x="89" y="288"/>
                    </a:lnTo>
                    <a:lnTo>
                      <a:pt x="102" y="289"/>
                    </a:lnTo>
                    <a:lnTo>
                      <a:pt x="102" y="271"/>
                    </a:lnTo>
                    <a:lnTo>
                      <a:pt x="92" y="257"/>
                    </a:lnTo>
                    <a:lnTo>
                      <a:pt x="80" y="239"/>
                    </a:lnTo>
                    <a:lnTo>
                      <a:pt x="74" y="229"/>
                    </a:lnTo>
                    <a:lnTo>
                      <a:pt x="70" y="219"/>
                    </a:lnTo>
                    <a:lnTo>
                      <a:pt x="68" y="208"/>
                    </a:lnTo>
                    <a:lnTo>
                      <a:pt x="66" y="199"/>
                    </a:lnTo>
                    <a:lnTo>
                      <a:pt x="66" y="173"/>
                    </a:lnTo>
                    <a:lnTo>
                      <a:pt x="66" y="156"/>
                    </a:lnTo>
                    <a:lnTo>
                      <a:pt x="66" y="139"/>
                    </a:lnTo>
                    <a:lnTo>
                      <a:pt x="66" y="115"/>
                    </a:lnTo>
                    <a:lnTo>
                      <a:pt x="66" y="107"/>
                    </a:lnTo>
                    <a:lnTo>
                      <a:pt x="69" y="97"/>
                    </a:lnTo>
                    <a:lnTo>
                      <a:pt x="72" y="87"/>
                    </a:lnTo>
                    <a:lnTo>
                      <a:pt x="76" y="76"/>
                    </a:lnTo>
                    <a:lnTo>
                      <a:pt x="84" y="56"/>
                    </a:lnTo>
                    <a:lnTo>
                      <a:pt x="90" y="42"/>
                    </a:lnTo>
                    <a:lnTo>
                      <a:pt x="90" y="0"/>
                    </a:lnTo>
                    <a:lnTo>
                      <a:pt x="73" y="6"/>
                    </a:lnTo>
                    <a:lnTo>
                      <a:pt x="56" y="14"/>
                    </a:lnTo>
                    <a:lnTo>
                      <a:pt x="48" y="18"/>
                    </a:lnTo>
                    <a:lnTo>
                      <a:pt x="41" y="24"/>
                    </a:lnTo>
                    <a:lnTo>
                      <a:pt x="33" y="30"/>
                    </a:lnTo>
                    <a:lnTo>
                      <a:pt x="28" y="36"/>
                    </a:lnTo>
                    <a:lnTo>
                      <a:pt x="21" y="43"/>
                    </a:lnTo>
                    <a:lnTo>
                      <a:pt x="16" y="51"/>
                    </a:lnTo>
                    <a:lnTo>
                      <a:pt x="12" y="59"/>
                    </a:lnTo>
                    <a:lnTo>
                      <a:pt x="8" y="68"/>
                    </a:lnTo>
                    <a:lnTo>
                      <a:pt x="4" y="77"/>
                    </a:lnTo>
                    <a:lnTo>
                      <a:pt x="2" y="87"/>
                    </a:lnTo>
                    <a:lnTo>
                      <a:pt x="1" y="97"/>
                    </a:lnTo>
                    <a:lnTo>
                      <a:pt x="0" y="108"/>
                    </a:lnTo>
                    <a:close/>
                  </a:path>
                </a:pathLst>
              </a:custGeom>
              <a:grpFill/>
              <a:ln w="9525">
                <a:solidFill>
                  <a:schemeClr val="accent1">
                    <a:lumMod val="20000"/>
                    <a:lumOff val="8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395" b="0" i="0" u="none" strike="noStrike" kern="1200" cap="none" spc="0" normalizeH="0" baseline="0" noProof="0">
                  <a:ln>
                    <a:noFill/>
                  </a:ln>
                  <a:solidFill>
                    <a:srgbClr val="1F4E79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25" name="Freeform 17"/>
              <p:cNvSpPr>
                <a:spLocks/>
              </p:cNvSpPr>
              <p:nvPr/>
            </p:nvSpPr>
            <p:spPr bwMode="auto">
              <a:xfrm>
                <a:off x="11605917" y="5523698"/>
                <a:ext cx="64319" cy="259227"/>
              </a:xfrm>
              <a:custGeom>
                <a:avLst/>
                <a:gdLst>
                  <a:gd name="T0" fmla="*/ 12 w 109"/>
                  <a:gd name="T1" fmla="*/ 250 h 434"/>
                  <a:gd name="T2" fmla="*/ 12 w 109"/>
                  <a:gd name="T3" fmla="*/ 201 h 434"/>
                  <a:gd name="T4" fmla="*/ 10 w 109"/>
                  <a:gd name="T5" fmla="*/ 168 h 434"/>
                  <a:gd name="T6" fmla="*/ 4 w 109"/>
                  <a:gd name="T7" fmla="*/ 149 h 434"/>
                  <a:gd name="T8" fmla="*/ 1 w 109"/>
                  <a:gd name="T9" fmla="*/ 136 h 434"/>
                  <a:gd name="T10" fmla="*/ 0 w 109"/>
                  <a:gd name="T11" fmla="*/ 117 h 434"/>
                  <a:gd name="T12" fmla="*/ 13 w 109"/>
                  <a:gd name="T13" fmla="*/ 108 h 434"/>
                  <a:gd name="T14" fmla="*/ 30 w 109"/>
                  <a:gd name="T15" fmla="*/ 98 h 434"/>
                  <a:gd name="T16" fmla="*/ 42 w 109"/>
                  <a:gd name="T17" fmla="*/ 84 h 434"/>
                  <a:gd name="T18" fmla="*/ 49 w 109"/>
                  <a:gd name="T19" fmla="*/ 65 h 434"/>
                  <a:gd name="T20" fmla="*/ 56 w 109"/>
                  <a:gd name="T21" fmla="*/ 34 h 434"/>
                  <a:gd name="T22" fmla="*/ 65 w 109"/>
                  <a:gd name="T23" fmla="*/ 10 h 434"/>
                  <a:gd name="T24" fmla="*/ 77 w 109"/>
                  <a:gd name="T25" fmla="*/ 1 h 434"/>
                  <a:gd name="T26" fmla="*/ 89 w 109"/>
                  <a:gd name="T27" fmla="*/ 1 h 434"/>
                  <a:gd name="T28" fmla="*/ 97 w 109"/>
                  <a:gd name="T29" fmla="*/ 9 h 434"/>
                  <a:gd name="T30" fmla="*/ 104 w 109"/>
                  <a:gd name="T31" fmla="*/ 20 h 434"/>
                  <a:gd name="T32" fmla="*/ 108 w 109"/>
                  <a:gd name="T33" fmla="*/ 32 h 434"/>
                  <a:gd name="T34" fmla="*/ 108 w 109"/>
                  <a:gd name="T35" fmla="*/ 50 h 434"/>
                  <a:gd name="T36" fmla="*/ 101 w 109"/>
                  <a:gd name="T37" fmla="*/ 72 h 434"/>
                  <a:gd name="T38" fmla="*/ 92 w 109"/>
                  <a:gd name="T39" fmla="*/ 89 h 434"/>
                  <a:gd name="T40" fmla="*/ 85 w 109"/>
                  <a:gd name="T41" fmla="*/ 108 h 434"/>
                  <a:gd name="T42" fmla="*/ 85 w 109"/>
                  <a:gd name="T43" fmla="*/ 136 h 434"/>
                  <a:gd name="T44" fmla="*/ 88 w 109"/>
                  <a:gd name="T45" fmla="*/ 158 h 434"/>
                  <a:gd name="T46" fmla="*/ 93 w 109"/>
                  <a:gd name="T47" fmla="*/ 177 h 434"/>
                  <a:gd name="T48" fmla="*/ 96 w 109"/>
                  <a:gd name="T49" fmla="*/ 198 h 434"/>
                  <a:gd name="T50" fmla="*/ 96 w 109"/>
                  <a:gd name="T51" fmla="*/ 217 h 434"/>
                  <a:gd name="T52" fmla="*/ 93 w 109"/>
                  <a:gd name="T53" fmla="*/ 225 h 434"/>
                  <a:gd name="T54" fmla="*/ 85 w 109"/>
                  <a:gd name="T55" fmla="*/ 237 h 434"/>
                  <a:gd name="T56" fmla="*/ 72 w 109"/>
                  <a:gd name="T57" fmla="*/ 249 h 434"/>
                  <a:gd name="T58" fmla="*/ 64 w 109"/>
                  <a:gd name="T59" fmla="*/ 260 h 434"/>
                  <a:gd name="T60" fmla="*/ 61 w 109"/>
                  <a:gd name="T61" fmla="*/ 266 h 434"/>
                  <a:gd name="T62" fmla="*/ 61 w 109"/>
                  <a:gd name="T63" fmla="*/ 282 h 434"/>
                  <a:gd name="T64" fmla="*/ 68 w 109"/>
                  <a:gd name="T65" fmla="*/ 304 h 434"/>
                  <a:gd name="T66" fmla="*/ 77 w 109"/>
                  <a:gd name="T67" fmla="*/ 324 h 434"/>
                  <a:gd name="T68" fmla="*/ 84 w 109"/>
                  <a:gd name="T69" fmla="*/ 345 h 434"/>
                  <a:gd name="T70" fmla="*/ 84 w 109"/>
                  <a:gd name="T71" fmla="*/ 368 h 434"/>
                  <a:gd name="T72" fmla="*/ 78 w 109"/>
                  <a:gd name="T73" fmla="*/ 388 h 434"/>
                  <a:gd name="T74" fmla="*/ 72 w 109"/>
                  <a:gd name="T75" fmla="*/ 405 h 434"/>
                  <a:gd name="T76" fmla="*/ 68 w 109"/>
                  <a:gd name="T77" fmla="*/ 424 h 434"/>
                  <a:gd name="T78" fmla="*/ 58 w 109"/>
                  <a:gd name="T79" fmla="*/ 429 h 434"/>
                  <a:gd name="T80" fmla="*/ 50 w 109"/>
                  <a:gd name="T81" fmla="*/ 416 h 434"/>
                  <a:gd name="T82" fmla="*/ 48 w 109"/>
                  <a:gd name="T83" fmla="*/ 389 h 434"/>
                  <a:gd name="T84" fmla="*/ 48 w 109"/>
                  <a:gd name="T85" fmla="*/ 362 h 434"/>
                  <a:gd name="T86" fmla="*/ 42 w 109"/>
                  <a:gd name="T87" fmla="*/ 356 h 434"/>
                  <a:gd name="T88" fmla="*/ 30 w 109"/>
                  <a:gd name="T89" fmla="*/ 353 h 434"/>
                  <a:gd name="T90" fmla="*/ 21 w 109"/>
                  <a:gd name="T91" fmla="*/ 346 h 434"/>
                  <a:gd name="T92" fmla="*/ 17 w 109"/>
                  <a:gd name="T93" fmla="*/ 337 h 434"/>
                  <a:gd name="T94" fmla="*/ 14 w 109"/>
                  <a:gd name="T95" fmla="*/ 322 h 434"/>
                  <a:gd name="T96" fmla="*/ 14 w 109"/>
                  <a:gd name="T97" fmla="*/ 292 h 434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109"/>
                  <a:gd name="T148" fmla="*/ 0 h 434"/>
                  <a:gd name="T149" fmla="*/ 109 w 109"/>
                  <a:gd name="T150" fmla="*/ 434 h 434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109" h="434">
                    <a:moveTo>
                      <a:pt x="12" y="277"/>
                    </a:moveTo>
                    <a:lnTo>
                      <a:pt x="12" y="250"/>
                    </a:lnTo>
                    <a:lnTo>
                      <a:pt x="12" y="225"/>
                    </a:lnTo>
                    <a:lnTo>
                      <a:pt x="12" y="201"/>
                    </a:lnTo>
                    <a:lnTo>
                      <a:pt x="12" y="181"/>
                    </a:lnTo>
                    <a:lnTo>
                      <a:pt x="10" y="168"/>
                    </a:lnTo>
                    <a:lnTo>
                      <a:pt x="6" y="156"/>
                    </a:lnTo>
                    <a:lnTo>
                      <a:pt x="4" y="149"/>
                    </a:lnTo>
                    <a:lnTo>
                      <a:pt x="2" y="142"/>
                    </a:lnTo>
                    <a:lnTo>
                      <a:pt x="1" y="136"/>
                    </a:lnTo>
                    <a:lnTo>
                      <a:pt x="0" y="126"/>
                    </a:lnTo>
                    <a:lnTo>
                      <a:pt x="0" y="117"/>
                    </a:lnTo>
                    <a:lnTo>
                      <a:pt x="0" y="109"/>
                    </a:lnTo>
                    <a:lnTo>
                      <a:pt x="13" y="108"/>
                    </a:lnTo>
                    <a:lnTo>
                      <a:pt x="22" y="104"/>
                    </a:lnTo>
                    <a:lnTo>
                      <a:pt x="30" y="98"/>
                    </a:lnTo>
                    <a:lnTo>
                      <a:pt x="37" y="92"/>
                    </a:lnTo>
                    <a:lnTo>
                      <a:pt x="42" y="84"/>
                    </a:lnTo>
                    <a:lnTo>
                      <a:pt x="46" y="74"/>
                    </a:lnTo>
                    <a:lnTo>
                      <a:pt x="49" y="65"/>
                    </a:lnTo>
                    <a:lnTo>
                      <a:pt x="52" y="54"/>
                    </a:lnTo>
                    <a:lnTo>
                      <a:pt x="56" y="34"/>
                    </a:lnTo>
                    <a:lnTo>
                      <a:pt x="61" y="17"/>
                    </a:lnTo>
                    <a:lnTo>
                      <a:pt x="65" y="10"/>
                    </a:lnTo>
                    <a:lnTo>
                      <a:pt x="70" y="5"/>
                    </a:lnTo>
                    <a:lnTo>
                      <a:pt x="77" y="1"/>
                    </a:lnTo>
                    <a:lnTo>
                      <a:pt x="85" y="0"/>
                    </a:lnTo>
                    <a:lnTo>
                      <a:pt x="89" y="1"/>
                    </a:lnTo>
                    <a:lnTo>
                      <a:pt x="93" y="4"/>
                    </a:lnTo>
                    <a:lnTo>
                      <a:pt x="97" y="9"/>
                    </a:lnTo>
                    <a:lnTo>
                      <a:pt x="101" y="13"/>
                    </a:lnTo>
                    <a:lnTo>
                      <a:pt x="104" y="20"/>
                    </a:lnTo>
                    <a:lnTo>
                      <a:pt x="106" y="25"/>
                    </a:lnTo>
                    <a:lnTo>
                      <a:pt x="108" y="32"/>
                    </a:lnTo>
                    <a:lnTo>
                      <a:pt x="109" y="36"/>
                    </a:lnTo>
                    <a:lnTo>
                      <a:pt x="108" y="50"/>
                    </a:lnTo>
                    <a:lnTo>
                      <a:pt x="105" y="62"/>
                    </a:lnTo>
                    <a:lnTo>
                      <a:pt x="101" y="72"/>
                    </a:lnTo>
                    <a:lnTo>
                      <a:pt x="97" y="81"/>
                    </a:lnTo>
                    <a:lnTo>
                      <a:pt x="92" y="89"/>
                    </a:lnTo>
                    <a:lnTo>
                      <a:pt x="88" y="98"/>
                    </a:lnTo>
                    <a:lnTo>
                      <a:pt x="85" y="108"/>
                    </a:lnTo>
                    <a:lnTo>
                      <a:pt x="85" y="121"/>
                    </a:lnTo>
                    <a:lnTo>
                      <a:pt x="85" y="136"/>
                    </a:lnTo>
                    <a:lnTo>
                      <a:pt x="86" y="148"/>
                    </a:lnTo>
                    <a:lnTo>
                      <a:pt x="88" y="158"/>
                    </a:lnTo>
                    <a:lnTo>
                      <a:pt x="90" y="168"/>
                    </a:lnTo>
                    <a:lnTo>
                      <a:pt x="93" y="177"/>
                    </a:lnTo>
                    <a:lnTo>
                      <a:pt x="94" y="188"/>
                    </a:lnTo>
                    <a:lnTo>
                      <a:pt x="96" y="198"/>
                    </a:lnTo>
                    <a:lnTo>
                      <a:pt x="97" y="210"/>
                    </a:lnTo>
                    <a:lnTo>
                      <a:pt x="96" y="217"/>
                    </a:lnTo>
                    <a:lnTo>
                      <a:pt x="96" y="221"/>
                    </a:lnTo>
                    <a:lnTo>
                      <a:pt x="93" y="225"/>
                    </a:lnTo>
                    <a:lnTo>
                      <a:pt x="90" y="230"/>
                    </a:lnTo>
                    <a:lnTo>
                      <a:pt x="85" y="237"/>
                    </a:lnTo>
                    <a:lnTo>
                      <a:pt x="78" y="244"/>
                    </a:lnTo>
                    <a:lnTo>
                      <a:pt x="72" y="249"/>
                    </a:lnTo>
                    <a:lnTo>
                      <a:pt x="66" y="256"/>
                    </a:lnTo>
                    <a:lnTo>
                      <a:pt x="64" y="260"/>
                    </a:lnTo>
                    <a:lnTo>
                      <a:pt x="62" y="262"/>
                    </a:lnTo>
                    <a:lnTo>
                      <a:pt x="61" y="266"/>
                    </a:lnTo>
                    <a:lnTo>
                      <a:pt x="61" y="272"/>
                    </a:lnTo>
                    <a:lnTo>
                      <a:pt x="61" y="282"/>
                    </a:lnTo>
                    <a:lnTo>
                      <a:pt x="64" y="293"/>
                    </a:lnTo>
                    <a:lnTo>
                      <a:pt x="68" y="304"/>
                    </a:lnTo>
                    <a:lnTo>
                      <a:pt x="73" y="313"/>
                    </a:lnTo>
                    <a:lnTo>
                      <a:pt x="77" y="324"/>
                    </a:lnTo>
                    <a:lnTo>
                      <a:pt x="81" y="334"/>
                    </a:lnTo>
                    <a:lnTo>
                      <a:pt x="84" y="345"/>
                    </a:lnTo>
                    <a:lnTo>
                      <a:pt x="85" y="356"/>
                    </a:lnTo>
                    <a:lnTo>
                      <a:pt x="84" y="368"/>
                    </a:lnTo>
                    <a:lnTo>
                      <a:pt x="82" y="378"/>
                    </a:lnTo>
                    <a:lnTo>
                      <a:pt x="78" y="388"/>
                    </a:lnTo>
                    <a:lnTo>
                      <a:pt x="76" y="397"/>
                    </a:lnTo>
                    <a:lnTo>
                      <a:pt x="72" y="405"/>
                    </a:lnTo>
                    <a:lnTo>
                      <a:pt x="69" y="414"/>
                    </a:lnTo>
                    <a:lnTo>
                      <a:pt x="68" y="424"/>
                    </a:lnTo>
                    <a:lnTo>
                      <a:pt x="66" y="434"/>
                    </a:lnTo>
                    <a:lnTo>
                      <a:pt x="58" y="429"/>
                    </a:lnTo>
                    <a:lnTo>
                      <a:pt x="53" y="422"/>
                    </a:lnTo>
                    <a:lnTo>
                      <a:pt x="50" y="416"/>
                    </a:lnTo>
                    <a:lnTo>
                      <a:pt x="49" y="408"/>
                    </a:lnTo>
                    <a:lnTo>
                      <a:pt x="48" y="389"/>
                    </a:lnTo>
                    <a:lnTo>
                      <a:pt x="49" y="368"/>
                    </a:lnTo>
                    <a:lnTo>
                      <a:pt x="48" y="362"/>
                    </a:lnTo>
                    <a:lnTo>
                      <a:pt x="45" y="358"/>
                    </a:lnTo>
                    <a:lnTo>
                      <a:pt x="42" y="356"/>
                    </a:lnTo>
                    <a:lnTo>
                      <a:pt x="38" y="354"/>
                    </a:lnTo>
                    <a:lnTo>
                      <a:pt x="30" y="353"/>
                    </a:lnTo>
                    <a:lnTo>
                      <a:pt x="24" y="349"/>
                    </a:lnTo>
                    <a:lnTo>
                      <a:pt x="21" y="346"/>
                    </a:lnTo>
                    <a:lnTo>
                      <a:pt x="18" y="342"/>
                    </a:lnTo>
                    <a:lnTo>
                      <a:pt x="17" y="337"/>
                    </a:lnTo>
                    <a:lnTo>
                      <a:pt x="16" y="332"/>
                    </a:lnTo>
                    <a:lnTo>
                      <a:pt x="14" y="322"/>
                    </a:lnTo>
                    <a:lnTo>
                      <a:pt x="14" y="312"/>
                    </a:lnTo>
                    <a:lnTo>
                      <a:pt x="14" y="292"/>
                    </a:lnTo>
                    <a:lnTo>
                      <a:pt x="12" y="277"/>
                    </a:lnTo>
                    <a:close/>
                  </a:path>
                </a:pathLst>
              </a:custGeom>
              <a:grpFill/>
              <a:ln w="9525">
                <a:solidFill>
                  <a:schemeClr val="accent1">
                    <a:lumMod val="20000"/>
                    <a:lumOff val="8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395" b="0" i="0" u="none" strike="noStrike" kern="1200" cap="none" spc="0" normalizeH="0" baseline="0" noProof="0">
                  <a:ln>
                    <a:noFill/>
                  </a:ln>
                  <a:solidFill>
                    <a:srgbClr val="1F4E79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26" name="Freeform 18"/>
              <p:cNvSpPr>
                <a:spLocks/>
              </p:cNvSpPr>
              <p:nvPr/>
            </p:nvSpPr>
            <p:spPr bwMode="auto">
              <a:xfrm>
                <a:off x="11679981" y="5833601"/>
                <a:ext cx="25338" cy="42881"/>
              </a:xfrm>
              <a:custGeom>
                <a:avLst/>
                <a:gdLst>
                  <a:gd name="T0" fmla="*/ 43 w 44"/>
                  <a:gd name="T1" fmla="*/ 17 h 72"/>
                  <a:gd name="T2" fmla="*/ 39 w 44"/>
                  <a:gd name="T3" fmla="*/ 17 h 72"/>
                  <a:gd name="T4" fmla="*/ 36 w 44"/>
                  <a:gd name="T5" fmla="*/ 15 h 72"/>
                  <a:gd name="T6" fmla="*/ 34 w 44"/>
                  <a:gd name="T7" fmla="*/ 12 h 72"/>
                  <a:gd name="T8" fmla="*/ 31 w 44"/>
                  <a:gd name="T9" fmla="*/ 10 h 72"/>
                  <a:gd name="T10" fmla="*/ 28 w 44"/>
                  <a:gd name="T11" fmla="*/ 3 h 72"/>
                  <a:gd name="T12" fmla="*/ 24 w 44"/>
                  <a:gd name="T13" fmla="*/ 0 h 72"/>
                  <a:gd name="T14" fmla="*/ 19 w 44"/>
                  <a:gd name="T15" fmla="*/ 2 h 72"/>
                  <a:gd name="T16" fmla="*/ 14 w 44"/>
                  <a:gd name="T17" fmla="*/ 6 h 72"/>
                  <a:gd name="T18" fmla="*/ 10 w 44"/>
                  <a:gd name="T19" fmla="*/ 11 h 72"/>
                  <a:gd name="T20" fmla="*/ 6 w 44"/>
                  <a:gd name="T21" fmla="*/ 17 h 72"/>
                  <a:gd name="T22" fmla="*/ 3 w 44"/>
                  <a:gd name="T23" fmla="*/ 27 h 72"/>
                  <a:gd name="T24" fmla="*/ 2 w 44"/>
                  <a:gd name="T25" fmla="*/ 36 h 72"/>
                  <a:gd name="T26" fmla="*/ 0 w 44"/>
                  <a:gd name="T27" fmla="*/ 45 h 72"/>
                  <a:gd name="T28" fmla="*/ 0 w 44"/>
                  <a:gd name="T29" fmla="*/ 55 h 72"/>
                  <a:gd name="T30" fmla="*/ 2 w 44"/>
                  <a:gd name="T31" fmla="*/ 59 h 72"/>
                  <a:gd name="T32" fmla="*/ 3 w 44"/>
                  <a:gd name="T33" fmla="*/ 61 h 72"/>
                  <a:gd name="T34" fmla="*/ 4 w 44"/>
                  <a:gd name="T35" fmla="*/ 64 h 72"/>
                  <a:gd name="T36" fmla="*/ 7 w 44"/>
                  <a:gd name="T37" fmla="*/ 65 h 72"/>
                  <a:gd name="T38" fmla="*/ 14 w 44"/>
                  <a:gd name="T39" fmla="*/ 68 h 72"/>
                  <a:gd name="T40" fmla="*/ 19 w 44"/>
                  <a:gd name="T41" fmla="*/ 72 h 72"/>
                  <a:gd name="T42" fmla="*/ 26 w 44"/>
                  <a:gd name="T43" fmla="*/ 59 h 72"/>
                  <a:gd name="T44" fmla="*/ 35 w 44"/>
                  <a:gd name="T45" fmla="*/ 40 h 72"/>
                  <a:gd name="T46" fmla="*/ 39 w 44"/>
                  <a:gd name="T47" fmla="*/ 32 h 72"/>
                  <a:gd name="T48" fmla="*/ 43 w 44"/>
                  <a:gd name="T49" fmla="*/ 25 h 72"/>
                  <a:gd name="T50" fmla="*/ 44 w 44"/>
                  <a:gd name="T51" fmla="*/ 20 h 72"/>
                  <a:gd name="T52" fmla="*/ 43 w 44"/>
                  <a:gd name="T53" fmla="*/ 17 h 72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w 44"/>
                  <a:gd name="T82" fmla="*/ 0 h 72"/>
                  <a:gd name="T83" fmla="*/ 44 w 44"/>
                  <a:gd name="T84" fmla="*/ 72 h 72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T81" t="T82" r="T83" b="T84"/>
                <a:pathLst>
                  <a:path w="44" h="72">
                    <a:moveTo>
                      <a:pt x="43" y="17"/>
                    </a:moveTo>
                    <a:lnTo>
                      <a:pt x="39" y="17"/>
                    </a:lnTo>
                    <a:lnTo>
                      <a:pt x="36" y="15"/>
                    </a:lnTo>
                    <a:lnTo>
                      <a:pt x="34" y="12"/>
                    </a:lnTo>
                    <a:lnTo>
                      <a:pt x="31" y="10"/>
                    </a:lnTo>
                    <a:lnTo>
                      <a:pt x="28" y="3"/>
                    </a:lnTo>
                    <a:lnTo>
                      <a:pt x="24" y="0"/>
                    </a:lnTo>
                    <a:lnTo>
                      <a:pt x="19" y="2"/>
                    </a:lnTo>
                    <a:lnTo>
                      <a:pt x="14" y="6"/>
                    </a:lnTo>
                    <a:lnTo>
                      <a:pt x="10" y="11"/>
                    </a:lnTo>
                    <a:lnTo>
                      <a:pt x="6" y="17"/>
                    </a:lnTo>
                    <a:lnTo>
                      <a:pt x="3" y="27"/>
                    </a:lnTo>
                    <a:lnTo>
                      <a:pt x="2" y="36"/>
                    </a:lnTo>
                    <a:lnTo>
                      <a:pt x="0" y="45"/>
                    </a:lnTo>
                    <a:lnTo>
                      <a:pt x="0" y="55"/>
                    </a:lnTo>
                    <a:lnTo>
                      <a:pt x="2" y="59"/>
                    </a:lnTo>
                    <a:lnTo>
                      <a:pt x="3" y="61"/>
                    </a:lnTo>
                    <a:lnTo>
                      <a:pt x="4" y="64"/>
                    </a:lnTo>
                    <a:lnTo>
                      <a:pt x="7" y="65"/>
                    </a:lnTo>
                    <a:lnTo>
                      <a:pt x="14" y="68"/>
                    </a:lnTo>
                    <a:lnTo>
                      <a:pt x="19" y="72"/>
                    </a:lnTo>
                    <a:lnTo>
                      <a:pt x="26" y="59"/>
                    </a:lnTo>
                    <a:lnTo>
                      <a:pt x="35" y="40"/>
                    </a:lnTo>
                    <a:lnTo>
                      <a:pt x="39" y="32"/>
                    </a:lnTo>
                    <a:lnTo>
                      <a:pt x="43" y="25"/>
                    </a:lnTo>
                    <a:lnTo>
                      <a:pt x="44" y="20"/>
                    </a:lnTo>
                    <a:lnTo>
                      <a:pt x="43" y="17"/>
                    </a:lnTo>
                    <a:close/>
                  </a:path>
                </a:pathLst>
              </a:custGeom>
              <a:grpFill/>
              <a:ln w="9525">
                <a:solidFill>
                  <a:schemeClr val="accent1">
                    <a:lumMod val="20000"/>
                    <a:lumOff val="8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395" b="0" i="0" u="none" strike="noStrike" kern="1200" cap="none" spc="0" normalizeH="0" baseline="0" noProof="0">
                  <a:ln>
                    <a:noFill/>
                  </a:ln>
                  <a:solidFill>
                    <a:srgbClr val="1F4E79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27" name="Freeform 19"/>
              <p:cNvSpPr>
                <a:spLocks/>
              </p:cNvSpPr>
              <p:nvPr/>
            </p:nvSpPr>
            <p:spPr bwMode="auto">
              <a:xfrm>
                <a:off x="11664390" y="5319043"/>
                <a:ext cx="40931" cy="140334"/>
              </a:xfrm>
              <a:custGeom>
                <a:avLst/>
                <a:gdLst>
                  <a:gd name="T0" fmla="*/ 67 w 67"/>
                  <a:gd name="T1" fmla="*/ 50 h 237"/>
                  <a:gd name="T2" fmla="*/ 67 w 67"/>
                  <a:gd name="T3" fmla="*/ 82 h 237"/>
                  <a:gd name="T4" fmla="*/ 67 w 67"/>
                  <a:gd name="T5" fmla="*/ 113 h 237"/>
                  <a:gd name="T6" fmla="*/ 67 w 67"/>
                  <a:gd name="T7" fmla="*/ 140 h 237"/>
                  <a:gd name="T8" fmla="*/ 67 w 67"/>
                  <a:gd name="T9" fmla="*/ 158 h 237"/>
                  <a:gd name="T10" fmla="*/ 64 w 67"/>
                  <a:gd name="T11" fmla="*/ 173 h 237"/>
                  <a:gd name="T12" fmla="*/ 58 w 67"/>
                  <a:gd name="T13" fmla="*/ 200 h 237"/>
                  <a:gd name="T14" fmla="*/ 54 w 67"/>
                  <a:gd name="T15" fmla="*/ 214 h 237"/>
                  <a:gd name="T16" fmla="*/ 50 w 67"/>
                  <a:gd name="T17" fmla="*/ 225 h 237"/>
                  <a:gd name="T18" fmla="*/ 46 w 67"/>
                  <a:gd name="T19" fmla="*/ 234 h 237"/>
                  <a:gd name="T20" fmla="*/ 43 w 67"/>
                  <a:gd name="T21" fmla="*/ 237 h 237"/>
                  <a:gd name="T22" fmla="*/ 28 w 67"/>
                  <a:gd name="T23" fmla="*/ 210 h 237"/>
                  <a:gd name="T24" fmla="*/ 15 w 67"/>
                  <a:gd name="T25" fmla="*/ 184 h 237"/>
                  <a:gd name="T26" fmla="*/ 10 w 67"/>
                  <a:gd name="T27" fmla="*/ 169 h 237"/>
                  <a:gd name="T28" fmla="*/ 4 w 67"/>
                  <a:gd name="T29" fmla="*/ 153 h 237"/>
                  <a:gd name="T30" fmla="*/ 2 w 67"/>
                  <a:gd name="T31" fmla="*/ 136 h 237"/>
                  <a:gd name="T32" fmla="*/ 0 w 67"/>
                  <a:gd name="T33" fmla="*/ 117 h 237"/>
                  <a:gd name="T34" fmla="*/ 2 w 67"/>
                  <a:gd name="T35" fmla="*/ 92 h 237"/>
                  <a:gd name="T36" fmla="*/ 3 w 67"/>
                  <a:gd name="T37" fmla="*/ 68 h 237"/>
                  <a:gd name="T38" fmla="*/ 6 w 67"/>
                  <a:gd name="T39" fmla="*/ 45 h 237"/>
                  <a:gd name="T40" fmla="*/ 7 w 67"/>
                  <a:gd name="T41" fmla="*/ 20 h 237"/>
                  <a:gd name="T42" fmla="*/ 7 w 67"/>
                  <a:gd name="T43" fmla="*/ 13 h 237"/>
                  <a:gd name="T44" fmla="*/ 10 w 67"/>
                  <a:gd name="T45" fmla="*/ 8 h 237"/>
                  <a:gd name="T46" fmla="*/ 12 w 67"/>
                  <a:gd name="T47" fmla="*/ 4 h 237"/>
                  <a:gd name="T48" fmla="*/ 16 w 67"/>
                  <a:gd name="T49" fmla="*/ 1 h 237"/>
                  <a:gd name="T50" fmla="*/ 20 w 67"/>
                  <a:gd name="T51" fmla="*/ 0 h 237"/>
                  <a:gd name="T52" fmla="*/ 26 w 67"/>
                  <a:gd name="T53" fmla="*/ 0 h 237"/>
                  <a:gd name="T54" fmla="*/ 31 w 67"/>
                  <a:gd name="T55" fmla="*/ 1 h 237"/>
                  <a:gd name="T56" fmla="*/ 36 w 67"/>
                  <a:gd name="T57" fmla="*/ 4 h 237"/>
                  <a:gd name="T58" fmla="*/ 43 w 67"/>
                  <a:gd name="T59" fmla="*/ 6 h 237"/>
                  <a:gd name="T60" fmla="*/ 48 w 67"/>
                  <a:gd name="T61" fmla="*/ 12 h 237"/>
                  <a:gd name="T62" fmla="*/ 52 w 67"/>
                  <a:gd name="T63" fmla="*/ 16 h 237"/>
                  <a:gd name="T64" fmla="*/ 58 w 67"/>
                  <a:gd name="T65" fmla="*/ 22 h 237"/>
                  <a:gd name="T66" fmla="*/ 62 w 67"/>
                  <a:gd name="T67" fmla="*/ 28 h 237"/>
                  <a:gd name="T68" fmla="*/ 64 w 67"/>
                  <a:gd name="T69" fmla="*/ 36 h 237"/>
                  <a:gd name="T70" fmla="*/ 66 w 67"/>
                  <a:gd name="T71" fmla="*/ 42 h 237"/>
                  <a:gd name="T72" fmla="*/ 67 w 67"/>
                  <a:gd name="T73" fmla="*/ 50 h 237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67"/>
                  <a:gd name="T112" fmla="*/ 0 h 237"/>
                  <a:gd name="T113" fmla="*/ 67 w 67"/>
                  <a:gd name="T114" fmla="*/ 237 h 237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67" h="237">
                    <a:moveTo>
                      <a:pt x="67" y="50"/>
                    </a:moveTo>
                    <a:lnTo>
                      <a:pt x="67" y="82"/>
                    </a:lnTo>
                    <a:lnTo>
                      <a:pt x="67" y="113"/>
                    </a:lnTo>
                    <a:lnTo>
                      <a:pt x="67" y="140"/>
                    </a:lnTo>
                    <a:lnTo>
                      <a:pt x="67" y="158"/>
                    </a:lnTo>
                    <a:lnTo>
                      <a:pt x="64" y="173"/>
                    </a:lnTo>
                    <a:lnTo>
                      <a:pt x="58" y="200"/>
                    </a:lnTo>
                    <a:lnTo>
                      <a:pt x="54" y="214"/>
                    </a:lnTo>
                    <a:lnTo>
                      <a:pt x="50" y="225"/>
                    </a:lnTo>
                    <a:lnTo>
                      <a:pt x="46" y="234"/>
                    </a:lnTo>
                    <a:lnTo>
                      <a:pt x="43" y="237"/>
                    </a:lnTo>
                    <a:lnTo>
                      <a:pt x="28" y="210"/>
                    </a:lnTo>
                    <a:lnTo>
                      <a:pt x="15" y="184"/>
                    </a:lnTo>
                    <a:lnTo>
                      <a:pt x="10" y="169"/>
                    </a:lnTo>
                    <a:lnTo>
                      <a:pt x="4" y="153"/>
                    </a:lnTo>
                    <a:lnTo>
                      <a:pt x="2" y="136"/>
                    </a:lnTo>
                    <a:lnTo>
                      <a:pt x="0" y="117"/>
                    </a:lnTo>
                    <a:lnTo>
                      <a:pt x="2" y="92"/>
                    </a:lnTo>
                    <a:lnTo>
                      <a:pt x="3" y="68"/>
                    </a:lnTo>
                    <a:lnTo>
                      <a:pt x="6" y="45"/>
                    </a:lnTo>
                    <a:lnTo>
                      <a:pt x="7" y="20"/>
                    </a:lnTo>
                    <a:lnTo>
                      <a:pt x="7" y="13"/>
                    </a:lnTo>
                    <a:lnTo>
                      <a:pt x="10" y="8"/>
                    </a:lnTo>
                    <a:lnTo>
                      <a:pt x="12" y="4"/>
                    </a:lnTo>
                    <a:lnTo>
                      <a:pt x="16" y="1"/>
                    </a:lnTo>
                    <a:lnTo>
                      <a:pt x="20" y="0"/>
                    </a:lnTo>
                    <a:lnTo>
                      <a:pt x="26" y="0"/>
                    </a:lnTo>
                    <a:lnTo>
                      <a:pt x="31" y="1"/>
                    </a:lnTo>
                    <a:lnTo>
                      <a:pt x="36" y="4"/>
                    </a:lnTo>
                    <a:lnTo>
                      <a:pt x="43" y="6"/>
                    </a:lnTo>
                    <a:lnTo>
                      <a:pt x="48" y="12"/>
                    </a:lnTo>
                    <a:lnTo>
                      <a:pt x="52" y="16"/>
                    </a:lnTo>
                    <a:lnTo>
                      <a:pt x="58" y="22"/>
                    </a:lnTo>
                    <a:lnTo>
                      <a:pt x="62" y="28"/>
                    </a:lnTo>
                    <a:lnTo>
                      <a:pt x="64" y="36"/>
                    </a:lnTo>
                    <a:lnTo>
                      <a:pt x="66" y="42"/>
                    </a:lnTo>
                    <a:lnTo>
                      <a:pt x="67" y="50"/>
                    </a:lnTo>
                    <a:close/>
                  </a:path>
                </a:pathLst>
              </a:custGeom>
              <a:grpFill/>
              <a:ln w="9525">
                <a:solidFill>
                  <a:schemeClr val="accent1">
                    <a:lumMod val="20000"/>
                    <a:lumOff val="8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395" b="0" i="0" u="none" strike="noStrike" kern="1200" cap="none" spc="0" normalizeH="0" baseline="0" noProof="0">
                  <a:ln>
                    <a:noFill/>
                  </a:ln>
                  <a:solidFill>
                    <a:srgbClr val="1F4E79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28" name="Freeform 20"/>
              <p:cNvSpPr>
                <a:spLocks/>
              </p:cNvSpPr>
              <p:nvPr/>
            </p:nvSpPr>
            <p:spPr bwMode="auto">
              <a:xfrm>
                <a:off x="11679981" y="5092950"/>
                <a:ext cx="35083" cy="77963"/>
              </a:xfrm>
              <a:custGeom>
                <a:avLst/>
                <a:gdLst>
                  <a:gd name="T0" fmla="*/ 31 w 60"/>
                  <a:gd name="T1" fmla="*/ 120 h 132"/>
                  <a:gd name="T2" fmla="*/ 31 w 60"/>
                  <a:gd name="T3" fmla="*/ 84 h 132"/>
                  <a:gd name="T4" fmla="*/ 30 w 60"/>
                  <a:gd name="T5" fmla="*/ 78 h 132"/>
                  <a:gd name="T6" fmla="*/ 26 w 60"/>
                  <a:gd name="T7" fmla="*/ 71 h 132"/>
                  <a:gd name="T8" fmla="*/ 22 w 60"/>
                  <a:gd name="T9" fmla="*/ 66 h 132"/>
                  <a:gd name="T10" fmla="*/ 16 w 60"/>
                  <a:gd name="T11" fmla="*/ 59 h 132"/>
                  <a:gd name="T12" fmla="*/ 10 w 60"/>
                  <a:gd name="T13" fmla="*/ 51 h 132"/>
                  <a:gd name="T14" fmla="*/ 6 w 60"/>
                  <a:gd name="T15" fmla="*/ 43 h 132"/>
                  <a:gd name="T16" fmla="*/ 2 w 60"/>
                  <a:gd name="T17" fmla="*/ 35 h 132"/>
                  <a:gd name="T18" fmla="*/ 0 w 60"/>
                  <a:gd name="T19" fmla="*/ 24 h 132"/>
                  <a:gd name="T20" fmla="*/ 2 w 60"/>
                  <a:gd name="T21" fmla="*/ 19 h 132"/>
                  <a:gd name="T22" fmla="*/ 3 w 60"/>
                  <a:gd name="T23" fmla="*/ 15 h 132"/>
                  <a:gd name="T24" fmla="*/ 4 w 60"/>
                  <a:gd name="T25" fmla="*/ 11 h 132"/>
                  <a:gd name="T26" fmla="*/ 7 w 60"/>
                  <a:gd name="T27" fmla="*/ 7 h 132"/>
                  <a:gd name="T28" fmla="*/ 14 w 60"/>
                  <a:gd name="T29" fmla="*/ 2 h 132"/>
                  <a:gd name="T30" fmla="*/ 19 w 60"/>
                  <a:gd name="T31" fmla="*/ 0 h 132"/>
                  <a:gd name="T32" fmla="*/ 32 w 60"/>
                  <a:gd name="T33" fmla="*/ 20 h 132"/>
                  <a:gd name="T34" fmla="*/ 47 w 60"/>
                  <a:gd name="T35" fmla="*/ 42 h 132"/>
                  <a:gd name="T36" fmla="*/ 52 w 60"/>
                  <a:gd name="T37" fmla="*/ 54 h 132"/>
                  <a:gd name="T38" fmla="*/ 56 w 60"/>
                  <a:gd name="T39" fmla="*/ 67 h 132"/>
                  <a:gd name="T40" fmla="*/ 60 w 60"/>
                  <a:gd name="T41" fmla="*/ 83 h 132"/>
                  <a:gd name="T42" fmla="*/ 60 w 60"/>
                  <a:gd name="T43" fmla="*/ 101 h 132"/>
                  <a:gd name="T44" fmla="*/ 60 w 60"/>
                  <a:gd name="T45" fmla="*/ 115 h 132"/>
                  <a:gd name="T46" fmla="*/ 59 w 60"/>
                  <a:gd name="T47" fmla="*/ 124 h 132"/>
                  <a:gd name="T48" fmla="*/ 58 w 60"/>
                  <a:gd name="T49" fmla="*/ 127 h 132"/>
                  <a:gd name="T50" fmla="*/ 56 w 60"/>
                  <a:gd name="T51" fmla="*/ 129 h 132"/>
                  <a:gd name="T52" fmla="*/ 52 w 60"/>
                  <a:gd name="T53" fmla="*/ 132 h 132"/>
                  <a:gd name="T54" fmla="*/ 48 w 60"/>
                  <a:gd name="T55" fmla="*/ 132 h 132"/>
                  <a:gd name="T56" fmla="*/ 38 w 60"/>
                  <a:gd name="T57" fmla="*/ 127 h 132"/>
                  <a:gd name="T58" fmla="*/ 31 w 60"/>
                  <a:gd name="T59" fmla="*/ 120 h 132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w 60"/>
                  <a:gd name="T91" fmla="*/ 0 h 132"/>
                  <a:gd name="T92" fmla="*/ 60 w 60"/>
                  <a:gd name="T93" fmla="*/ 132 h 132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T90" t="T91" r="T92" b="T93"/>
                <a:pathLst>
                  <a:path w="60" h="132">
                    <a:moveTo>
                      <a:pt x="31" y="120"/>
                    </a:moveTo>
                    <a:lnTo>
                      <a:pt x="31" y="84"/>
                    </a:lnTo>
                    <a:lnTo>
                      <a:pt x="30" y="78"/>
                    </a:lnTo>
                    <a:lnTo>
                      <a:pt x="26" y="71"/>
                    </a:lnTo>
                    <a:lnTo>
                      <a:pt x="22" y="66"/>
                    </a:lnTo>
                    <a:lnTo>
                      <a:pt x="16" y="59"/>
                    </a:lnTo>
                    <a:lnTo>
                      <a:pt x="10" y="51"/>
                    </a:lnTo>
                    <a:lnTo>
                      <a:pt x="6" y="43"/>
                    </a:lnTo>
                    <a:lnTo>
                      <a:pt x="2" y="35"/>
                    </a:lnTo>
                    <a:lnTo>
                      <a:pt x="0" y="24"/>
                    </a:lnTo>
                    <a:lnTo>
                      <a:pt x="2" y="19"/>
                    </a:lnTo>
                    <a:lnTo>
                      <a:pt x="3" y="15"/>
                    </a:lnTo>
                    <a:lnTo>
                      <a:pt x="4" y="11"/>
                    </a:lnTo>
                    <a:lnTo>
                      <a:pt x="7" y="7"/>
                    </a:lnTo>
                    <a:lnTo>
                      <a:pt x="14" y="2"/>
                    </a:lnTo>
                    <a:lnTo>
                      <a:pt x="19" y="0"/>
                    </a:lnTo>
                    <a:lnTo>
                      <a:pt x="32" y="20"/>
                    </a:lnTo>
                    <a:lnTo>
                      <a:pt x="47" y="42"/>
                    </a:lnTo>
                    <a:lnTo>
                      <a:pt x="52" y="54"/>
                    </a:lnTo>
                    <a:lnTo>
                      <a:pt x="56" y="67"/>
                    </a:lnTo>
                    <a:lnTo>
                      <a:pt x="60" y="83"/>
                    </a:lnTo>
                    <a:lnTo>
                      <a:pt x="60" y="101"/>
                    </a:lnTo>
                    <a:lnTo>
                      <a:pt x="60" y="115"/>
                    </a:lnTo>
                    <a:lnTo>
                      <a:pt x="59" y="124"/>
                    </a:lnTo>
                    <a:lnTo>
                      <a:pt x="58" y="127"/>
                    </a:lnTo>
                    <a:lnTo>
                      <a:pt x="56" y="129"/>
                    </a:lnTo>
                    <a:lnTo>
                      <a:pt x="52" y="132"/>
                    </a:lnTo>
                    <a:lnTo>
                      <a:pt x="48" y="132"/>
                    </a:lnTo>
                    <a:lnTo>
                      <a:pt x="38" y="127"/>
                    </a:lnTo>
                    <a:lnTo>
                      <a:pt x="31" y="120"/>
                    </a:lnTo>
                    <a:close/>
                  </a:path>
                </a:pathLst>
              </a:custGeom>
              <a:grpFill/>
              <a:ln w="9525">
                <a:solidFill>
                  <a:schemeClr val="accent1">
                    <a:lumMod val="20000"/>
                    <a:lumOff val="8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395" b="0" i="0" u="none" strike="noStrike" kern="1200" cap="none" spc="0" normalizeH="0" baseline="0" noProof="0">
                  <a:ln>
                    <a:noFill/>
                  </a:ln>
                  <a:solidFill>
                    <a:srgbClr val="1F4E79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29" name="Freeform 21"/>
              <p:cNvSpPr>
                <a:spLocks/>
              </p:cNvSpPr>
              <p:nvPr/>
            </p:nvSpPr>
            <p:spPr bwMode="auto">
              <a:xfrm>
                <a:off x="11676083" y="5040327"/>
                <a:ext cx="15592" cy="31185"/>
              </a:xfrm>
              <a:custGeom>
                <a:avLst/>
                <a:gdLst>
                  <a:gd name="T0" fmla="*/ 17 w 24"/>
                  <a:gd name="T1" fmla="*/ 49 h 49"/>
                  <a:gd name="T2" fmla="*/ 13 w 24"/>
                  <a:gd name="T3" fmla="*/ 48 h 49"/>
                  <a:gd name="T4" fmla="*/ 9 w 24"/>
                  <a:gd name="T5" fmla="*/ 48 h 49"/>
                  <a:gd name="T6" fmla="*/ 7 w 24"/>
                  <a:gd name="T7" fmla="*/ 47 h 49"/>
                  <a:gd name="T8" fmla="*/ 4 w 24"/>
                  <a:gd name="T9" fmla="*/ 44 h 49"/>
                  <a:gd name="T10" fmla="*/ 3 w 24"/>
                  <a:gd name="T11" fmla="*/ 41 h 49"/>
                  <a:gd name="T12" fmla="*/ 1 w 24"/>
                  <a:gd name="T13" fmla="*/ 39 h 49"/>
                  <a:gd name="T14" fmla="*/ 0 w 24"/>
                  <a:gd name="T15" fmla="*/ 35 h 49"/>
                  <a:gd name="T16" fmla="*/ 0 w 24"/>
                  <a:gd name="T17" fmla="*/ 31 h 49"/>
                  <a:gd name="T18" fmla="*/ 0 w 24"/>
                  <a:gd name="T19" fmla="*/ 20 h 49"/>
                  <a:gd name="T20" fmla="*/ 0 w 24"/>
                  <a:gd name="T21" fmla="*/ 13 h 49"/>
                  <a:gd name="T22" fmla="*/ 3 w 24"/>
                  <a:gd name="T23" fmla="*/ 8 h 49"/>
                  <a:gd name="T24" fmla="*/ 5 w 24"/>
                  <a:gd name="T25" fmla="*/ 0 h 49"/>
                  <a:gd name="T26" fmla="*/ 15 w 24"/>
                  <a:gd name="T27" fmla="*/ 7 h 49"/>
                  <a:gd name="T28" fmla="*/ 24 w 24"/>
                  <a:gd name="T29" fmla="*/ 12 h 49"/>
                  <a:gd name="T30" fmla="*/ 24 w 24"/>
                  <a:gd name="T31" fmla="*/ 29 h 49"/>
                  <a:gd name="T32" fmla="*/ 24 w 24"/>
                  <a:gd name="T33" fmla="*/ 43 h 49"/>
                  <a:gd name="T34" fmla="*/ 17 w 24"/>
                  <a:gd name="T35" fmla="*/ 49 h 49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24"/>
                  <a:gd name="T55" fmla="*/ 0 h 49"/>
                  <a:gd name="T56" fmla="*/ 24 w 24"/>
                  <a:gd name="T57" fmla="*/ 49 h 49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24" h="49">
                    <a:moveTo>
                      <a:pt x="17" y="49"/>
                    </a:moveTo>
                    <a:lnTo>
                      <a:pt x="13" y="48"/>
                    </a:lnTo>
                    <a:lnTo>
                      <a:pt x="9" y="48"/>
                    </a:lnTo>
                    <a:lnTo>
                      <a:pt x="7" y="47"/>
                    </a:lnTo>
                    <a:lnTo>
                      <a:pt x="4" y="44"/>
                    </a:lnTo>
                    <a:lnTo>
                      <a:pt x="3" y="41"/>
                    </a:lnTo>
                    <a:lnTo>
                      <a:pt x="1" y="39"/>
                    </a:lnTo>
                    <a:lnTo>
                      <a:pt x="0" y="35"/>
                    </a:lnTo>
                    <a:lnTo>
                      <a:pt x="0" y="31"/>
                    </a:lnTo>
                    <a:lnTo>
                      <a:pt x="0" y="20"/>
                    </a:lnTo>
                    <a:lnTo>
                      <a:pt x="0" y="13"/>
                    </a:lnTo>
                    <a:lnTo>
                      <a:pt x="3" y="8"/>
                    </a:lnTo>
                    <a:lnTo>
                      <a:pt x="5" y="0"/>
                    </a:lnTo>
                    <a:lnTo>
                      <a:pt x="15" y="7"/>
                    </a:lnTo>
                    <a:lnTo>
                      <a:pt x="24" y="12"/>
                    </a:lnTo>
                    <a:lnTo>
                      <a:pt x="24" y="29"/>
                    </a:lnTo>
                    <a:lnTo>
                      <a:pt x="24" y="43"/>
                    </a:lnTo>
                    <a:lnTo>
                      <a:pt x="17" y="49"/>
                    </a:lnTo>
                    <a:close/>
                  </a:path>
                </a:pathLst>
              </a:custGeom>
              <a:grpFill/>
              <a:ln w="9525">
                <a:solidFill>
                  <a:schemeClr val="accent1">
                    <a:lumMod val="20000"/>
                    <a:lumOff val="8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395" b="0" i="0" u="none" strike="noStrike" kern="1200" cap="none" spc="0" normalizeH="0" baseline="0" noProof="0">
                  <a:ln>
                    <a:noFill/>
                  </a:ln>
                  <a:solidFill>
                    <a:srgbClr val="1F4E79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30" name="Freeform 22"/>
              <p:cNvSpPr>
                <a:spLocks/>
              </p:cNvSpPr>
              <p:nvPr/>
            </p:nvSpPr>
            <p:spPr bwMode="auto">
              <a:xfrm>
                <a:off x="11670235" y="4962361"/>
                <a:ext cx="21440" cy="25338"/>
              </a:xfrm>
              <a:custGeom>
                <a:avLst/>
                <a:gdLst>
                  <a:gd name="T0" fmla="*/ 29 w 36"/>
                  <a:gd name="T1" fmla="*/ 19 h 43"/>
                  <a:gd name="T2" fmla="*/ 15 w 36"/>
                  <a:gd name="T3" fmla="*/ 9 h 43"/>
                  <a:gd name="T4" fmla="*/ 0 w 36"/>
                  <a:gd name="T5" fmla="*/ 0 h 43"/>
                  <a:gd name="T6" fmla="*/ 0 w 36"/>
                  <a:gd name="T7" fmla="*/ 12 h 43"/>
                  <a:gd name="T8" fmla="*/ 0 w 36"/>
                  <a:gd name="T9" fmla="*/ 24 h 43"/>
                  <a:gd name="T10" fmla="*/ 0 w 36"/>
                  <a:gd name="T11" fmla="*/ 29 h 43"/>
                  <a:gd name="T12" fmla="*/ 4 w 36"/>
                  <a:gd name="T13" fmla="*/ 36 h 43"/>
                  <a:gd name="T14" fmla="*/ 7 w 36"/>
                  <a:gd name="T15" fmla="*/ 40 h 43"/>
                  <a:gd name="T16" fmla="*/ 12 w 36"/>
                  <a:gd name="T17" fmla="*/ 43 h 43"/>
                  <a:gd name="T18" fmla="*/ 17 w 36"/>
                  <a:gd name="T19" fmla="*/ 40 h 43"/>
                  <a:gd name="T20" fmla="*/ 24 w 36"/>
                  <a:gd name="T21" fmla="*/ 36 h 43"/>
                  <a:gd name="T22" fmla="*/ 31 w 36"/>
                  <a:gd name="T23" fmla="*/ 29 h 43"/>
                  <a:gd name="T24" fmla="*/ 36 w 36"/>
                  <a:gd name="T25" fmla="*/ 24 h 43"/>
                  <a:gd name="T26" fmla="*/ 33 w 36"/>
                  <a:gd name="T27" fmla="*/ 21 h 43"/>
                  <a:gd name="T28" fmla="*/ 29 w 36"/>
                  <a:gd name="T29" fmla="*/ 19 h 43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36"/>
                  <a:gd name="T46" fmla="*/ 0 h 43"/>
                  <a:gd name="T47" fmla="*/ 36 w 36"/>
                  <a:gd name="T48" fmla="*/ 43 h 43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36" h="43">
                    <a:moveTo>
                      <a:pt x="29" y="19"/>
                    </a:moveTo>
                    <a:lnTo>
                      <a:pt x="15" y="9"/>
                    </a:lnTo>
                    <a:lnTo>
                      <a:pt x="0" y="0"/>
                    </a:lnTo>
                    <a:lnTo>
                      <a:pt x="0" y="12"/>
                    </a:lnTo>
                    <a:lnTo>
                      <a:pt x="0" y="24"/>
                    </a:lnTo>
                    <a:lnTo>
                      <a:pt x="0" y="29"/>
                    </a:lnTo>
                    <a:lnTo>
                      <a:pt x="4" y="36"/>
                    </a:lnTo>
                    <a:lnTo>
                      <a:pt x="7" y="40"/>
                    </a:lnTo>
                    <a:lnTo>
                      <a:pt x="12" y="43"/>
                    </a:lnTo>
                    <a:lnTo>
                      <a:pt x="17" y="40"/>
                    </a:lnTo>
                    <a:lnTo>
                      <a:pt x="24" y="36"/>
                    </a:lnTo>
                    <a:lnTo>
                      <a:pt x="31" y="29"/>
                    </a:lnTo>
                    <a:lnTo>
                      <a:pt x="36" y="24"/>
                    </a:lnTo>
                    <a:lnTo>
                      <a:pt x="33" y="21"/>
                    </a:lnTo>
                    <a:lnTo>
                      <a:pt x="29" y="19"/>
                    </a:lnTo>
                    <a:close/>
                  </a:path>
                </a:pathLst>
              </a:custGeom>
              <a:grpFill/>
              <a:ln w="9525">
                <a:solidFill>
                  <a:schemeClr val="accent1">
                    <a:lumMod val="20000"/>
                    <a:lumOff val="8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395" b="0" i="0" u="none" strike="noStrike" kern="1200" cap="none" spc="0" normalizeH="0" baseline="0" noProof="0">
                  <a:ln>
                    <a:noFill/>
                  </a:ln>
                  <a:solidFill>
                    <a:srgbClr val="1F4E79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31" name="Freeform 23"/>
              <p:cNvSpPr>
                <a:spLocks/>
              </p:cNvSpPr>
              <p:nvPr/>
            </p:nvSpPr>
            <p:spPr bwMode="auto">
              <a:xfrm>
                <a:off x="11642950" y="4917534"/>
                <a:ext cx="21440" cy="21440"/>
              </a:xfrm>
              <a:custGeom>
                <a:avLst/>
                <a:gdLst>
                  <a:gd name="T0" fmla="*/ 19 w 36"/>
                  <a:gd name="T1" fmla="*/ 36 h 36"/>
                  <a:gd name="T2" fmla="*/ 10 w 36"/>
                  <a:gd name="T3" fmla="*/ 31 h 36"/>
                  <a:gd name="T4" fmla="*/ 0 w 36"/>
                  <a:gd name="T5" fmla="*/ 24 h 36"/>
                  <a:gd name="T6" fmla="*/ 0 w 36"/>
                  <a:gd name="T7" fmla="*/ 0 h 36"/>
                  <a:gd name="T8" fmla="*/ 7 w 36"/>
                  <a:gd name="T9" fmla="*/ 2 h 36"/>
                  <a:gd name="T10" fmla="*/ 12 w 36"/>
                  <a:gd name="T11" fmla="*/ 3 h 36"/>
                  <a:gd name="T12" fmla="*/ 18 w 36"/>
                  <a:gd name="T13" fmla="*/ 6 h 36"/>
                  <a:gd name="T14" fmla="*/ 23 w 36"/>
                  <a:gd name="T15" fmla="*/ 8 h 36"/>
                  <a:gd name="T16" fmla="*/ 31 w 36"/>
                  <a:gd name="T17" fmla="*/ 16 h 36"/>
                  <a:gd name="T18" fmla="*/ 36 w 36"/>
                  <a:gd name="T19" fmla="*/ 24 h 36"/>
                  <a:gd name="T20" fmla="*/ 27 w 36"/>
                  <a:gd name="T21" fmla="*/ 31 h 36"/>
                  <a:gd name="T22" fmla="*/ 19 w 36"/>
                  <a:gd name="T23" fmla="*/ 36 h 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36"/>
                  <a:gd name="T37" fmla="*/ 0 h 36"/>
                  <a:gd name="T38" fmla="*/ 36 w 36"/>
                  <a:gd name="T39" fmla="*/ 36 h 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36" h="36">
                    <a:moveTo>
                      <a:pt x="19" y="36"/>
                    </a:moveTo>
                    <a:lnTo>
                      <a:pt x="10" y="31"/>
                    </a:lnTo>
                    <a:lnTo>
                      <a:pt x="0" y="24"/>
                    </a:lnTo>
                    <a:lnTo>
                      <a:pt x="0" y="0"/>
                    </a:lnTo>
                    <a:lnTo>
                      <a:pt x="7" y="2"/>
                    </a:lnTo>
                    <a:lnTo>
                      <a:pt x="12" y="3"/>
                    </a:lnTo>
                    <a:lnTo>
                      <a:pt x="18" y="6"/>
                    </a:lnTo>
                    <a:lnTo>
                      <a:pt x="23" y="8"/>
                    </a:lnTo>
                    <a:lnTo>
                      <a:pt x="31" y="16"/>
                    </a:lnTo>
                    <a:lnTo>
                      <a:pt x="36" y="24"/>
                    </a:lnTo>
                    <a:lnTo>
                      <a:pt x="27" y="31"/>
                    </a:lnTo>
                    <a:lnTo>
                      <a:pt x="19" y="36"/>
                    </a:lnTo>
                    <a:close/>
                  </a:path>
                </a:pathLst>
              </a:custGeom>
              <a:grpFill/>
              <a:ln w="9525">
                <a:solidFill>
                  <a:schemeClr val="accent1">
                    <a:lumMod val="20000"/>
                    <a:lumOff val="8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395" b="0" i="0" u="none" strike="noStrike" kern="1200" cap="none" spc="0" normalizeH="0" baseline="0" noProof="0">
                  <a:ln>
                    <a:noFill/>
                  </a:ln>
                  <a:solidFill>
                    <a:srgbClr val="1F4E79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32" name="Freeform 24"/>
              <p:cNvSpPr>
                <a:spLocks/>
              </p:cNvSpPr>
              <p:nvPr/>
            </p:nvSpPr>
            <p:spPr bwMode="auto">
              <a:xfrm>
                <a:off x="11605916" y="4781098"/>
                <a:ext cx="23388" cy="38983"/>
              </a:xfrm>
              <a:custGeom>
                <a:avLst/>
                <a:gdLst>
                  <a:gd name="T0" fmla="*/ 24 w 42"/>
                  <a:gd name="T1" fmla="*/ 0 h 65"/>
                  <a:gd name="T2" fmla="*/ 16 w 42"/>
                  <a:gd name="T3" fmla="*/ 0 h 65"/>
                  <a:gd name="T4" fmla="*/ 10 w 42"/>
                  <a:gd name="T5" fmla="*/ 4 h 65"/>
                  <a:gd name="T6" fmla="*/ 6 w 42"/>
                  <a:gd name="T7" fmla="*/ 8 h 65"/>
                  <a:gd name="T8" fmla="*/ 4 w 42"/>
                  <a:gd name="T9" fmla="*/ 13 h 65"/>
                  <a:gd name="T10" fmla="*/ 1 w 42"/>
                  <a:gd name="T11" fmla="*/ 25 h 65"/>
                  <a:gd name="T12" fmla="*/ 0 w 42"/>
                  <a:gd name="T13" fmla="*/ 35 h 65"/>
                  <a:gd name="T14" fmla="*/ 1 w 42"/>
                  <a:gd name="T15" fmla="*/ 43 h 65"/>
                  <a:gd name="T16" fmla="*/ 2 w 42"/>
                  <a:gd name="T17" fmla="*/ 50 h 65"/>
                  <a:gd name="T18" fmla="*/ 5 w 42"/>
                  <a:gd name="T19" fmla="*/ 55 h 65"/>
                  <a:gd name="T20" fmla="*/ 8 w 42"/>
                  <a:gd name="T21" fmla="*/ 59 h 65"/>
                  <a:gd name="T22" fmla="*/ 12 w 42"/>
                  <a:gd name="T23" fmla="*/ 62 h 65"/>
                  <a:gd name="T24" fmla="*/ 16 w 42"/>
                  <a:gd name="T25" fmla="*/ 63 h 65"/>
                  <a:gd name="T26" fmla="*/ 20 w 42"/>
                  <a:gd name="T27" fmla="*/ 65 h 65"/>
                  <a:gd name="T28" fmla="*/ 24 w 42"/>
                  <a:gd name="T29" fmla="*/ 65 h 65"/>
                  <a:gd name="T30" fmla="*/ 29 w 42"/>
                  <a:gd name="T31" fmla="*/ 63 h 65"/>
                  <a:gd name="T32" fmla="*/ 32 w 42"/>
                  <a:gd name="T33" fmla="*/ 61 h 65"/>
                  <a:gd name="T34" fmla="*/ 36 w 42"/>
                  <a:gd name="T35" fmla="*/ 57 h 65"/>
                  <a:gd name="T36" fmla="*/ 38 w 42"/>
                  <a:gd name="T37" fmla="*/ 53 h 65"/>
                  <a:gd name="T38" fmla="*/ 41 w 42"/>
                  <a:gd name="T39" fmla="*/ 42 h 65"/>
                  <a:gd name="T40" fmla="*/ 42 w 42"/>
                  <a:gd name="T41" fmla="*/ 35 h 65"/>
                  <a:gd name="T42" fmla="*/ 42 w 42"/>
                  <a:gd name="T43" fmla="*/ 18 h 65"/>
                  <a:gd name="T44" fmla="*/ 42 w 42"/>
                  <a:gd name="T45" fmla="*/ 12 h 65"/>
                  <a:gd name="T46" fmla="*/ 38 w 42"/>
                  <a:gd name="T47" fmla="*/ 6 h 65"/>
                  <a:gd name="T48" fmla="*/ 33 w 42"/>
                  <a:gd name="T49" fmla="*/ 2 h 65"/>
                  <a:gd name="T50" fmla="*/ 29 w 42"/>
                  <a:gd name="T51" fmla="*/ 0 h 65"/>
                  <a:gd name="T52" fmla="*/ 24 w 42"/>
                  <a:gd name="T53" fmla="*/ 0 h 65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w 42"/>
                  <a:gd name="T82" fmla="*/ 0 h 65"/>
                  <a:gd name="T83" fmla="*/ 42 w 42"/>
                  <a:gd name="T84" fmla="*/ 65 h 65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T81" t="T82" r="T83" b="T84"/>
                <a:pathLst>
                  <a:path w="42" h="65">
                    <a:moveTo>
                      <a:pt x="24" y="0"/>
                    </a:moveTo>
                    <a:lnTo>
                      <a:pt x="16" y="0"/>
                    </a:lnTo>
                    <a:lnTo>
                      <a:pt x="10" y="4"/>
                    </a:lnTo>
                    <a:lnTo>
                      <a:pt x="6" y="8"/>
                    </a:lnTo>
                    <a:lnTo>
                      <a:pt x="4" y="13"/>
                    </a:lnTo>
                    <a:lnTo>
                      <a:pt x="1" y="25"/>
                    </a:lnTo>
                    <a:lnTo>
                      <a:pt x="0" y="35"/>
                    </a:lnTo>
                    <a:lnTo>
                      <a:pt x="1" y="43"/>
                    </a:lnTo>
                    <a:lnTo>
                      <a:pt x="2" y="50"/>
                    </a:lnTo>
                    <a:lnTo>
                      <a:pt x="5" y="55"/>
                    </a:lnTo>
                    <a:lnTo>
                      <a:pt x="8" y="59"/>
                    </a:lnTo>
                    <a:lnTo>
                      <a:pt x="12" y="62"/>
                    </a:lnTo>
                    <a:lnTo>
                      <a:pt x="16" y="63"/>
                    </a:lnTo>
                    <a:lnTo>
                      <a:pt x="20" y="65"/>
                    </a:lnTo>
                    <a:lnTo>
                      <a:pt x="24" y="65"/>
                    </a:lnTo>
                    <a:lnTo>
                      <a:pt x="29" y="63"/>
                    </a:lnTo>
                    <a:lnTo>
                      <a:pt x="32" y="61"/>
                    </a:lnTo>
                    <a:lnTo>
                      <a:pt x="36" y="57"/>
                    </a:lnTo>
                    <a:lnTo>
                      <a:pt x="38" y="53"/>
                    </a:lnTo>
                    <a:lnTo>
                      <a:pt x="41" y="42"/>
                    </a:lnTo>
                    <a:lnTo>
                      <a:pt x="42" y="35"/>
                    </a:lnTo>
                    <a:lnTo>
                      <a:pt x="42" y="18"/>
                    </a:lnTo>
                    <a:lnTo>
                      <a:pt x="42" y="12"/>
                    </a:lnTo>
                    <a:lnTo>
                      <a:pt x="38" y="6"/>
                    </a:lnTo>
                    <a:lnTo>
                      <a:pt x="33" y="2"/>
                    </a:lnTo>
                    <a:lnTo>
                      <a:pt x="29" y="0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solidFill>
                  <a:schemeClr val="accent1">
                    <a:lumMod val="20000"/>
                    <a:lumOff val="8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395" b="0" i="0" u="none" strike="noStrike" kern="1200" cap="none" spc="0" normalizeH="0" baseline="0" noProof="0">
                  <a:ln>
                    <a:noFill/>
                  </a:ln>
                  <a:solidFill>
                    <a:srgbClr val="1F4E79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33" name="Freeform 25"/>
              <p:cNvSpPr>
                <a:spLocks/>
              </p:cNvSpPr>
              <p:nvPr/>
            </p:nvSpPr>
            <p:spPr bwMode="auto">
              <a:xfrm>
                <a:off x="11594221" y="4726522"/>
                <a:ext cx="21438" cy="17542"/>
              </a:xfrm>
              <a:custGeom>
                <a:avLst/>
                <a:gdLst>
                  <a:gd name="T0" fmla="*/ 36 w 36"/>
                  <a:gd name="T1" fmla="*/ 17 h 29"/>
                  <a:gd name="T2" fmla="*/ 18 w 36"/>
                  <a:gd name="T3" fmla="*/ 0 h 29"/>
                  <a:gd name="T4" fmla="*/ 12 w 36"/>
                  <a:gd name="T5" fmla="*/ 1 h 29"/>
                  <a:gd name="T6" fmla="*/ 7 w 36"/>
                  <a:gd name="T7" fmla="*/ 4 h 29"/>
                  <a:gd name="T8" fmla="*/ 4 w 36"/>
                  <a:gd name="T9" fmla="*/ 7 h 29"/>
                  <a:gd name="T10" fmla="*/ 2 w 36"/>
                  <a:gd name="T11" fmla="*/ 9 h 29"/>
                  <a:gd name="T12" fmla="*/ 0 w 36"/>
                  <a:gd name="T13" fmla="*/ 13 h 29"/>
                  <a:gd name="T14" fmla="*/ 0 w 36"/>
                  <a:gd name="T15" fmla="*/ 17 h 29"/>
                  <a:gd name="T16" fmla="*/ 2 w 36"/>
                  <a:gd name="T17" fmla="*/ 21 h 29"/>
                  <a:gd name="T18" fmla="*/ 4 w 36"/>
                  <a:gd name="T19" fmla="*/ 25 h 29"/>
                  <a:gd name="T20" fmla="*/ 8 w 36"/>
                  <a:gd name="T21" fmla="*/ 27 h 29"/>
                  <a:gd name="T22" fmla="*/ 12 w 36"/>
                  <a:gd name="T23" fmla="*/ 28 h 29"/>
                  <a:gd name="T24" fmla="*/ 23 w 36"/>
                  <a:gd name="T25" fmla="*/ 29 h 29"/>
                  <a:gd name="T26" fmla="*/ 30 w 36"/>
                  <a:gd name="T27" fmla="*/ 29 h 29"/>
                  <a:gd name="T28" fmla="*/ 34 w 36"/>
                  <a:gd name="T29" fmla="*/ 29 h 29"/>
                  <a:gd name="T30" fmla="*/ 35 w 36"/>
                  <a:gd name="T31" fmla="*/ 27 h 29"/>
                  <a:gd name="T32" fmla="*/ 36 w 36"/>
                  <a:gd name="T33" fmla="*/ 23 h 29"/>
                  <a:gd name="T34" fmla="*/ 36 w 36"/>
                  <a:gd name="T35" fmla="*/ 17 h 29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36"/>
                  <a:gd name="T55" fmla="*/ 0 h 29"/>
                  <a:gd name="T56" fmla="*/ 36 w 36"/>
                  <a:gd name="T57" fmla="*/ 29 h 29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36" h="29">
                    <a:moveTo>
                      <a:pt x="36" y="17"/>
                    </a:moveTo>
                    <a:lnTo>
                      <a:pt x="18" y="0"/>
                    </a:lnTo>
                    <a:lnTo>
                      <a:pt x="12" y="1"/>
                    </a:lnTo>
                    <a:lnTo>
                      <a:pt x="7" y="4"/>
                    </a:lnTo>
                    <a:lnTo>
                      <a:pt x="4" y="7"/>
                    </a:lnTo>
                    <a:lnTo>
                      <a:pt x="2" y="9"/>
                    </a:lnTo>
                    <a:lnTo>
                      <a:pt x="0" y="13"/>
                    </a:lnTo>
                    <a:lnTo>
                      <a:pt x="0" y="17"/>
                    </a:lnTo>
                    <a:lnTo>
                      <a:pt x="2" y="21"/>
                    </a:lnTo>
                    <a:lnTo>
                      <a:pt x="4" y="25"/>
                    </a:lnTo>
                    <a:lnTo>
                      <a:pt x="8" y="27"/>
                    </a:lnTo>
                    <a:lnTo>
                      <a:pt x="12" y="28"/>
                    </a:lnTo>
                    <a:lnTo>
                      <a:pt x="23" y="29"/>
                    </a:lnTo>
                    <a:lnTo>
                      <a:pt x="30" y="29"/>
                    </a:lnTo>
                    <a:lnTo>
                      <a:pt x="34" y="29"/>
                    </a:lnTo>
                    <a:lnTo>
                      <a:pt x="35" y="27"/>
                    </a:lnTo>
                    <a:lnTo>
                      <a:pt x="36" y="23"/>
                    </a:lnTo>
                    <a:lnTo>
                      <a:pt x="36" y="17"/>
                    </a:lnTo>
                    <a:close/>
                  </a:path>
                </a:pathLst>
              </a:custGeom>
              <a:grpFill/>
              <a:ln w="9525">
                <a:solidFill>
                  <a:schemeClr val="accent1">
                    <a:lumMod val="20000"/>
                    <a:lumOff val="8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395" b="0" i="0" u="none" strike="noStrike" kern="1200" cap="none" spc="0" normalizeH="0" baseline="0" noProof="0">
                  <a:ln>
                    <a:noFill/>
                  </a:ln>
                  <a:solidFill>
                    <a:srgbClr val="1F4E79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34" name="Freeform 26"/>
              <p:cNvSpPr>
                <a:spLocks/>
              </p:cNvSpPr>
              <p:nvPr/>
            </p:nvSpPr>
            <p:spPr bwMode="auto">
              <a:xfrm>
                <a:off x="11563036" y="4658306"/>
                <a:ext cx="44828" cy="48726"/>
              </a:xfrm>
              <a:custGeom>
                <a:avLst/>
                <a:gdLst>
                  <a:gd name="T0" fmla="*/ 78 w 78"/>
                  <a:gd name="T1" fmla="*/ 55 h 84"/>
                  <a:gd name="T2" fmla="*/ 66 w 78"/>
                  <a:gd name="T3" fmla="*/ 39 h 84"/>
                  <a:gd name="T4" fmla="*/ 49 w 78"/>
                  <a:gd name="T5" fmla="*/ 20 h 84"/>
                  <a:gd name="T6" fmla="*/ 40 w 78"/>
                  <a:gd name="T7" fmla="*/ 12 h 84"/>
                  <a:gd name="T8" fmla="*/ 30 w 78"/>
                  <a:gd name="T9" fmla="*/ 6 h 84"/>
                  <a:gd name="T10" fmla="*/ 21 w 78"/>
                  <a:gd name="T11" fmla="*/ 2 h 84"/>
                  <a:gd name="T12" fmla="*/ 12 w 78"/>
                  <a:gd name="T13" fmla="*/ 0 h 84"/>
                  <a:gd name="T14" fmla="*/ 4 w 78"/>
                  <a:gd name="T15" fmla="*/ 3 h 84"/>
                  <a:gd name="T16" fmla="*/ 0 w 78"/>
                  <a:gd name="T17" fmla="*/ 6 h 84"/>
                  <a:gd name="T18" fmla="*/ 4 w 78"/>
                  <a:gd name="T19" fmla="*/ 14 h 84"/>
                  <a:gd name="T20" fmla="*/ 5 w 78"/>
                  <a:gd name="T21" fmla="*/ 22 h 84"/>
                  <a:gd name="T22" fmla="*/ 6 w 78"/>
                  <a:gd name="T23" fmla="*/ 30 h 84"/>
                  <a:gd name="T24" fmla="*/ 8 w 78"/>
                  <a:gd name="T25" fmla="*/ 38 h 84"/>
                  <a:gd name="T26" fmla="*/ 9 w 78"/>
                  <a:gd name="T27" fmla="*/ 44 h 84"/>
                  <a:gd name="T28" fmla="*/ 12 w 78"/>
                  <a:gd name="T29" fmla="*/ 50 h 84"/>
                  <a:gd name="T30" fmla="*/ 14 w 78"/>
                  <a:gd name="T31" fmla="*/ 51 h 84"/>
                  <a:gd name="T32" fmla="*/ 17 w 78"/>
                  <a:gd name="T33" fmla="*/ 54 h 84"/>
                  <a:gd name="T34" fmla="*/ 20 w 78"/>
                  <a:gd name="T35" fmla="*/ 54 h 84"/>
                  <a:gd name="T36" fmla="*/ 24 w 78"/>
                  <a:gd name="T37" fmla="*/ 55 h 84"/>
                  <a:gd name="T38" fmla="*/ 25 w 78"/>
                  <a:gd name="T39" fmla="*/ 64 h 84"/>
                  <a:gd name="T40" fmla="*/ 26 w 78"/>
                  <a:gd name="T41" fmla="*/ 72 h 84"/>
                  <a:gd name="T42" fmla="*/ 29 w 78"/>
                  <a:gd name="T43" fmla="*/ 78 h 84"/>
                  <a:gd name="T44" fmla="*/ 32 w 78"/>
                  <a:gd name="T45" fmla="*/ 80 h 84"/>
                  <a:gd name="T46" fmla="*/ 37 w 78"/>
                  <a:gd name="T47" fmla="*/ 83 h 84"/>
                  <a:gd name="T48" fmla="*/ 42 w 78"/>
                  <a:gd name="T49" fmla="*/ 84 h 84"/>
                  <a:gd name="T50" fmla="*/ 48 w 78"/>
                  <a:gd name="T51" fmla="*/ 84 h 84"/>
                  <a:gd name="T52" fmla="*/ 54 w 78"/>
                  <a:gd name="T53" fmla="*/ 84 h 84"/>
                  <a:gd name="T54" fmla="*/ 60 w 78"/>
                  <a:gd name="T55" fmla="*/ 84 h 84"/>
                  <a:gd name="T56" fmla="*/ 65 w 78"/>
                  <a:gd name="T57" fmla="*/ 83 h 84"/>
                  <a:gd name="T58" fmla="*/ 69 w 78"/>
                  <a:gd name="T59" fmla="*/ 80 h 84"/>
                  <a:gd name="T60" fmla="*/ 73 w 78"/>
                  <a:gd name="T61" fmla="*/ 76 h 84"/>
                  <a:gd name="T62" fmla="*/ 76 w 78"/>
                  <a:gd name="T63" fmla="*/ 72 h 84"/>
                  <a:gd name="T64" fmla="*/ 77 w 78"/>
                  <a:gd name="T65" fmla="*/ 67 h 84"/>
                  <a:gd name="T66" fmla="*/ 78 w 78"/>
                  <a:gd name="T67" fmla="*/ 60 h 84"/>
                  <a:gd name="T68" fmla="*/ 78 w 78"/>
                  <a:gd name="T69" fmla="*/ 55 h 84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78"/>
                  <a:gd name="T106" fmla="*/ 0 h 84"/>
                  <a:gd name="T107" fmla="*/ 78 w 78"/>
                  <a:gd name="T108" fmla="*/ 84 h 84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78" h="84">
                    <a:moveTo>
                      <a:pt x="78" y="55"/>
                    </a:moveTo>
                    <a:lnTo>
                      <a:pt x="66" y="39"/>
                    </a:lnTo>
                    <a:lnTo>
                      <a:pt x="49" y="20"/>
                    </a:lnTo>
                    <a:lnTo>
                      <a:pt x="40" y="12"/>
                    </a:lnTo>
                    <a:lnTo>
                      <a:pt x="30" y="6"/>
                    </a:lnTo>
                    <a:lnTo>
                      <a:pt x="21" y="2"/>
                    </a:lnTo>
                    <a:lnTo>
                      <a:pt x="12" y="0"/>
                    </a:lnTo>
                    <a:lnTo>
                      <a:pt x="4" y="3"/>
                    </a:lnTo>
                    <a:lnTo>
                      <a:pt x="0" y="6"/>
                    </a:lnTo>
                    <a:lnTo>
                      <a:pt x="4" y="14"/>
                    </a:lnTo>
                    <a:lnTo>
                      <a:pt x="5" y="22"/>
                    </a:lnTo>
                    <a:lnTo>
                      <a:pt x="6" y="30"/>
                    </a:lnTo>
                    <a:lnTo>
                      <a:pt x="8" y="38"/>
                    </a:lnTo>
                    <a:lnTo>
                      <a:pt x="9" y="44"/>
                    </a:lnTo>
                    <a:lnTo>
                      <a:pt x="12" y="50"/>
                    </a:lnTo>
                    <a:lnTo>
                      <a:pt x="14" y="51"/>
                    </a:lnTo>
                    <a:lnTo>
                      <a:pt x="17" y="54"/>
                    </a:lnTo>
                    <a:lnTo>
                      <a:pt x="20" y="54"/>
                    </a:lnTo>
                    <a:lnTo>
                      <a:pt x="24" y="55"/>
                    </a:lnTo>
                    <a:lnTo>
                      <a:pt x="25" y="64"/>
                    </a:lnTo>
                    <a:lnTo>
                      <a:pt x="26" y="72"/>
                    </a:lnTo>
                    <a:lnTo>
                      <a:pt x="29" y="78"/>
                    </a:lnTo>
                    <a:lnTo>
                      <a:pt x="32" y="80"/>
                    </a:lnTo>
                    <a:lnTo>
                      <a:pt x="37" y="83"/>
                    </a:lnTo>
                    <a:lnTo>
                      <a:pt x="42" y="84"/>
                    </a:lnTo>
                    <a:lnTo>
                      <a:pt x="48" y="84"/>
                    </a:lnTo>
                    <a:lnTo>
                      <a:pt x="54" y="84"/>
                    </a:lnTo>
                    <a:lnTo>
                      <a:pt x="60" y="84"/>
                    </a:lnTo>
                    <a:lnTo>
                      <a:pt x="65" y="83"/>
                    </a:lnTo>
                    <a:lnTo>
                      <a:pt x="69" y="80"/>
                    </a:lnTo>
                    <a:lnTo>
                      <a:pt x="73" y="76"/>
                    </a:lnTo>
                    <a:lnTo>
                      <a:pt x="76" y="72"/>
                    </a:lnTo>
                    <a:lnTo>
                      <a:pt x="77" y="67"/>
                    </a:lnTo>
                    <a:lnTo>
                      <a:pt x="78" y="60"/>
                    </a:lnTo>
                    <a:lnTo>
                      <a:pt x="78" y="55"/>
                    </a:lnTo>
                    <a:close/>
                  </a:path>
                </a:pathLst>
              </a:custGeom>
              <a:grpFill/>
              <a:ln w="9525">
                <a:solidFill>
                  <a:schemeClr val="accent1">
                    <a:lumMod val="20000"/>
                    <a:lumOff val="8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395" b="0" i="0" u="none" strike="noStrike" kern="1200" cap="none" spc="0" normalizeH="0" baseline="0" noProof="0">
                  <a:ln>
                    <a:noFill/>
                  </a:ln>
                  <a:solidFill>
                    <a:srgbClr val="1F4E79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35" name="Freeform 27"/>
              <p:cNvSpPr>
                <a:spLocks/>
              </p:cNvSpPr>
              <p:nvPr/>
            </p:nvSpPr>
            <p:spPr bwMode="auto">
              <a:xfrm>
                <a:off x="11508463" y="4467296"/>
                <a:ext cx="42881" cy="130589"/>
              </a:xfrm>
              <a:custGeom>
                <a:avLst/>
                <a:gdLst>
                  <a:gd name="T0" fmla="*/ 0 w 73"/>
                  <a:gd name="T1" fmla="*/ 0 h 218"/>
                  <a:gd name="T2" fmla="*/ 21 w 73"/>
                  <a:gd name="T3" fmla="*/ 7 h 218"/>
                  <a:gd name="T4" fmla="*/ 37 w 73"/>
                  <a:gd name="T5" fmla="*/ 14 h 218"/>
                  <a:gd name="T6" fmla="*/ 43 w 73"/>
                  <a:gd name="T7" fmla="*/ 14 h 218"/>
                  <a:gd name="T8" fmla="*/ 48 w 73"/>
                  <a:gd name="T9" fmla="*/ 15 h 218"/>
                  <a:gd name="T10" fmla="*/ 52 w 73"/>
                  <a:gd name="T11" fmla="*/ 18 h 218"/>
                  <a:gd name="T12" fmla="*/ 55 w 73"/>
                  <a:gd name="T13" fmla="*/ 22 h 218"/>
                  <a:gd name="T14" fmla="*/ 57 w 73"/>
                  <a:gd name="T15" fmla="*/ 30 h 218"/>
                  <a:gd name="T16" fmla="*/ 59 w 73"/>
                  <a:gd name="T17" fmla="*/ 42 h 218"/>
                  <a:gd name="T18" fmla="*/ 60 w 73"/>
                  <a:gd name="T19" fmla="*/ 55 h 218"/>
                  <a:gd name="T20" fmla="*/ 63 w 73"/>
                  <a:gd name="T21" fmla="*/ 68 h 218"/>
                  <a:gd name="T22" fmla="*/ 64 w 73"/>
                  <a:gd name="T23" fmla="*/ 76 h 218"/>
                  <a:gd name="T24" fmla="*/ 65 w 73"/>
                  <a:gd name="T25" fmla="*/ 83 h 218"/>
                  <a:gd name="T26" fmla="*/ 69 w 73"/>
                  <a:gd name="T27" fmla="*/ 91 h 218"/>
                  <a:gd name="T28" fmla="*/ 73 w 73"/>
                  <a:gd name="T29" fmla="*/ 98 h 218"/>
                  <a:gd name="T30" fmla="*/ 73 w 73"/>
                  <a:gd name="T31" fmla="*/ 126 h 218"/>
                  <a:gd name="T32" fmla="*/ 73 w 73"/>
                  <a:gd name="T33" fmla="*/ 152 h 218"/>
                  <a:gd name="T34" fmla="*/ 73 w 73"/>
                  <a:gd name="T35" fmla="*/ 176 h 218"/>
                  <a:gd name="T36" fmla="*/ 73 w 73"/>
                  <a:gd name="T37" fmla="*/ 194 h 218"/>
                  <a:gd name="T38" fmla="*/ 72 w 73"/>
                  <a:gd name="T39" fmla="*/ 200 h 218"/>
                  <a:gd name="T40" fmla="*/ 68 w 73"/>
                  <a:gd name="T41" fmla="*/ 208 h 218"/>
                  <a:gd name="T42" fmla="*/ 64 w 73"/>
                  <a:gd name="T43" fmla="*/ 212 h 218"/>
                  <a:gd name="T44" fmla="*/ 60 w 73"/>
                  <a:gd name="T45" fmla="*/ 215 h 218"/>
                  <a:gd name="T46" fmla="*/ 55 w 73"/>
                  <a:gd name="T47" fmla="*/ 218 h 218"/>
                  <a:gd name="T48" fmla="*/ 49 w 73"/>
                  <a:gd name="T49" fmla="*/ 218 h 218"/>
                  <a:gd name="T50" fmla="*/ 43 w 73"/>
                  <a:gd name="T51" fmla="*/ 216 h 218"/>
                  <a:gd name="T52" fmla="*/ 36 w 73"/>
                  <a:gd name="T53" fmla="*/ 212 h 218"/>
                  <a:gd name="T54" fmla="*/ 28 w 73"/>
                  <a:gd name="T55" fmla="*/ 206 h 218"/>
                  <a:gd name="T56" fmla="*/ 20 w 73"/>
                  <a:gd name="T57" fmla="*/ 198 h 218"/>
                  <a:gd name="T58" fmla="*/ 12 w 73"/>
                  <a:gd name="T59" fmla="*/ 188 h 218"/>
                  <a:gd name="T60" fmla="*/ 7 w 73"/>
                  <a:gd name="T61" fmla="*/ 180 h 218"/>
                  <a:gd name="T62" fmla="*/ 3 w 73"/>
                  <a:gd name="T63" fmla="*/ 171 h 218"/>
                  <a:gd name="T64" fmla="*/ 0 w 73"/>
                  <a:gd name="T65" fmla="*/ 163 h 218"/>
                  <a:gd name="T66" fmla="*/ 1 w 73"/>
                  <a:gd name="T67" fmla="*/ 154 h 218"/>
                  <a:gd name="T68" fmla="*/ 4 w 73"/>
                  <a:gd name="T69" fmla="*/ 144 h 218"/>
                  <a:gd name="T70" fmla="*/ 7 w 73"/>
                  <a:gd name="T71" fmla="*/ 138 h 218"/>
                  <a:gd name="T72" fmla="*/ 9 w 73"/>
                  <a:gd name="T73" fmla="*/ 131 h 218"/>
                  <a:gd name="T74" fmla="*/ 13 w 73"/>
                  <a:gd name="T75" fmla="*/ 126 h 218"/>
                  <a:gd name="T76" fmla="*/ 16 w 73"/>
                  <a:gd name="T77" fmla="*/ 119 h 218"/>
                  <a:gd name="T78" fmla="*/ 17 w 73"/>
                  <a:gd name="T79" fmla="*/ 112 h 218"/>
                  <a:gd name="T80" fmla="*/ 19 w 73"/>
                  <a:gd name="T81" fmla="*/ 103 h 218"/>
                  <a:gd name="T82" fmla="*/ 17 w 73"/>
                  <a:gd name="T83" fmla="*/ 91 h 218"/>
                  <a:gd name="T84" fmla="*/ 16 w 73"/>
                  <a:gd name="T85" fmla="*/ 83 h 218"/>
                  <a:gd name="T86" fmla="*/ 13 w 73"/>
                  <a:gd name="T87" fmla="*/ 76 h 218"/>
                  <a:gd name="T88" fmla="*/ 9 w 73"/>
                  <a:gd name="T89" fmla="*/ 71 h 218"/>
                  <a:gd name="T90" fmla="*/ 7 w 73"/>
                  <a:gd name="T91" fmla="*/ 66 h 218"/>
                  <a:gd name="T92" fmla="*/ 4 w 73"/>
                  <a:gd name="T93" fmla="*/ 60 h 218"/>
                  <a:gd name="T94" fmla="*/ 1 w 73"/>
                  <a:gd name="T95" fmla="*/ 52 h 218"/>
                  <a:gd name="T96" fmla="*/ 0 w 73"/>
                  <a:gd name="T97" fmla="*/ 43 h 218"/>
                  <a:gd name="T98" fmla="*/ 0 w 73"/>
                  <a:gd name="T99" fmla="*/ 38 h 218"/>
                  <a:gd name="T100" fmla="*/ 0 w 73"/>
                  <a:gd name="T101" fmla="*/ 24 h 218"/>
                  <a:gd name="T102" fmla="*/ 0 w 73"/>
                  <a:gd name="T103" fmla="*/ 10 h 218"/>
                  <a:gd name="T104" fmla="*/ 0 w 73"/>
                  <a:gd name="T105" fmla="*/ 0 h 218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73"/>
                  <a:gd name="T160" fmla="*/ 0 h 218"/>
                  <a:gd name="T161" fmla="*/ 73 w 73"/>
                  <a:gd name="T162" fmla="*/ 218 h 218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73" h="218">
                    <a:moveTo>
                      <a:pt x="0" y="0"/>
                    </a:moveTo>
                    <a:lnTo>
                      <a:pt x="21" y="7"/>
                    </a:lnTo>
                    <a:lnTo>
                      <a:pt x="37" y="14"/>
                    </a:lnTo>
                    <a:lnTo>
                      <a:pt x="43" y="14"/>
                    </a:lnTo>
                    <a:lnTo>
                      <a:pt x="48" y="15"/>
                    </a:lnTo>
                    <a:lnTo>
                      <a:pt x="52" y="18"/>
                    </a:lnTo>
                    <a:lnTo>
                      <a:pt x="55" y="22"/>
                    </a:lnTo>
                    <a:lnTo>
                      <a:pt x="57" y="30"/>
                    </a:lnTo>
                    <a:lnTo>
                      <a:pt x="59" y="42"/>
                    </a:lnTo>
                    <a:lnTo>
                      <a:pt x="60" y="55"/>
                    </a:lnTo>
                    <a:lnTo>
                      <a:pt x="63" y="68"/>
                    </a:lnTo>
                    <a:lnTo>
                      <a:pt x="64" y="76"/>
                    </a:lnTo>
                    <a:lnTo>
                      <a:pt x="65" y="83"/>
                    </a:lnTo>
                    <a:lnTo>
                      <a:pt x="69" y="91"/>
                    </a:lnTo>
                    <a:lnTo>
                      <a:pt x="73" y="98"/>
                    </a:lnTo>
                    <a:lnTo>
                      <a:pt x="73" y="126"/>
                    </a:lnTo>
                    <a:lnTo>
                      <a:pt x="73" y="152"/>
                    </a:lnTo>
                    <a:lnTo>
                      <a:pt x="73" y="176"/>
                    </a:lnTo>
                    <a:lnTo>
                      <a:pt x="73" y="194"/>
                    </a:lnTo>
                    <a:lnTo>
                      <a:pt x="72" y="200"/>
                    </a:lnTo>
                    <a:lnTo>
                      <a:pt x="68" y="208"/>
                    </a:lnTo>
                    <a:lnTo>
                      <a:pt x="64" y="212"/>
                    </a:lnTo>
                    <a:lnTo>
                      <a:pt x="60" y="215"/>
                    </a:lnTo>
                    <a:lnTo>
                      <a:pt x="55" y="218"/>
                    </a:lnTo>
                    <a:lnTo>
                      <a:pt x="49" y="218"/>
                    </a:lnTo>
                    <a:lnTo>
                      <a:pt x="43" y="216"/>
                    </a:lnTo>
                    <a:lnTo>
                      <a:pt x="36" y="212"/>
                    </a:lnTo>
                    <a:lnTo>
                      <a:pt x="28" y="206"/>
                    </a:lnTo>
                    <a:lnTo>
                      <a:pt x="20" y="198"/>
                    </a:lnTo>
                    <a:lnTo>
                      <a:pt x="12" y="188"/>
                    </a:lnTo>
                    <a:lnTo>
                      <a:pt x="7" y="180"/>
                    </a:lnTo>
                    <a:lnTo>
                      <a:pt x="3" y="171"/>
                    </a:lnTo>
                    <a:lnTo>
                      <a:pt x="0" y="163"/>
                    </a:lnTo>
                    <a:lnTo>
                      <a:pt x="1" y="154"/>
                    </a:lnTo>
                    <a:lnTo>
                      <a:pt x="4" y="144"/>
                    </a:lnTo>
                    <a:lnTo>
                      <a:pt x="7" y="138"/>
                    </a:lnTo>
                    <a:lnTo>
                      <a:pt x="9" y="131"/>
                    </a:lnTo>
                    <a:lnTo>
                      <a:pt x="13" y="126"/>
                    </a:lnTo>
                    <a:lnTo>
                      <a:pt x="16" y="119"/>
                    </a:lnTo>
                    <a:lnTo>
                      <a:pt x="17" y="112"/>
                    </a:lnTo>
                    <a:lnTo>
                      <a:pt x="19" y="103"/>
                    </a:lnTo>
                    <a:lnTo>
                      <a:pt x="17" y="91"/>
                    </a:lnTo>
                    <a:lnTo>
                      <a:pt x="16" y="83"/>
                    </a:lnTo>
                    <a:lnTo>
                      <a:pt x="13" y="76"/>
                    </a:lnTo>
                    <a:lnTo>
                      <a:pt x="9" y="71"/>
                    </a:lnTo>
                    <a:lnTo>
                      <a:pt x="7" y="66"/>
                    </a:lnTo>
                    <a:lnTo>
                      <a:pt x="4" y="60"/>
                    </a:lnTo>
                    <a:lnTo>
                      <a:pt x="1" y="52"/>
                    </a:lnTo>
                    <a:lnTo>
                      <a:pt x="0" y="43"/>
                    </a:lnTo>
                    <a:lnTo>
                      <a:pt x="0" y="38"/>
                    </a:lnTo>
                    <a:lnTo>
                      <a:pt x="0" y="24"/>
                    </a:lnTo>
                    <a:lnTo>
                      <a:pt x="0" y="1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accent1">
                    <a:lumMod val="20000"/>
                    <a:lumOff val="8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395" b="0" i="0" u="none" strike="noStrike" kern="1200" cap="none" spc="0" normalizeH="0" baseline="0" noProof="0">
                  <a:ln>
                    <a:noFill/>
                  </a:ln>
                  <a:solidFill>
                    <a:srgbClr val="1F4E79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36" name="Freeform 28"/>
              <p:cNvSpPr>
                <a:spLocks/>
              </p:cNvSpPr>
              <p:nvPr/>
            </p:nvSpPr>
            <p:spPr bwMode="auto">
              <a:xfrm>
                <a:off x="11506512" y="4422467"/>
                <a:ext cx="37033" cy="35083"/>
              </a:xfrm>
              <a:custGeom>
                <a:avLst/>
                <a:gdLst>
                  <a:gd name="T0" fmla="*/ 29 w 66"/>
                  <a:gd name="T1" fmla="*/ 12 h 60"/>
                  <a:gd name="T2" fmla="*/ 18 w 66"/>
                  <a:gd name="T3" fmla="*/ 11 h 60"/>
                  <a:gd name="T4" fmla="*/ 12 w 66"/>
                  <a:gd name="T5" fmla="*/ 8 h 60"/>
                  <a:gd name="T6" fmla="*/ 6 w 66"/>
                  <a:gd name="T7" fmla="*/ 4 h 60"/>
                  <a:gd name="T8" fmla="*/ 0 w 66"/>
                  <a:gd name="T9" fmla="*/ 0 h 60"/>
                  <a:gd name="T10" fmla="*/ 0 w 66"/>
                  <a:gd name="T11" fmla="*/ 23 h 60"/>
                  <a:gd name="T12" fmla="*/ 0 w 66"/>
                  <a:gd name="T13" fmla="*/ 36 h 60"/>
                  <a:gd name="T14" fmla="*/ 0 w 66"/>
                  <a:gd name="T15" fmla="*/ 40 h 60"/>
                  <a:gd name="T16" fmla="*/ 1 w 66"/>
                  <a:gd name="T17" fmla="*/ 44 h 60"/>
                  <a:gd name="T18" fmla="*/ 4 w 66"/>
                  <a:gd name="T19" fmla="*/ 49 h 60"/>
                  <a:gd name="T20" fmla="*/ 8 w 66"/>
                  <a:gd name="T21" fmla="*/ 52 h 60"/>
                  <a:gd name="T22" fmla="*/ 12 w 66"/>
                  <a:gd name="T23" fmla="*/ 56 h 60"/>
                  <a:gd name="T24" fmla="*/ 17 w 66"/>
                  <a:gd name="T25" fmla="*/ 57 h 60"/>
                  <a:gd name="T26" fmla="*/ 24 w 66"/>
                  <a:gd name="T27" fmla="*/ 60 h 60"/>
                  <a:gd name="T28" fmla="*/ 29 w 66"/>
                  <a:gd name="T29" fmla="*/ 60 h 60"/>
                  <a:gd name="T30" fmla="*/ 38 w 66"/>
                  <a:gd name="T31" fmla="*/ 60 h 60"/>
                  <a:gd name="T32" fmla="*/ 45 w 66"/>
                  <a:gd name="T33" fmla="*/ 59 h 60"/>
                  <a:gd name="T34" fmla="*/ 50 w 66"/>
                  <a:gd name="T35" fmla="*/ 57 h 60"/>
                  <a:gd name="T36" fmla="*/ 54 w 66"/>
                  <a:gd name="T37" fmla="*/ 55 h 60"/>
                  <a:gd name="T38" fmla="*/ 58 w 66"/>
                  <a:gd name="T39" fmla="*/ 52 h 60"/>
                  <a:gd name="T40" fmla="*/ 61 w 66"/>
                  <a:gd name="T41" fmla="*/ 47 h 60"/>
                  <a:gd name="T42" fmla="*/ 64 w 66"/>
                  <a:gd name="T43" fmla="*/ 43 h 60"/>
                  <a:gd name="T44" fmla="*/ 66 w 66"/>
                  <a:gd name="T45" fmla="*/ 36 h 60"/>
                  <a:gd name="T46" fmla="*/ 29 w 66"/>
                  <a:gd name="T47" fmla="*/ 12 h 60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66"/>
                  <a:gd name="T73" fmla="*/ 0 h 60"/>
                  <a:gd name="T74" fmla="*/ 66 w 66"/>
                  <a:gd name="T75" fmla="*/ 60 h 60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66" h="60">
                    <a:moveTo>
                      <a:pt x="29" y="12"/>
                    </a:moveTo>
                    <a:lnTo>
                      <a:pt x="18" y="11"/>
                    </a:lnTo>
                    <a:lnTo>
                      <a:pt x="12" y="8"/>
                    </a:lnTo>
                    <a:lnTo>
                      <a:pt x="6" y="4"/>
                    </a:lnTo>
                    <a:lnTo>
                      <a:pt x="0" y="0"/>
                    </a:lnTo>
                    <a:lnTo>
                      <a:pt x="0" y="23"/>
                    </a:lnTo>
                    <a:lnTo>
                      <a:pt x="0" y="36"/>
                    </a:lnTo>
                    <a:lnTo>
                      <a:pt x="0" y="40"/>
                    </a:lnTo>
                    <a:lnTo>
                      <a:pt x="1" y="44"/>
                    </a:lnTo>
                    <a:lnTo>
                      <a:pt x="4" y="49"/>
                    </a:lnTo>
                    <a:lnTo>
                      <a:pt x="8" y="52"/>
                    </a:lnTo>
                    <a:lnTo>
                      <a:pt x="12" y="56"/>
                    </a:lnTo>
                    <a:lnTo>
                      <a:pt x="17" y="57"/>
                    </a:lnTo>
                    <a:lnTo>
                      <a:pt x="24" y="60"/>
                    </a:lnTo>
                    <a:lnTo>
                      <a:pt x="29" y="60"/>
                    </a:lnTo>
                    <a:lnTo>
                      <a:pt x="38" y="60"/>
                    </a:lnTo>
                    <a:lnTo>
                      <a:pt x="45" y="59"/>
                    </a:lnTo>
                    <a:lnTo>
                      <a:pt x="50" y="57"/>
                    </a:lnTo>
                    <a:lnTo>
                      <a:pt x="54" y="55"/>
                    </a:lnTo>
                    <a:lnTo>
                      <a:pt x="58" y="52"/>
                    </a:lnTo>
                    <a:lnTo>
                      <a:pt x="61" y="47"/>
                    </a:lnTo>
                    <a:lnTo>
                      <a:pt x="64" y="43"/>
                    </a:lnTo>
                    <a:lnTo>
                      <a:pt x="66" y="36"/>
                    </a:lnTo>
                    <a:lnTo>
                      <a:pt x="29" y="12"/>
                    </a:lnTo>
                    <a:close/>
                  </a:path>
                </a:pathLst>
              </a:custGeom>
              <a:grpFill/>
              <a:ln w="9525">
                <a:solidFill>
                  <a:schemeClr val="accent1">
                    <a:lumMod val="20000"/>
                    <a:lumOff val="8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395" b="0" i="0" u="none" strike="noStrike" kern="1200" cap="none" spc="0" normalizeH="0" baseline="0" noProof="0">
                  <a:ln>
                    <a:noFill/>
                  </a:ln>
                  <a:solidFill>
                    <a:srgbClr val="1F4E79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37" name="Freeform 29"/>
              <p:cNvSpPr>
                <a:spLocks/>
              </p:cNvSpPr>
              <p:nvPr/>
            </p:nvSpPr>
            <p:spPr bwMode="auto">
              <a:xfrm>
                <a:off x="11448041" y="4482889"/>
                <a:ext cx="31185" cy="29236"/>
              </a:xfrm>
              <a:custGeom>
                <a:avLst/>
                <a:gdLst>
                  <a:gd name="T0" fmla="*/ 53 w 53"/>
                  <a:gd name="T1" fmla="*/ 5 h 48"/>
                  <a:gd name="T2" fmla="*/ 36 w 53"/>
                  <a:gd name="T3" fmla="*/ 2 h 48"/>
                  <a:gd name="T4" fmla="*/ 24 w 53"/>
                  <a:gd name="T5" fmla="*/ 0 h 48"/>
                  <a:gd name="T6" fmla="*/ 17 w 53"/>
                  <a:gd name="T7" fmla="*/ 2 h 48"/>
                  <a:gd name="T8" fmla="*/ 9 w 53"/>
                  <a:gd name="T9" fmla="*/ 9 h 48"/>
                  <a:gd name="T10" fmla="*/ 5 w 53"/>
                  <a:gd name="T11" fmla="*/ 14 h 48"/>
                  <a:gd name="T12" fmla="*/ 3 w 53"/>
                  <a:gd name="T13" fmla="*/ 20 h 48"/>
                  <a:gd name="T14" fmla="*/ 0 w 53"/>
                  <a:gd name="T15" fmla="*/ 25 h 48"/>
                  <a:gd name="T16" fmla="*/ 0 w 53"/>
                  <a:gd name="T17" fmla="*/ 29 h 48"/>
                  <a:gd name="T18" fmla="*/ 1 w 53"/>
                  <a:gd name="T19" fmla="*/ 32 h 48"/>
                  <a:gd name="T20" fmla="*/ 4 w 53"/>
                  <a:gd name="T21" fmla="*/ 34 h 48"/>
                  <a:gd name="T22" fmla="*/ 9 w 53"/>
                  <a:gd name="T23" fmla="*/ 37 h 48"/>
                  <a:gd name="T24" fmla="*/ 15 w 53"/>
                  <a:gd name="T25" fmla="*/ 41 h 48"/>
                  <a:gd name="T26" fmla="*/ 28 w 53"/>
                  <a:gd name="T27" fmla="*/ 45 h 48"/>
                  <a:gd name="T28" fmla="*/ 36 w 53"/>
                  <a:gd name="T29" fmla="*/ 48 h 48"/>
                  <a:gd name="T30" fmla="*/ 44 w 53"/>
                  <a:gd name="T31" fmla="*/ 48 h 48"/>
                  <a:gd name="T32" fmla="*/ 53 w 53"/>
                  <a:gd name="T33" fmla="*/ 48 h 48"/>
                  <a:gd name="T34" fmla="*/ 53 w 53"/>
                  <a:gd name="T35" fmla="*/ 37 h 48"/>
                  <a:gd name="T36" fmla="*/ 53 w 53"/>
                  <a:gd name="T37" fmla="*/ 29 h 48"/>
                  <a:gd name="T38" fmla="*/ 53 w 53"/>
                  <a:gd name="T39" fmla="*/ 20 h 48"/>
                  <a:gd name="T40" fmla="*/ 53 w 53"/>
                  <a:gd name="T41" fmla="*/ 5 h 48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53"/>
                  <a:gd name="T64" fmla="*/ 0 h 48"/>
                  <a:gd name="T65" fmla="*/ 53 w 53"/>
                  <a:gd name="T66" fmla="*/ 48 h 48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53" h="48">
                    <a:moveTo>
                      <a:pt x="53" y="5"/>
                    </a:moveTo>
                    <a:lnTo>
                      <a:pt x="36" y="2"/>
                    </a:lnTo>
                    <a:lnTo>
                      <a:pt x="24" y="0"/>
                    </a:lnTo>
                    <a:lnTo>
                      <a:pt x="17" y="2"/>
                    </a:lnTo>
                    <a:lnTo>
                      <a:pt x="9" y="9"/>
                    </a:lnTo>
                    <a:lnTo>
                      <a:pt x="5" y="14"/>
                    </a:lnTo>
                    <a:lnTo>
                      <a:pt x="3" y="20"/>
                    </a:lnTo>
                    <a:lnTo>
                      <a:pt x="0" y="25"/>
                    </a:lnTo>
                    <a:lnTo>
                      <a:pt x="0" y="29"/>
                    </a:lnTo>
                    <a:lnTo>
                      <a:pt x="1" y="32"/>
                    </a:lnTo>
                    <a:lnTo>
                      <a:pt x="4" y="34"/>
                    </a:lnTo>
                    <a:lnTo>
                      <a:pt x="9" y="37"/>
                    </a:lnTo>
                    <a:lnTo>
                      <a:pt x="15" y="41"/>
                    </a:lnTo>
                    <a:lnTo>
                      <a:pt x="28" y="45"/>
                    </a:lnTo>
                    <a:lnTo>
                      <a:pt x="36" y="48"/>
                    </a:lnTo>
                    <a:lnTo>
                      <a:pt x="44" y="48"/>
                    </a:lnTo>
                    <a:lnTo>
                      <a:pt x="53" y="48"/>
                    </a:lnTo>
                    <a:lnTo>
                      <a:pt x="53" y="37"/>
                    </a:lnTo>
                    <a:lnTo>
                      <a:pt x="53" y="29"/>
                    </a:lnTo>
                    <a:lnTo>
                      <a:pt x="53" y="20"/>
                    </a:lnTo>
                    <a:lnTo>
                      <a:pt x="53" y="5"/>
                    </a:lnTo>
                    <a:close/>
                  </a:path>
                </a:pathLst>
              </a:custGeom>
              <a:grpFill/>
              <a:ln w="9525">
                <a:solidFill>
                  <a:schemeClr val="accent1">
                    <a:lumMod val="20000"/>
                    <a:lumOff val="8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395" b="0" i="0" u="none" strike="noStrike" kern="1200" cap="none" spc="0" normalizeH="0" baseline="0" noProof="0">
                  <a:ln>
                    <a:noFill/>
                  </a:ln>
                  <a:solidFill>
                    <a:srgbClr val="1F4E79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38" name="Freeform 85"/>
              <p:cNvSpPr>
                <a:spLocks/>
              </p:cNvSpPr>
              <p:nvPr/>
            </p:nvSpPr>
            <p:spPr bwMode="auto">
              <a:xfrm>
                <a:off x="10374097" y="5059815"/>
                <a:ext cx="849797" cy="923863"/>
              </a:xfrm>
              <a:custGeom>
                <a:avLst/>
                <a:gdLst>
                  <a:gd name="T0" fmla="*/ 215 w 1430"/>
                  <a:gd name="T1" fmla="*/ 441 h 1553"/>
                  <a:gd name="T2" fmla="*/ 184 w 1430"/>
                  <a:gd name="T3" fmla="*/ 383 h 1553"/>
                  <a:gd name="T4" fmla="*/ 162 w 1430"/>
                  <a:gd name="T5" fmla="*/ 333 h 1553"/>
                  <a:gd name="T6" fmla="*/ 108 w 1430"/>
                  <a:gd name="T7" fmla="*/ 261 h 1553"/>
                  <a:gd name="T8" fmla="*/ 38 w 1430"/>
                  <a:gd name="T9" fmla="*/ 193 h 1553"/>
                  <a:gd name="T10" fmla="*/ 2 w 1430"/>
                  <a:gd name="T11" fmla="*/ 153 h 1553"/>
                  <a:gd name="T12" fmla="*/ 4 w 1430"/>
                  <a:gd name="T13" fmla="*/ 141 h 1553"/>
                  <a:gd name="T14" fmla="*/ 44 w 1430"/>
                  <a:gd name="T15" fmla="*/ 138 h 1553"/>
                  <a:gd name="T16" fmla="*/ 79 w 1430"/>
                  <a:gd name="T17" fmla="*/ 132 h 1553"/>
                  <a:gd name="T18" fmla="*/ 90 w 1430"/>
                  <a:gd name="T19" fmla="*/ 118 h 1553"/>
                  <a:gd name="T20" fmla="*/ 80 w 1430"/>
                  <a:gd name="T21" fmla="*/ 74 h 1553"/>
                  <a:gd name="T22" fmla="*/ 63 w 1430"/>
                  <a:gd name="T23" fmla="*/ 12 h 1553"/>
                  <a:gd name="T24" fmla="*/ 166 w 1430"/>
                  <a:gd name="T25" fmla="*/ 48 h 1553"/>
                  <a:gd name="T26" fmla="*/ 258 w 1430"/>
                  <a:gd name="T27" fmla="*/ 116 h 1553"/>
                  <a:gd name="T28" fmla="*/ 391 w 1430"/>
                  <a:gd name="T29" fmla="*/ 275 h 1553"/>
                  <a:gd name="T30" fmla="*/ 512 w 1430"/>
                  <a:gd name="T31" fmla="*/ 398 h 1553"/>
                  <a:gd name="T32" fmla="*/ 620 w 1430"/>
                  <a:gd name="T33" fmla="*/ 473 h 1553"/>
                  <a:gd name="T34" fmla="*/ 740 w 1430"/>
                  <a:gd name="T35" fmla="*/ 538 h 1553"/>
                  <a:gd name="T36" fmla="*/ 913 w 1430"/>
                  <a:gd name="T37" fmla="*/ 615 h 1553"/>
                  <a:gd name="T38" fmla="*/ 980 w 1430"/>
                  <a:gd name="T39" fmla="*/ 657 h 1553"/>
                  <a:gd name="T40" fmla="*/ 1077 w 1430"/>
                  <a:gd name="T41" fmla="*/ 723 h 1553"/>
                  <a:gd name="T42" fmla="*/ 1137 w 1430"/>
                  <a:gd name="T43" fmla="*/ 760 h 1553"/>
                  <a:gd name="T44" fmla="*/ 1085 w 1430"/>
                  <a:gd name="T45" fmla="*/ 762 h 1553"/>
                  <a:gd name="T46" fmla="*/ 961 w 1430"/>
                  <a:gd name="T47" fmla="*/ 723 h 1553"/>
                  <a:gd name="T48" fmla="*/ 905 w 1430"/>
                  <a:gd name="T49" fmla="*/ 717 h 1553"/>
                  <a:gd name="T50" fmla="*/ 883 w 1430"/>
                  <a:gd name="T51" fmla="*/ 730 h 1553"/>
                  <a:gd name="T52" fmla="*/ 865 w 1430"/>
                  <a:gd name="T53" fmla="*/ 884 h 1553"/>
                  <a:gd name="T54" fmla="*/ 899 w 1430"/>
                  <a:gd name="T55" fmla="*/ 930 h 1553"/>
                  <a:gd name="T56" fmla="*/ 937 w 1430"/>
                  <a:gd name="T57" fmla="*/ 1030 h 1553"/>
                  <a:gd name="T58" fmla="*/ 968 w 1430"/>
                  <a:gd name="T59" fmla="*/ 1071 h 1553"/>
                  <a:gd name="T60" fmla="*/ 1012 w 1430"/>
                  <a:gd name="T61" fmla="*/ 1134 h 1553"/>
                  <a:gd name="T62" fmla="*/ 1071 w 1430"/>
                  <a:gd name="T63" fmla="*/ 1172 h 1553"/>
                  <a:gd name="T64" fmla="*/ 1138 w 1430"/>
                  <a:gd name="T65" fmla="*/ 1195 h 1553"/>
                  <a:gd name="T66" fmla="*/ 1281 w 1430"/>
                  <a:gd name="T67" fmla="*/ 1223 h 1553"/>
                  <a:gd name="T68" fmla="*/ 1344 w 1430"/>
                  <a:gd name="T69" fmla="*/ 1244 h 1553"/>
                  <a:gd name="T70" fmla="*/ 1396 w 1430"/>
                  <a:gd name="T71" fmla="*/ 1282 h 1553"/>
                  <a:gd name="T72" fmla="*/ 1430 w 1430"/>
                  <a:gd name="T73" fmla="*/ 1343 h 1553"/>
                  <a:gd name="T74" fmla="*/ 1358 w 1430"/>
                  <a:gd name="T75" fmla="*/ 1311 h 1553"/>
                  <a:gd name="T76" fmla="*/ 1305 w 1430"/>
                  <a:gd name="T77" fmla="*/ 1294 h 1553"/>
                  <a:gd name="T78" fmla="*/ 1252 w 1430"/>
                  <a:gd name="T79" fmla="*/ 1310 h 1553"/>
                  <a:gd name="T80" fmla="*/ 1208 w 1430"/>
                  <a:gd name="T81" fmla="*/ 1348 h 1553"/>
                  <a:gd name="T82" fmla="*/ 1204 w 1430"/>
                  <a:gd name="T83" fmla="*/ 1363 h 1553"/>
                  <a:gd name="T84" fmla="*/ 1233 w 1430"/>
                  <a:gd name="T85" fmla="*/ 1437 h 1553"/>
                  <a:gd name="T86" fmla="*/ 1274 w 1430"/>
                  <a:gd name="T87" fmla="*/ 1527 h 1553"/>
                  <a:gd name="T88" fmla="*/ 1238 w 1430"/>
                  <a:gd name="T89" fmla="*/ 1528 h 1553"/>
                  <a:gd name="T90" fmla="*/ 1166 w 1430"/>
                  <a:gd name="T91" fmla="*/ 1468 h 1553"/>
                  <a:gd name="T92" fmla="*/ 1081 w 1430"/>
                  <a:gd name="T93" fmla="*/ 1363 h 1553"/>
                  <a:gd name="T94" fmla="*/ 984 w 1430"/>
                  <a:gd name="T95" fmla="*/ 1216 h 1553"/>
                  <a:gd name="T96" fmla="*/ 929 w 1430"/>
                  <a:gd name="T97" fmla="*/ 1150 h 1553"/>
                  <a:gd name="T98" fmla="*/ 863 w 1430"/>
                  <a:gd name="T99" fmla="*/ 1091 h 1553"/>
                  <a:gd name="T100" fmla="*/ 781 w 1430"/>
                  <a:gd name="T101" fmla="*/ 1047 h 1553"/>
                  <a:gd name="T102" fmla="*/ 688 w 1430"/>
                  <a:gd name="T103" fmla="*/ 868 h 1553"/>
                  <a:gd name="T104" fmla="*/ 559 w 1430"/>
                  <a:gd name="T105" fmla="*/ 690 h 1553"/>
                  <a:gd name="T106" fmla="*/ 451 w 1430"/>
                  <a:gd name="T107" fmla="*/ 581 h 1553"/>
                  <a:gd name="T108" fmla="*/ 379 w 1430"/>
                  <a:gd name="T109" fmla="*/ 526 h 1553"/>
                  <a:gd name="T110" fmla="*/ 308 w 1430"/>
                  <a:gd name="T111" fmla="*/ 494 h 1553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1430"/>
                  <a:gd name="T169" fmla="*/ 0 h 1553"/>
                  <a:gd name="T170" fmla="*/ 1430 w 1430"/>
                  <a:gd name="T171" fmla="*/ 1553 h 1553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1430" h="1553">
                    <a:moveTo>
                      <a:pt x="244" y="487"/>
                    </a:moveTo>
                    <a:lnTo>
                      <a:pt x="232" y="470"/>
                    </a:lnTo>
                    <a:lnTo>
                      <a:pt x="223" y="455"/>
                    </a:lnTo>
                    <a:lnTo>
                      <a:pt x="215" y="441"/>
                    </a:lnTo>
                    <a:lnTo>
                      <a:pt x="208" y="427"/>
                    </a:lnTo>
                    <a:lnTo>
                      <a:pt x="202" y="414"/>
                    </a:lnTo>
                    <a:lnTo>
                      <a:pt x="194" y="399"/>
                    </a:lnTo>
                    <a:lnTo>
                      <a:pt x="184" y="383"/>
                    </a:lnTo>
                    <a:lnTo>
                      <a:pt x="172" y="367"/>
                    </a:lnTo>
                    <a:lnTo>
                      <a:pt x="170" y="355"/>
                    </a:lnTo>
                    <a:lnTo>
                      <a:pt x="166" y="345"/>
                    </a:lnTo>
                    <a:lnTo>
                      <a:pt x="162" y="333"/>
                    </a:lnTo>
                    <a:lnTo>
                      <a:pt x="155" y="322"/>
                    </a:lnTo>
                    <a:lnTo>
                      <a:pt x="142" y="301"/>
                    </a:lnTo>
                    <a:lnTo>
                      <a:pt x="126" y="281"/>
                    </a:lnTo>
                    <a:lnTo>
                      <a:pt x="108" y="261"/>
                    </a:lnTo>
                    <a:lnTo>
                      <a:pt x="91" y="242"/>
                    </a:lnTo>
                    <a:lnTo>
                      <a:pt x="72" y="223"/>
                    </a:lnTo>
                    <a:lnTo>
                      <a:pt x="55" y="207"/>
                    </a:lnTo>
                    <a:lnTo>
                      <a:pt x="38" y="193"/>
                    </a:lnTo>
                    <a:lnTo>
                      <a:pt x="23" y="178"/>
                    </a:lnTo>
                    <a:lnTo>
                      <a:pt x="12" y="167"/>
                    </a:lnTo>
                    <a:lnTo>
                      <a:pt x="4" y="157"/>
                    </a:lnTo>
                    <a:lnTo>
                      <a:pt x="2" y="153"/>
                    </a:lnTo>
                    <a:lnTo>
                      <a:pt x="0" y="149"/>
                    </a:lnTo>
                    <a:lnTo>
                      <a:pt x="0" y="146"/>
                    </a:lnTo>
                    <a:lnTo>
                      <a:pt x="2" y="144"/>
                    </a:lnTo>
                    <a:lnTo>
                      <a:pt x="4" y="141"/>
                    </a:lnTo>
                    <a:lnTo>
                      <a:pt x="8" y="140"/>
                    </a:lnTo>
                    <a:lnTo>
                      <a:pt x="15" y="138"/>
                    </a:lnTo>
                    <a:lnTo>
                      <a:pt x="22" y="138"/>
                    </a:lnTo>
                    <a:lnTo>
                      <a:pt x="44" y="138"/>
                    </a:lnTo>
                    <a:lnTo>
                      <a:pt x="62" y="137"/>
                    </a:lnTo>
                    <a:lnTo>
                      <a:pt x="68" y="136"/>
                    </a:lnTo>
                    <a:lnTo>
                      <a:pt x="74" y="133"/>
                    </a:lnTo>
                    <a:lnTo>
                      <a:pt x="79" y="132"/>
                    </a:lnTo>
                    <a:lnTo>
                      <a:pt x="83" y="129"/>
                    </a:lnTo>
                    <a:lnTo>
                      <a:pt x="86" y="125"/>
                    </a:lnTo>
                    <a:lnTo>
                      <a:pt x="88" y="122"/>
                    </a:lnTo>
                    <a:lnTo>
                      <a:pt x="90" y="118"/>
                    </a:lnTo>
                    <a:lnTo>
                      <a:pt x="91" y="114"/>
                    </a:lnTo>
                    <a:lnTo>
                      <a:pt x="90" y="106"/>
                    </a:lnTo>
                    <a:lnTo>
                      <a:pt x="88" y="96"/>
                    </a:lnTo>
                    <a:lnTo>
                      <a:pt x="80" y="74"/>
                    </a:lnTo>
                    <a:lnTo>
                      <a:pt x="71" y="50"/>
                    </a:lnTo>
                    <a:lnTo>
                      <a:pt x="67" y="37"/>
                    </a:lnTo>
                    <a:lnTo>
                      <a:pt x="64" y="25"/>
                    </a:lnTo>
                    <a:lnTo>
                      <a:pt x="63" y="12"/>
                    </a:lnTo>
                    <a:lnTo>
                      <a:pt x="64" y="0"/>
                    </a:lnTo>
                    <a:lnTo>
                      <a:pt x="103" y="16"/>
                    </a:lnTo>
                    <a:lnTo>
                      <a:pt x="136" y="32"/>
                    </a:lnTo>
                    <a:lnTo>
                      <a:pt x="166" y="48"/>
                    </a:lnTo>
                    <a:lnTo>
                      <a:pt x="192" y="64"/>
                    </a:lnTo>
                    <a:lnTo>
                      <a:pt x="216" y="80"/>
                    </a:lnTo>
                    <a:lnTo>
                      <a:pt x="238" y="97"/>
                    </a:lnTo>
                    <a:lnTo>
                      <a:pt x="258" y="116"/>
                    </a:lnTo>
                    <a:lnTo>
                      <a:pt x="276" y="134"/>
                    </a:lnTo>
                    <a:lnTo>
                      <a:pt x="312" y="175"/>
                    </a:lnTo>
                    <a:lnTo>
                      <a:pt x="348" y="222"/>
                    </a:lnTo>
                    <a:lnTo>
                      <a:pt x="391" y="275"/>
                    </a:lnTo>
                    <a:lnTo>
                      <a:pt x="444" y="337"/>
                    </a:lnTo>
                    <a:lnTo>
                      <a:pt x="464" y="358"/>
                    </a:lnTo>
                    <a:lnTo>
                      <a:pt x="487" y="378"/>
                    </a:lnTo>
                    <a:lnTo>
                      <a:pt x="512" y="398"/>
                    </a:lnTo>
                    <a:lnTo>
                      <a:pt x="537" y="418"/>
                    </a:lnTo>
                    <a:lnTo>
                      <a:pt x="564" y="437"/>
                    </a:lnTo>
                    <a:lnTo>
                      <a:pt x="591" y="455"/>
                    </a:lnTo>
                    <a:lnTo>
                      <a:pt x="620" y="473"/>
                    </a:lnTo>
                    <a:lnTo>
                      <a:pt x="649" y="490"/>
                    </a:lnTo>
                    <a:lnTo>
                      <a:pt x="679" y="507"/>
                    </a:lnTo>
                    <a:lnTo>
                      <a:pt x="709" y="523"/>
                    </a:lnTo>
                    <a:lnTo>
                      <a:pt x="740" y="538"/>
                    </a:lnTo>
                    <a:lnTo>
                      <a:pt x="771" y="554"/>
                    </a:lnTo>
                    <a:lnTo>
                      <a:pt x="833" y="582"/>
                    </a:lnTo>
                    <a:lnTo>
                      <a:pt x="895" y="607"/>
                    </a:lnTo>
                    <a:lnTo>
                      <a:pt x="913" y="615"/>
                    </a:lnTo>
                    <a:lnTo>
                      <a:pt x="929" y="623"/>
                    </a:lnTo>
                    <a:lnTo>
                      <a:pt x="944" y="631"/>
                    </a:lnTo>
                    <a:lnTo>
                      <a:pt x="957" y="639"/>
                    </a:lnTo>
                    <a:lnTo>
                      <a:pt x="980" y="657"/>
                    </a:lnTo>
                    <a:lnTo>
                      <a:pt x="1004" y="674"/>
                    </a:lnTo>
                    <a:lnTo>
                      <a:pt x="1029" y="693"/>
                    </a:lnTo>
                    <a:lnTo>
                      <a:pt x="1060" y="713"/>
                    </a:lnTo>
                    <a:lnTo>
                      <a:pt x="1077" y="723"/>
                    </a:lnTo>
                    <a:lnTo>
                      <a:pt x="1099" y="734"/>
                    </a:lnTo>
                    <a:lnTo>
                      <a:pt x="1121" y="746"/>
                    </a:lnTo>
                    <a:lnTo>
                      <a:pt x="1148" y="758"/>
                    </a:lnTo>
                    <a:lnTo>
                      <a:pt x="1137" y="760"/>
                    </a:lnTo>
                    <a:lnTo>
                      <a:pt x="1128" y="763"/>
                    </a:lnTo>
                    <a:lnTo>
                      <a:pt x="1117" y="764"/>
                    </a:lnTo>
                    <a:lnTo>
                      <a:pt x="1107" y="764"/>
                    </a:lnTo>
                    <a:lnTo>
                      <a:pt x="1085" y="762"/>
                    </a:lnTo>
                    <a:lnTo>
                      <a:pt x="1064" y="758"/>
                    </a:lnTo>
                    <a:lnTo>
                      <a:pt x="1021" y="744"/>
                    </a:lnTo>
                    <a:lnTo>
                      <a:pt x="980" y="730"/>
                    </a:lnTo>
                    <a:lnTo>
                      <a:pt x="961" y="723"/>
                    </a:lnTo>
                    <a:lnTo>
                      <a:pt x="944" y="719"/>
                    </a:lnTo>
                    <a:lnTo>
                      <a:pt x="927" y="715"/>
                    </a:lnTo>
                    <a:lnTo>
                      <a:pt x="912" y="715"/>
                    </a:lnTo>
                    <a:lnTo>
                      <a:pt x="905" y="717"/>
                    </a:lnTo>
                    <a:lnTo>
                      <a:pt x="899" y="718"/>
                    </a:lnTo>
                    <a:lnTo>
                      <a:pt x="892" y="721"/>
                    </a:lnTo>
                    <a:lnTo>
                      <a:pt x="887" y="725"/>
                    </a:lnTo>
                    <a:lnTo>
                      <a:pt x="883" y="730"/>
                    </a:lnTo>
                    <a:lnTo>
                      <a:pt x="877" y="735"/>
                    </a:lnTo>
                    <a:lnTo>
                      <a:pt x="875" y="743"/>
                    </a:lnTo>
                    <a:lnTo>
                      <a:pt x="871" y="752"/>
                    </a:lnTo>
                    <a:lnTo>
                      <a:pt x="865" y="884"/>
                    </a:lnTo>
                    <a:lnTo>
                      <a:pt x="876" y="895"/>
                    </a:lnTo>
                    <a:lnTo>
                      <a:pt x="884" y="906"/>
                    </a:lnTo>
                    <a:lnTo>
                      <a:pt x="892" y="918"/>
                    </a:lnTo>
                    <a:lnTo>
                      <a:pt x="899" y="930"/>
                    </a:lnTo>
                    <a:lnTo>
                      <a:pt x="909" y="955"/>
                    </a:lnTo>
                    <a:lnTo>
                      <a:pt x="919" y="980"/>
                    </a:lnTo>
                    <a:lnTo>
                      <a:pt x="927" y="1006"/>
                    </a:lnTo>
                    <a:lnTo>
                      <a:pt x="937" y="1030"/>
                    </a:lnTo>
                    <a:lnTo>
                      <a:pt x="943" y="1040"/>
                    </a:lnTo>
                    <a:lnTo>
                      <a:pt x="949" y="1051"/>
                    </a:lnTo>
                    <a:lnTo>
                      <a:pt x="959" y="1062"/>
                    </a:lnTo>
                    <a:lnTo>
                      <a:pt x="968" y="1071"/>
                    </a:lnTo>
                    <a:lnTo>
                      <a:pt x="977" y="1090"/>
                    </a:lnTo>
                    <a:lnTo>
                      <a:pt x="988" y="1106"/>
                    </a:lnTo>
                    <a:lnTo>
                      <a:pt x="1000" y="1120"/>
                    </a:lnTo>
                    <a:lnTo>
                      <a:pt x="1012" y="1134"/>
                    </a:lnTo>
                    <a:lnTo>
                      <a:pt x="1025" y="1146"/>
                    </a:lnTo>
                    <a:lnTo>
                      <a:pt x="1040" y="1155"/>
                    </a:lnTo>
                    <a:lnTo>
                      <a:pt x="1056" y="1164"/>
                    </a:lnTo>
                    <a:lnTo>
                      <a:pt x="1071" y="1172"/>
                    </a:lnTo>
                    <a:lnTo>
                      <a:pt x="1088" y="1179"/>
                    </a:lnTo>
                    <a:lnTo>
                      <a:pt x="1104" y="1184"/>
                    </a:lnTo>
                    <a:lnTo>
                      <a:pt x="1121" y="1190"/>
                    </a:lnTo>
                    <a:lnTo>
                      <a:pt x="1138" y="1195"/>
                    </a:lnTo>
                    <a:lnTo>
                      <a:pt x="1174" y="1203"/>
                    </a:lnTo>
                    <a:lnTo>
                      <a:pt x="1210" y="1210"/>
                    </a:lnTo>
                    <a:lnTo>
                      <a:pt x="1246" y="1216"/>
                    </a:lnTo>
                    <a:lnTo>
                      <a:pt x="1281" y="1223"/>
                    </a:lnTo>
                    <a:lnTo>
                      <a:pt x="1297" y="1227"/>
                    </a:lnTo>
                    <a:lnTo>
                      <a:pt x="1313" y="1232"/>
                    </a:lnTo>
                    <a:lnTo>
                      <a:pt x="1329" y="1239"/>
                    </a:lnTo>
                    <a:lnTo>
                      <a:pt x="1344" y="1244"/>
                    </a:lnTo>
                    <a:lnTo>
                      <a:pt x="1358" y="1252"/>
                    </a:lnTo>
                    <a:lnTo>
                      <a:pt x="1372" y="1262"/>
                    </a:lnTo>
                    <a:lnTo>
                      <a:pt x="1385" y="1271"/>
                    </a:lnTo>
                    <a:lnTo>
                      <a:pt x="1396" y="1282"/>
                    </a:lnTo>
                    <a:lnTo>
                      <a:pt x="1406" y="1295"/>
                    </a:lnTo>
                    <a:lnTo>
                      <a:pt x="1416" y="1308"/>
                    </a:lnTo>
                    <a:lnTo>
                      <a:pt x="1424" y="1324"/>
                    </a:lnTo>
                    <a:lnTo>
                      <a:pt x="1430" y="1343"/>
                    </a:lnTo>
                    <a:lnTo>
                      <a:pt x="1408" y="1335"/>
                    </a:lnTo>
                    <a:lnTo>
                      <a:pt x="1389" y="1327"/>
                    </a:lnTo>
                    <a:lnTo>
                      <a:pt x="1373" y="1319"/>
                    </a:lnTo>
                    <a:lnTo>
                      <a:pt x="1358" y="1311"/>
                    </a:lnTo>
                    <a:lnTo>
                      <a:pt x="1345" y="1304"/>
                    </a:lnTo>
                    <a:lnTo>
                      <a:pt x="1333" y="1299"/>
                    </a:lnTo>
                    <a:lnTo>
                      <a:pt x="1320" y="1295"/>
                    </a:lnTo>
                    <a:lnTo>
                      <a:pt x="1305" y="1294"/>
                    </a:lnTo>
                    <a:lnTo>
                      <a:pt x="1289" y="1295"/>
                    </a:lnTo>
                    <a:lnTo>
                      <a:pt x="1276" y="1299"/>
                    </a:lnTo>
                    <a:lnTo>
                      <a:pt x="1264" y="1303"/>
                    </a:lnTo>
                    <a:lnTo>
                      <a:pt x="1252" y="1310"/>
                    </a:lnTo>
                    <a:lnTo>
                      <a:pt x="1241" y="1317"/>
                    </a:lnTo>
                    <a:lnTo>
                      <a:pt x="1230" y="1327"/>
                    </a:lnTo>
                    <a:lnTo>
                      <a:pt x="1220" y="1337"/>
                    </a:lnTo>
                    <a:lnTo>
                      <a:pt x="1208" y="1348"/>
                    </a:lnTo>
                    <a:lnTo>
                      <a:pt x="1206" y="1351"/>
                    </a:lnTo>
                    <a:lnTo>
                      <a:pt x="1205" y="1355"/>
                    </a:lnTo>
                    <a:lnTo>
                      <a:pt x="1204" y="1359"/>
                    </a:lnTo>
                    <a:lnTo>
                      <a:pt x="1204" y="1363"/>
                    </a:lnTo>
                    <a:lnTo>
                      <a:pt x="1205" y="1372"/>
                    </a:lnTo>
                    <a:lnTo>
                      <a:pt x="1209" y="1384"/>
                    </a:lnTo>
                    <a:lnTo>
                      <a:pt x="1218" y="1408"/>
                    </a:lnTo>
                    <a:lnTo>
                      <a:pt x="1233" y="1437"/>
                    </a:lnTo>
                    <a:lnTo>
                      <a:pt x="1249" y="1467"/>
                    </a:lnTo>
                    <a:lnTo>
                      <a:pt x="1264" y="1497"/>
                    </a:lnTo>
                    <a:lnTo>
                      <a:pt x="1269" y="1512"/>
                    </a:lnTo>
                    <a:lnTo>
                      <a:pt x="1274" y="1527"/>
                    </a:lnTo>
                    <a:lnTo>
                      <a:pt x="1278" y="1540"/>
                    </a:lnTo>
                    <a:lnTo>
                      <a:pt x="1281" y="1553"/>
                    </a:lnTo>
                    <a:lnTo>
                      <a:pt x="1258" y="1540"/>
                    </a:lnTo>
                    <a:lnTo>
                      <a:pt x="1238" y="1528"/>
                    </a:lnTo>
                    <a:lnTo>
                      <a:pt x="1218" y="1513"/>
                    </a:lnTo>
                    <a:lnTo>
                      <a:pt x="1200" y="1499"/>
                    </a:lnTo>
                    <a:lnTo>
                      <a:pt x="1182" y="1484"/>
                    </a:lnTo>
                    <a:lnTo>
                      <a:pt x="1166" y="1468"/>
                    </a:lnTo>
                    <a:lnTo>
                      <a:pt x="1150" y="1451"/>
                    </a:lnTo>
                    <a:lnTo>
                      <a:pt x="1136" y="1433"/>
                    </a:lnTo>
                    <a:lnTo>
                      <a:pt x="1108" y="1399"/>
                    </a:lnTo>
                    <a:lnTo>
                      <a:pt x="1081" y="1363"/>
                    </a:lnTo>
                    <a:lnTo>
                      <a:pt x="1057" y="1325"/>
                    </a:lnTo>
                    <a:lnTo>
                      <a:pt x="1033" y="1288"/>
                    </a:lnTo>
                    <a:lnTo>
                      <a:pt x="1009" y="1252"/>
                    </a:lnTo>
                    <a:lnTo>
                      <a:pt x="984" y="1216"/>
                    </a:lnTo>
                    <a:lnTo>
                      <a:pt x="971" y="1199"/>
                    </a:lnTo>
                    <a:lnTo>
                      <a:pt x="957" y="1182"/>
                    </a:lnTo>
                    <a:lnTo>
                      <a:pt x="944" y="1166"/>
                    </a:lnTo>
                    <a:lnTo>
                      <a:pt x="929" y="1150"/>
                    </a:lnTo>
                    <a:lnTo>
                      <a:pt x="913" y="1134"/>
                    </a:lnTo>
                    <a:lnTo>
                      <a:pt x="897" y="1119"/>
                    </a:lnTo>
                    <a:lnTo>
                      <a:pt x="881" y="1104"/>
                    </a:lnTo>
                    <a:lnTo>
                      <a:pt x="863" y="1091"/>
                    </a:lnTo>
                    <a:lnTo>
                      <a:pt x="844" y="1079"/>
                    </a:lnTo>
                    <a:lnTo>
                      <a:pt x="824" y="1067"/>
                    </a:lnTo>
                    <a:lnTo>
                      <a:pt x="803" y="1056"/>
                    </a:lnTo>
                    <a:lnTo>
                      <a:pt x="781" y="1047"/>
                    </a:lnTo>
                    <a:lnTo>
                      <a:pt x="763" y="1004"/>
                    </a:lnTo>
                    <a:lnTo>
                      <a:pt x="740" y="960"/>
                    </a:lnTo>
                    <a:lnTo>
                      <a:pt x="716" y="914"/>
                    </a:lnTo>
                    <a:lnTo>
                      <a:pt x="688" y="868"/>
                    </a:lnTo>
                    <a:lnTo>
                      <a:pt x="659" y="822"/>
                    </a:lnTo>
                    <a:lnTo>
                      <a:pt x="627" y="776"/>
                    </a:lnTo>
                    <a:lnTo>
                      <a:pt x="593" y="732"/>
                    </a:lnTo>
                    <a:lnTo>
                      <a:pt x="559" y="690"/>
                    </a:lnTo>
                    <a:lnTo>
                      <a:pt x="524" y="650"/>
                    </a:lnTo>
                    <a:lnTo>
                      <a:pt x="488" y="614"/>
                    </a:lnTo>
                    <a:lnTo>
                      <a:pt x="469" y="597"/>
                    </a:lnTo>
                    <a:lnTo>
                      <a:pt x="451" y="581"/>
                    </a:lnTo>
                    <a:lnTo>
                      <a:pt x="433" y="565"/>
                    </a:lnTo>
                    <a:lnTo>
                      <a:pt x="415" y="551"/>
                    </a:lnTo>
                    <a:lnTo>
                      <a:pt x="396" y="538"/>
                    </a:lnTo>
                    <a:lnTo>
                      <a:pt x="379" y="526"/>
                    </a:lnTo>
                    <a:lnTo>
                      <a:pt x="360" y="517"/>
                    </a:lnTo>
                    <a:lnTo>
                      <a:pt x="343" y="507"/>
                    </a:lnTo>
                    <a:lnTo>
                      <a:pt x="326" y="499"/>
                    </a:lnTo>
                    <a:lnTo>
                      <a:pt x="308" y="494"/>
                    </a:lnTo>
                    <a:lnTo>
                      <a:pt x="291" y="490"/>
                    </a:lnTo>
                    <a:lnTo>
                      <a:pt x="275" y="487"/>
                    </a:lnTo>
                    <a:lnTo>
                      <a:pt x="244" y="487"/>
                    </a:lnTo>
                    <a:close/>
                  </a:path>
                </a:pathLst>
              </a:custGeom>
              <a:grpFill/>
              <a:ln w="9525">
                <a:solidFill>
                  <a:schemeClr val="accent1">
                    <a:lumMod val="20000"/>
                    <a:lumOff val="8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395" b="0" i="0" u="none" strike="noStrike" kern="1200" cap="none" spc="0" normalizeH="0" baseline="0" noProof="0">
                  <a:ln>
                    <a:noFill/>
                  </a:ln>
                  <a:solidFill>
                    <a:srgbClr val="1F4E79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109" name="Freeform 105"/>
            <p:cNvSpPr>
              <a:spLocks/>
            </p:cNvSpPr>
            <p:nvPr/>
          </p:nvSpPr>
          <p:spPr bwMode="auto">
            <a:xfrm>
              <a:off x="4915744" y="2391258"/>
              <a:ext cx="39145" cy="28062"/>
            </a:xfrm>
            <a:custGeom>
              <a:avLst/>
              <a:gdLst>
                <a:gd name="T0" fmla="*/ 158 w 542"/>
                <a:gd name="T1" fmla="*/ 13 h 392"/>
                <a:gd name="T2" fmla="*/ 132 w 542"/>
                <a:gd name="T3" fmla="*/ 1 h 392"/>
                <a:gd name="T4" fmla="*/ 98 w 542"/>
                <a:gd name="T5" fmla="*/ 1 h 392"/>
                <a:gd name="T6" fmla="*/ 66 w 542"/>
                <a:gd name="T7" fmla="*/ 11 h 392"/>
                <a:gd name="T8" fmla="*/ 38 w 542"/>
                <a:gd name="T9" fmla="*/ 27 h 392"/>
                <a:gd name="T10" fmla="*/ 16 w 542"/>
                <a:gd name="T11" fmla="*/ 49 h 392"/>
                <a:gd name="T12" fmla="*/ 2 w 542"/>
                <a:gd name="T13" fmla="*/ 79 h 392"/>
                <a:gd name="T14" fmla="*/ 4 w 542"/>
                <a:gd name="T15" fmla="*/ 116 h 392"/>
                <a:gd name="T16" fmla="*/ 24 w 542"/>
                <a:gd name="T17" fmla="*/ 181 h 392"/>
                <a:gd name="T18" fmla="*/ 124 w 542"/>
                <a:gd name="T19" fmla="*/ 188 h 392"/>
                <a:gd name="T20" fmla="*/ 154 w 542"/>
                <a:gd name="T21" fmla="*/ 201 h 392"/>
                <a:gd name="T22" fmla="*/ 166 w 542"/>
                <a:gd name="T23" fmla="*/ 217 h 392"/>
                <a:gd name="T24" fmla="*/ 173 w 542"/>
                <a:gd name="T25" fmla="*/ 237 h 392"/>
                <a:gd name="T26" fmla="*/ 176 w 542"/>
                <a:gd name="T27" fmla="*/ 267 h 392"/>
                <a:gd name="T28" fmla="*/ 181 w 542"/>
                <a:gd name="T29" fmla="*/ 280 h 392"/>
                <a:gd name="T30" fmla="*/ 197 w 542"/>
                <a:gd name="T31" fmla="*/ 288 h 392"/>
                <a:gd name="T32" fmla="*/ 208 w 542"/>
                <a:gd name="T33" fmla="*/ 335 h 392"/>
                <a:gd name="T34" fmla="*/ 217 w 542"/>
                <a:gd name="T35" fmla="*/ 360 h 392"/>
                <a:gd name="T36" fmla="*/ 244 w 542"/>
                <a:gd name="T37" fmla="*/ 376 h 392"/>
                <a:gd name="T38" fmla="*/ 282 w 542"/>
                <a:gd name="T39" fmla="*/ 379 h 392"/>
                <a:gd name="T40" fmla="*/ 298 w 542"/>
                <a:gd name="T41" fmla="*/ 373 h 392"/>
                <a:gd name="T42" fmla="*/ 325 w 542"/>
                <a:gd name="T43" fmla="*/ 355 h 392"/>
                <a:gd name="T44" fmla="*/ 345 w 542"/>
                <a:gd name="T45" fmla="*/ 345 h 392"/>
                <a:gd name="T46" fmla="*/ 364 w 542"/>
                <a:gd name="T47" fmla="*/ 344 h 392"/>
                <a:gd name="T48" fmla="*/ 388 w 542"/>
                <a:gd name="T49" fmla="*/ 356 h 392"/>
                <a:gd name="T50" fmla="*/ 409 w 542"/>
                <a:gd name="T51" fmla="*/ 367 h 392"/>
                <a:gd name="T52" fmla="*/ 452 w 542"/>
                <a:gd name="T53" fmla="*/ 349 h 392"/>
                <a:gd name="T54" fmla="*/ 465 w 542"/>
                <a:gd name="T55" fmla="*/ 357 h 392"/>
                <a:gd name="T56" fmla="*/ 488 w 542"/>
                <a:gd name="T57" fmla="*/ 380 h 392"/>
                <a:gd name="T58" fmla="*/ 513 w 542"/>
                <a:gd name="T59" fmla="*/ 381 h 392"/>
                <a:gd name="T60" fmla="*/ 527 w 542"/>
                <a:gd name="T61" fmla="*/ 357 h 392"/>
                <a:gd name="T62" fmla="*/ 541 w 542"/>
                <a:gd name="T63" fmla="*/ 337 h 392"/>
                <a:gd name="T64" fmla="*/ 538 w 542"/>
                <a:gd name="T65" fmla="*/ 317 h 392"/>
                <a:gd name="T66" fmla="*/ 526 w 542"/>
                <a:gd name="T67" fmla="*/ 295 h 392"/>
                <a:gd name="T68" fmla="*/ 518 w 542"/>
                <a:gd name="T69" fmla="*/ 277 h 392"/>
                <a:gd name="T70" fmla="*/ 518 w 542"/>
                <a:gd name="T71" fmla="*/ 251 h 392"/>
                <a:gd name="T72" fmla="*/ 505 w 542"/>
                <a:gd name="T73" fmla="*/ 233 h 392"/>
                <a:gd name="T74" fmla="*/ 494 w 542"/>
                <a:gd name="T75" fmla="*/ 224 h 392"/>
                <a:gd name="T76" fmla="*/ 492 w 542"/>
                <a:gd name="T77" fmla="*/ 209 h 392"/>
                <a:gd name="T78" fmla="*/ 489 w 542"/>
                <a:gd name="T79" fmla="*/ 185 h 392"/>
                <a:gd name="T80" fmla="*/ 482 w 542"/>
                <a:gd name="T81" fmla="*/ 175 h 392"/>
                <a:gd name="T82" fmla="*/ 452 w 542"/>
                <a:gd name="T83" fmla="*/ 173 h 392"/>
                <a:gd name="T84" fmla="*/ 440 w 542"/>
                <a:gd name="T85" fmla="*/ 161 h 392"/>
                <a:gd name="T86" fmla="*/ 428 w 542"/>
                <a:gd name="T87" fmla="*/ 144 h 392"/>
                <a:gd name="T88" fmla="*/ 412 w 542"/>
                <a:gd name="T89" fmla="*/ 132 h 392"/>
                <a:gd name="T90" fmla="*/ 388 w 542"/>
                <a:gd name="T91" fmla="*/ 125 h 392"/>
                <a:gd name="T92" fmla="*/ 345 w 542"/>
                <a:gd name="T93" fmla="*/ 123 h 392"/>
                <a:gd name="T94" fmla="*/ 301 w 542"/>
                <a:gd name="T95" fmla="*/ 112 h 392"/>
                <a:gd name="T96" fmla="*/ 277 w 542"/>
                <a:gd name="T97" fmla="*/ 97 h 392"/>
                <a:gd name="T98" fmla="*/ 249 w 542"/>
                <a:gd name="T99" fmla="*/ 79 h 392"/>
                <a:gd name="T100" fmla="*/ 224 w 542"/>
                <a:gd name="T101" fmla="*/ 68 h 392"/>
                <a:gd name="T102" fmla="*/ 202 w 542"/>
                <a:gd name="T103" fmla="*/ 49 h 392"/>
                <a:gd name="T104" fmla="*/ 193 w 542"/>
                <a:gd name="T105" fmla="*/ 31 h 39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542"/>
                <a:gd name="T160" fmla="*/ 0 h 392"/>
                <a:gd name="T161" fmla="*/ 542 w 542"/>
                <a:gd name="T162" fmla="*/ 392 h 392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542" h="392">
                  <a:moveTo>
                    <a:pt x="193" y="36"/>
                  </a:moveTo>
                  <a:lnTo>
                    <a:pt x="176" y="25"/>
                  </a:lnTo>
                  <a:lnTo>
                    <a:pt x="158" y="13"/>
                  </a:lnTo>
                  <a:lnTo>
                    <a:pt x="150" y="8"/>
                  </a:lnTo>
                  <a:lnTo>
                    <a:pt x="141" y="4"/>
                  </a:lnTo>
                  <a:lnTo>
                    <a:pt x="132" y="1"/>
                  </a:lnTo>
                  <a:lnTo>
                    <a:pt x="121" y="0"/>
                  </a:lnTo>
                  <a:lnTo>
                    <a:pt x="109" y="0"/>
                  </a:lnTo>
                  <a:lnTo>
                    <a:pt x="98" y="1"/>
                  </a:lnTo>
                  <a:lnTo>
                    <a:pt x="88" y="4"/>
                  </a:lnTo>
                  <a:lnTo>
                    <a:pt x="76" y="7"/>
                  </a:lnTo>
                  <a:lnTo>
                    <a:pt x="66" y="11"/>
                  </a:lnTo>
                  <a:lnTo>
                    <a:pt x="56" y="15"/>
                  </a:lnTo>
                  <a:lnTo>
                    <a:pt x="46" y="20"/>
                  </a:lnTo>
                  <a:lnTo>
                    <a:pt x="38" y="27"/>
                  </a:lnTo>
                  <a:lnTo>
                    <a:pt x="29" y="33"/>
                  </a:lnTo>
                  <a:lnTo>
                    <a:pt x="22" y="41"/>
                  </a:lnTo>
                  <a:lnTo>
                    <a:pt x="16" y="49"/>
                  </a:lnTo>
                  <a:lnTo>
                    <a:pt x="10" y="59"/>
                  </a:lnTo>
                  <a:lnTo>
                    <a:pt x="6" y="68"/>
                  </a:lnTo>
                  <a:lnTo>
                    <a:pt x="2" y="79"/>
                  </a:lnTo>
                  <a:lnTo>
                    <a:pt x="1" y="91"/>
                  </a:lnTo>
                  <a:lnTo>
                    <a:pt x="0" y="103"/>
                  </a:lnTo>
                  <a:lnTo>
                    <a:pt x="4" y="116"/>
                  </a:lnTo>
                  <a:lnTo>
                    <a:pt x="12" y="141"/>
                  </a:lnTo>
                  <a:lnTo>
                    <a:pt x="21" y="167"/>
                  </a:lnTo>
                  <a:lnTo>
                    <a:pt x="24" y="181"/>
                  </a:lnTo>
                  <a:lnTo>
                    <a:pt x="60" y="181"/>
                  </a:lnTo>
                  <a:lnTo>
                    <a:pt x="102" y="184"/>
                  </a:lnTo>
                  <a:lnTo>
                    <a:pt x="124" y="188"/>
                  </a:lnTo>
                  <a:lnTo>
                    <a:pt x="141" y="193"/>
                  </a:lnTo>
                  <a:lnTo>
                    <a:pt x="149" y="197"/>
                  </a:lnTo>
                  <a:lnTo>
                    <a:pt x="154" y="201"/>
                  </a:lnTo>
                  <a:lnTo>
                    <a:pt x="160" y="205"/>
                  </a:lnTo>
                  <a:lnTo>
                    <a:pt x="162" y="211"/>
                  </a:lnTo>
                  <a:lnTo>
                    <a:pt x="166" y="217"/>
                  </a:lnTo>
                  <a:lnTo>
                    <a:pt x="169" y="224"/>
                  </a:lnTo>
                  <a:lnTo>
                    <a:pt x="172" y="231"/>
                  </a:lnTo>
                  <a:lnTo>
                    <a:pt x="173" y="237"/>
                  </a:lnTo>
                  <a:lnTo>
                    <a:pt x="174" y="249"/>
                  </a:lnTo>
                  <a:lnTo>
                    <a:pt x="174" y="261"/>
                  </a:lnTo>
                  <a:lnTo>
                    <a:pt x="176" y="267"/>
                  </a:lnTo>
                  <a:lnTo>
                    <a:pt x="177" y="271"/>
                  </a:lnTo>
                  <a:lnTo>
                    <a:pt x="178" y="276"/>
                  </a:lnTo>
                  <a:lnTo>
                    <a:pt x="181" y="280"/>
                  </a:lnTo>
                  <a:lnTo>
                    <a:pt x="185" y="283"/>
                  </a:lnTo>
                  <a:lnTo>
                    <a:pt x="190" y="285"/>
                  </a:lnTo>
                  <a:lnTo>
                    <a:pt x="197" y="288"/>
                  </a:lnTo>
                  <a:lnTo>
                    <a:pt x="205" y="289"/>
                  </a:lnTo>
                  <a:lnTo>
                    <a:pt x="205" y="315"/>
                  </a:lnTo>
                  <a:lnTo>
                    <a:pt x="208" y="335"/>
                  </a:lnTo>
                  <a:lnTo>
                    <a:pt x="209" y="344"/>
                  </a:lnTo>
                  <a:lnTo>
                    <a:pt x="213" y="353"/>
                  </a:lnTo>
                  <a:lnTo>
                    <a:pt x="217" y="360"/>
                  </a:lnTo>
                  <a:lnTo>
                    <a:pt x="222" y="368"/>
                  </a:lnTo>
                  <a:lnTo>
                    <a:pt x="232" y="372"/>
                  </a:lnTo>
                  <a:lnTo>
                    <a:pt x="244" y="376"/>
                  </a:lnTo>
                  <a:lnTo>
                    <a:pt x="258" y="379"/>
                  </a:lnTo>
                  <a:lnTo>
                    <a:pt x="277" y="380"/>
                  </a:lnTo>
                  <a:lnTo>
                    <a:pt x="282" y="379"/>
                  </a:lnTo>
                  <a:lnTo>
                    <a:pt x="288" y="379"/>
                  </a:lnTo>
                  <a:lnTo>
                    <a:pt x="293" y="376"/>
                  </a:lnTo>
                  <a:lnTo>
                    <a:pt x="298" y="373"/>
                  </a:lnTo>
                  <a:lnTo>
                    <a:pt x="308" y="368"/>
                  </a:lnTo>
                  <a:lnTo>
                    <a:pt x="316" y="361"/>
                  </a:lnTo>
                  <a:lnTo>
                    <a:pt x="325" y="355"/>
                  </a:lnTo>
                  <a:lnTo>
                    <a:pt x="334" y="349"/>
                  </a:lnTo>
                  <a:lnTo>
                    <a:pt x="340" y="347"/>
                  </a:lnTo>
                  <a:lnTo>
                    <a:pt x="345" y="345"/>
                  </a:lnTo>
                  <a:lnTo>
                    <a:pt x="350" y="344"/>
                  </a:lnTo>
                  <a:lnTo>
                    <a:pt x="356" y="344"/>
                  </a:lnTo>
                  <a:lnTo>
                    <a:pt x="364" y="344"/>
                  </a:lnTo>
                  <a:lnTo>
                    <a:pt x="373" y="347"/>
                  </a:lnTo>
                  <a:lnTo>
                    <a:pt x="381" y="351"/>
                  </a:lnTo>
                  <a:lnTo>
                    <a:pt x="388" y="356"/>
                  </a:lnTo>
                  <a:lnTo>
                    <a:pt x="396" y="360"/>
                  </a:lnTo>
                  <a:lnTo>
                    <a:pt x="402" y="364"/>
                  </a:lnTo>
                  <a:lnTo>
                    <a:pt x="409" y="367"/>
                  </a:lnTo>
                  <a:lnTo>
                    <a:pt x="416" y="368"/>
                  </a:lnTo>
                  <a:lnTo>
                    <a:pt x="434" y="359"/>
                  </a:lnTo>
                  <a:lnTo>
                    <a:pt x="452" y="349"/>
                  </a:lnTo>
                  <a:lnTo>
                    <a:pt x="457" y="351"/>
                  </a:lnTo>
                  <a:lnTo>
                    <a:pt x="461" y="353"/>
                  </a:lnTo>
                  <a:lnTo>
                    <a:pt x="465" y="357"/>
                  </a:lnTo>
                  <a:lnTo>
                    <a:pt x="470" y="363"/>
                  </a:lnTo>
                  <a:lnTo>
                    <a:pt x="478" y="372"/>
                  </a:lnTo>
                  <a:lnTo>
                    <a:pt x="488" y="380"/>
                  </a:lnTo>
                  <a:lnTo>
                    <a:pt x="511" y="380"/>
                  </a:lnTo>
                  <a:lnTo>
                    <a:pt x="511" y="392"/>
                  </a:lnTo>
                  <a:lnTo>
                    <a:pt x="513" y="381"/>
                  </a:lnTo>
                  <a:lnTo>
                    <a:pt x="517" y="372"/>
                  </a:lnTo>
                  <a:lnTo>
                    <a:pt x="521" y="364"/>
                  </a:lnTo>
                  <a:lnTo>
                    <a:pt x="527" y="357"/>
                  </a:lnTo>
                  <a:lnTo>
                    <a:pt x="533" y="351"/>
                  </a:lnTo>
                  <a:lnTo>
                    <a:pt x="537" y="344"/>
                  </a:lnTo>
                  <a:lnTo>
                    <a:pt x="541" y="337"/>
                  </a:lnTo>
                  <a:lnTo>
                    <a:pt x="542" y="332"/>
                  </a:lnTo>
                  <a:lnTo>
                    <a:pt x="541" y="324"/>
                  </a:lnTo>
                  <a:lnTo>
                    <a:pt x="538" y="317"/>
                  </a:lnTo>
                  <a:lnTo>
                    <a:pt x="534" y="309"/>
                  </a:lnTo>
                  <a:lnTo>
                    <a:pt x="530" y="303"/>
                  </a:lnTo>
                  <a:lnTo>
                    <a:pt x="526" y="295"/>
                  </a:lnTo>
                  <a:lnTo>
                    <a:pt x="522" y="288"/>
                  </a:lnTo>
                  <a:lnTo>
                    <a:pt x="519" y="283"/>
                  </a:lnTo>
                  <a:lnTo>
                    <a:pt x="518" y="277"/>
                  </a:lnTo>
                  <a:lnTo>
                    <a:pt x="518" y="269"/>
                  </a:lnTo>
                  <a:lnTo>
                    <a:pt x="518" y="260"/>
                  </a:lnTo>
                  <a:lnTo>
                    <a:pt x="518" y="251"/>
                  </a:lnTo>
                  <a:lnTo>
                    <a:pt x="518" y="235"/>
                  </a:lnTo>
                  <a:lnTo>
                    <a:pt x="510" y="235"/>
                  </a:lnTo>
                  <a:lnTo>
                    <a:pt x="505" y="233"/>
                  </a:lnTo>
                  <a:lnTo>
                    <a:pt x="501" y="231"/>
                  </a:lnTo>
                  <a:lnTo>
                    <a:pt x="497" y="227"/>
                  </a:lnTo>
                  <a:lnTo>
                    <a:pt x="494" y="224"/>
                  </a:lnTo>
                  <a:lnTo>
                    <a:pt x="493" y="219"/>
                  </a:lnTo>
                  <a:lnTo>
                    <a:pt x="492" y="215"/>
                  </a:lnTo>
                  <a:lnTo>
                    <a:pt x="492" y="209"/>
                  </a:lnTo>
                  <a:lnTo>
                    <a:pt x="490" y="199"/>
                  </a:lnTo>
                  <a:lnTo>
                    <a:pt x="489" y="189"/>
                  </a:lnTo>
                  <a:lnTo>
                    <a:pt x="489" y="185"/>
                  </a:lnTo>
                  <a:lnTo>
                    <a:pt x="486" y="181"/>
                  </a:lnTo>
                  <a:lnTo>
                    <a:pt x="485" y="177"/>
                  </a:lnTo>
                  <a:lnTo>
                    <a:pt x="482" y="175"/>
                  </a:lnTo>
                  <a:lnTo>
                    <a:pt x="470" y="175"/>
                  </a:lnTo>
                  <a:lnTo>
                    <a:pt x="458" y="175"/>
                  </a:lnTo>
                  <a:lnTo>
                    <a:pt x="452" y="173"/>
                  </a:lnTo>
                  <a:lnTo>
                    <a:pt x="448" y="171"/>
                  </a:lnTo>
                  <a:lnTo>
                    <a:pt x="444" y="167"/>
                  </a:lnTo>
                  <a:lnTo>
                    <a:pt x="440" y="161"/>
                  </a:lnTo>
                  <a:lnTo>
                    <a:pt x="437" y="156"/>
                  </a:lnTo>
                  <a:lnTo>
                    <a:pt x="433" y="149"/>
                  </a:lnTo>
                  <a:lnTo>
                    <a:pt x="428" y="144"/>
                  </a:lnTo>
                  <a:lnTo>
                    <a:pt x="422" y="139"/>
                  </a:lnTo>
                  <a:lnTo>
                    <a:pt x="417" y="135"/>
                  </a:lnTo>
                  <a:lnTo>
                    <a:pt x="412" y="132"/>
                  </a:lnTo>
                  <a:lnTo>
                    <a:pt x="406" y="129"/>
                  </a:lnTo>
                  <a:lnTo>
                    <a:pt x="401" y="127"/>
                  </a:lnTo>
                  <a:lnTo>
                    <a:pt x="388" y="125"/>
                  </a:lnTo>
                  <a:lnTo>
                    <a:pt x="374" y="124"/>
                  </a:lnTo>
                  <a:lnTo>
                    <a:pt x="360" y="124"/>
                  </a:lnTo>
                  <a:lnTo>
                    <a:pt x="345" y="123"/>
                  </a:lnTo>
                  <a:lnTo>
                    <a:pt x="329" y="120"/>
                  </a:lnTo>
                  <a:lnTo>
                    <a:pt x="313" y="115"/>
                  </a:lnTo>
                  <a:lnTo>
                    <a:pt x="301" y="112"/>
                  </a:lnTo>
                  <a:lnTo>
                    <a:pt x="292" y="108"/>
                  </a:lnTo>
                  <a:lnTo>
                    <a:pt x="284" y="103"/>
                  </a:lnTo>
                  <a:lnTo>
                    <a:pt x="277" y="97"/>
                  </a:lnTo>
                  <a:lnTo>
                    <a:pt x="269" y="92"/>
                  </a:lnTo>
                  <a:lnTo>
                    <a:pt x="260" y="85"/>
                  </a:lnTo>
                  <a:lnTo>
                    <a:pt x="249" y="79"/>
                  </a:lnTo>
                  <a:lnTo>
                    <a:pt x="234" y="72"/>
                  </a:lnTo>
                  <a:lnTo>
                    <a:pt x="230" y="71"/>
                  </a:lnTo>
                  <a:lnTo>
                    <a:pt x="224" y="68"/>
                  </a:lnTo>
                  <a:lnTo>
                    <a:pt x="217" y="63"/>
                  </a:lnTo>
                  <a:lnTo>
                    <a:pt x="209" y="56"/>
                  </a:lnTo>
                  <a:lnTo>
                    <a:pt x="202" y="49"/>
                  </a:lnTo>
                  <a:lnTo>
                    <a:pt x="198" y="41"/>
                  </a:lnTo>
                  <a:lnTo>
                    <a:pt x="194" y="36"/>
                  </a:lnTo>
                  <a:lnTo>
                    <a:pt x="193" y="31"/>
                  </a:lnTo>
                  <a:lnTo>
                    <a:pt x="193" y="36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accent1">
                  <a:lumMod val="20000"/>
                  <a:lumOff val="8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95" b="0" i="0" u="none" strike="noStrike" kern="1200" cap="none" spc="0" normalizeH="0" baseline="0" noProof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0" name="Freeform 113"/>
            <p:cNvSpPr>
              <a:spLocks/>
            </p:cNvSpPr>
            <p:nvPr/>
          </p:nvSpPr>
          <p:spPr bwMode="auto">
            <a:xfrm>
              <a:off x="4765058" y="2572599"/>
              <a:ext cx="32071" cy="26175"/>
            </a:xfrm>
            <a:custGeom>
              <a:avLst/>
              <a:gdLst>
                <a:gd name="T0" fmla="*/ 278 w 443"/>
                <a:gd name="T1" fmla="*/ 24 h 367"/>
                <a:gd name="T2" fmla="*/ 257 w 443"/>
                <a:gd name="T3" fmla="*/ 23 h 367"/>
                <a:gd name="T4" fmla="*/ 249 w 443"/>
                <a:gd name="T5" fmla="*/ 16 h 367"/>
                <a:gd name="T6" fmla="*/ 240 w 443"/>
                <a:gd name="T7" fmla="*/ 7 h 367"/>
                <a:gd name="T8" fmla="*/ 226 w 443"/>
                <a:gd name="T9" fmla="*/ 0 h 367"/>
                <a:gd name="T10" fmla="*/ 205 w 443"/>
                <a:gd name="T11" fmla="*/ 0 h 367"/>
                <a:gd name="T12" fmla="*/ 158 w 443"/>
                <a:gd name="T13" fmla="*/ 8 h 367"/>
                <a:gd name="T14" fmla="*/ 118 w 443"/>
                <a:gd name="T15" fmla="*/ 18 h 367"/>
                <a:gd name="T16" fmla="*/ 93 w 443"/>
                <a:gd name="T17" fmla="*/ 27 h 367"/>
                <a:gd name="T18" fmla="*/ 74 w 443"/>
                <a:gd name="T19" fmla="*/ 39 h 367"/>
                <a:gd name="T20" fmla="*/ 65 w 443"/>
                <a:gd name="T21" fmla="*/ 48 h 367"/>
                <a:gd name="T22" fmla="*/ 62 w 443"/>
                <a:gd name="T23" fmla="*/ 56 h 367"/>
                <a:gd name="T24" fmla="*/ 64 w 443"/>
                <a:gd name="T25" fmla="*/ 74 h 367"/>
                <a:gd name="T26" fmla="*/ 72 w 443"/>
                <a:gd name="T27" fmla="*/ 103 h 367"/>
                <a:gd name="T28" fmla="*/ 74 w 443"/>
                <a:gd name="T29" fmla="*/ 134 h 367"/>
                <a:gd name="T30" fmla="*/ 70 w 443"/>
                <a:gd name="T31" fmla="*/ 155 h 367"/>
                <a:gd name="T32" fmla="*/ 64 w 443"/>
                <a:gd name="T33" fmla="*/ 171 h 367"/>
                <a:gd name="T34" fmla="*/ 52 w 443"/>
                <a:gd name="T35" fmla="*/ 179 h 367"/>
                <a:gd name="T36" fmla="*/ 37 w 443"/>
                <a:gd name="T37" fmla="*/ 180 h 367"/>
                <a:gd name="T38" fmla="*/ 26 w 443"/>
                <a:gd name="T39" fmla="*/ 176 h 367"/>
                <a:gd name="T40" fmla="*/ 13 w 443"/>
                <a:gd name="T41" fmla="*/ 166 h 367"/>
                <a:gd name="T42" fmla="*/ 2 w 443"/>
                <a:gd name="T43" fmla="*/ 168 h 367"/>
                <a:gd name="T44" fmla="*/ 1 w 443"/>
                <a:gd name="T45" fmla="*/ 180 h 367"/>
                <a:gd name="T46" fmla="*/ 2 w 443"/>
                <a:gd name="T47" fmla="*/ 199 h 367"/>
                <a:gd name="T48" fmla="*/ 6 w 443"/>
                <a:gd name="T49" fmla="*/ 210 h 367"/>
                <a:gd name="T50" fmla="*/ 21 w 443"/>
                <a:gd name="T51" fmla="*/ 220 h 367"/>
                <a:gd name="T52" fmla="*/ 46 w 443"/>
                <a:gd name="T53" fmla="*/ 234 h 367"/>
                <a:gd name="T54" fmla="*/ 68 w 443"/>
                <a:gd name="T55" fmla="*/ 246 h 367"/>
                <a:gd name="T56" fmla="*/ 80 w 443"/>
                <a:gd name="T57" fmla="*/ 258 h 367"/>
                <a:gd name="T58" fmla="*/ 92 w 443"/>
                <a:gd name="T59" fmla="*/ 275 h 367"/>
                <a:gd name="T60" fmla="*/ 100 w 443"/>
                <a:gd name="T61" fmla="*/ 300 h 367"/>
                <a:gd name="T62" fmla="*/ 105 w 443"/>
                <a:gd name="T63" fmla="*/ 328 h 367"/>
                <a:gd name="T64" fmla="*/ 114 w 443"/>
                <a:gd name="T65" fmla="*/ 355 h 367"/>
                <a:gd name="T66" fmla="*/ 128 w 443"/>
                <a:gd name="T67" fmla="*/ 367 h 367"/>
                <a:gd name="T68" fmla="*/ 146 w 443"/>
                <a:gd name="T69" fmla="*/ 356 h 367"/>
                <a:gd name="T70" fmla="*/ 166 w 443"/>
                <a:gd name="T71" fmla="*/ 348 h 367"/>
                <a:gd name="T72" fmla="*/ 188 w 443"/>
                <a:gd name="T73" fmla="*/ 344 h 367"/>
                <a:gd name="T74" fmla="*/ 213 w 443"/>
                <a:gd name="T75" fmla="*/ 343 h 367"/>
                <a:gd name="T76" fmla="*/ 226 w 443"/>
                <a:gd name="T77" fmla="*/ 346 h 367"/>
                <a:gd name="T78" fmla="*/ 240 w 443"/>
                <a:gd name="T79" fmla="*/ 352 h 367"/>
                <a:gd name="T80" fmla="*/ 253 w 443"/>
                <a:gd name="T81" fmla="*/ 359 h 367"/>
                <a:gd name="T82" fmla="*/ 266 w 443"/>
                <a:gd name="T83" fmla="*/ 361 h 367"/>
                <a:gd name="T84" fmla="*/ 285 w 443"/>
                <a:gd name="T85" fmla="*/ 359 h 367"/>
                <a:gd name="T86" fmla="*/ 297 w 443"/>
                <a:gd name="T87" fmla="*/ 352 h 367"/>
                <a:gd name="T88" fmla="*/ 306 w 443"/>
                <a:gd name="T89" fmla="*/ 342 h 367"/>
                <a:gd name="T90" fmla="*/ 313 w 443"/>
                <a:gd name="T91" fmla="*/ 327 h 367"/>
                <a:gd name="T92" fmla="*/ 333 w 443"/>
                <a:gd name="T93" fmla="*/ 252 h 367"/>
                <a:gd name="T94" fmla="*/ 361 w 443"/>
                <a:gd name="T95" fmla="*/ 224 h 367"/>
                <a:gd name="T96" fmla="*/ 393 w 443"/>
                <a:gd name="T97" fmla="*/ 192 h 367"/>
                <a:gd name="T98" fmla="*/ 427 w 443"/>
                <a:gd name="T99" fmla="*/ 166 h 367"/>
                <a:gd name="T100" fmla="*/ 442 w 443"/>
                <a:gd name="T101" fmla="*/ 151 h 367"/>
                <a:gd name="T102" fmla="*/ 442 w 443"/>
                <a:gd name="T103" fmla="*/ 146 h 367"/>
                <a:gd name="T104" fmla="*/ 435 w 443"/>
                <a:gd name="T105" fmla="*/ 144 h 367"/>
                <a:gd name="T106" fmla="*/ 386 w 443"/>
                <a:gd name="T107" fmla="*/ 132 h 367"/>
                <a:gd name="T108" fmla="*/ 369 w 443"/>
                <a:gd name="T109" fmla="*/ 124 h 367"/>
                <a:gd name="T110" fmla="*/ 353 w 443"/>
                <a:gd name="T111" fmla="*/ 112 h 367"/>
                <a:gd name="T112" fmla="*/ 339 w 443"/>
                <a:gd name="T113" fmla="*/ 99 h 367"/>
                <a:gd name="T114" fmla="*/ 327 w 443"/>
                <a:gd name="T115" fmla="*/ 82 h 367"/>
                <a:gd name="T116" fmla="*/ 302 w 443"/>
                <a:gd name="T117" fmla="*/ 36 h 367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443"/>
                <a:gd name="T178" fmla="*/ 0 h 367"/>
                <a:gd name="T179" fmla="*/ 443 w 443"/>
                <a:gd name="T180" fmla="*/ 367 h 367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443" h="367">
                  <a:moveTo>
                    <a:pt x="290" y="24"/>
                  </a:moveTo>
                  <a:lnTo>
                    <a:pt x="278" y="24"/>
                  </a:lnTo>
                  <a:lnTo>
                    <a:pt x="261" y="24"/>
                  </a:lnTo>
                  <a:lnTo>
                    <a:pt x="257" y="23"/>
                  </a:lnTo>
                  <a:lnTo>
                    <a:pt x="253" y="20"/>
                  </a:lnTo>
                  <a:lnTo>
                    <a:pt x="249" y="16"/>
                  </a:lnTo>
                  <a:lnTo>
                    <a:pt x="244" y="12"/>
                  </a:lnTo>
                  <a:lnTo>
                    <a:pt x="240" y="7"/>
                  </a:lnTo>
                  <a:lnTo>
                    <a:pt x="233" y="3"/>
                  </a:lnTo>
                  <a:lnTo>
                    <a:pt x="226" y="0"/>
                  </a:lnTo>
                  <a:lnTo>
                    <a:pt x="218" y="0"/>
                  </a:lnTo>
                  <a:lnTo>
                    <a:pt x="205" y="0"/>
                  </a:lnTo>
                  <a:lnTo>
                    <a:pt x="184" y="3"/>
                  </a:lnTo>
                  <a:lnTo>
                    <a:pt x="158" y="8"/>
                  </a:lnTo>
                  <a:lnTo>
                    <a:pt x="132" y="14"/>
                  </a:lnTo>
                  <a:lnTo>
                    <a:pt x="118" y="18"/>
                  </a:lnTo>
                  <a:lnTo>
                    <a:pt x="105" y="23"/>
                  </a:lnTo>
                  <a:lnTo>
                    <a:pt x="93" y="27"/>
                  </a:lnTo>
                  <a:lnTo>
                    <a:pt x="84" y="32"/>
                  </a:lnTo>
                  <a:lnTo>
                    <a:pt x="74" y="39"/>
                  </a:lnTo>
                  <a:lnTo>
                    <a:pt x="68" y="46"/>
                  </a:lnTo>
                  <a:lnTo>
                    <a:pt x="65" y="48"/>
                  </a:lnTo>
                  <a:lnTo>
                    <a:pt x="64" y="52"/>
                  </a:lnTo>
                  <a:lnTo>
                    <a:pt x="62" y="56"/>
                  </a:lnTo>
                  <a:lnTo>
                    <a:pt x="62" y="60"/>
                  </a:lnTo>
                  <a:lnTo>
                    <a:pt x="64" y="74"/>
                  </a:lnTo>
                  <a:lnTo>
                    <a:pt x="68" y="88"/>
                  </a:lnTo>
                  <a:lnTo>
                    <a:pt x="72" y="103"/>
                  </a:lnTo>
                  <a:lnTo>
                    <a:pt x="74" y="120"/>
                  </a:lnTo>
                  <a:lnTo>
                    <a:pt x="74" y="134"/>
                  </a:lnTo>
                  <a:lnTo>
                    <a:pt x="73" y="144"/>
                  </a:lnTo>
                  <a:lnTo>
                    <a:pt x="70" y="155"/>
                  </a:lnTo>
                  <a:lnTo>
                    <a:pt x="68" y="164"/>
                  </a:lnTo>
                  <a:lnTo>
                    <a:pt x="64" y="171"/>
                  </a:lnTo>
                  <a:lnTo>
                    <a:pt x="58" y="176"/>
                  </a:lnTo>
                  <a:lnTo>
                    <a:pt x="52" y="179"/>
                  </a:lnTo>
                  <a:lnTo>
                    <a:pt x="44" y="180"/>
                  </a:lnTo>
                  <a:lnTo>
                    <a:pt x="37" y="180"/>
                  </a:lnTo>
                  <a:lnTo>
                    <a:pt x="32" y="179"/>
                  </a:lnTo>
                  <a:lnTo>
                    <a:pt x="26" y="176"/>
                  </a:lnTo>
                  <a:lnTo>
                    <a:pt x="21" y="174"/>
                  </a:lnTo>
                  <a:lnTo>
                    <a:pt x="13" y="166"/>
                  </a:lnTo>
                  <a:lnTo>
                    <a:pt x="8" y="156"/>
                  </a:lnTo>
                  <a:lnTo>
                    <a:pt x="2" y="168"/>
                  </a:lnTo>
                  <a:lnTo>
                    <a:pt x="0" y="175"/>
                  </a:lnTo>
                  <a:lnTo>
                    <a:pt x="1" y="180"/>
                  </a:lnTo>
                  <a:lnTo>
                    <a:pt x="2" y="192"/>
                  </a:lnTo>
                  <a:lnTo>
                    <a:pt x="2" y="199"/>
                  </a:lnTo>
                  <a:lnTo>
                    <a:pt x="4" y="204"/>
                  </a:lnTo>
                  <a:lnTo>
                    <a:pt x="6" y="210"/>
                  </a:lnTo>
                  <a:lnTo>
                    <a:pt x="10" y="214"/>
                  </a:lnTo>
                  <a:lnTo>
                    <a:pt x="21" y="220"/>
                  </a:lnTo>
                  <a:lnTo>
                    <a:pt x="33" y="227"/>
                  </a:lnTo>
                  <a:lnTo>
                    <a:pt x="46" y="234"/>
                  </a:lnTo>
                  <a:lnTo>
                    <a:pt x="60" y="240"/>
                  </a:lnTo>
                  <a:lnTo>
                    <a:pt x="68" y="246"/>
                  </a:lnTo>
                  <a:lnTo>
                    <a:pt x="74" y="251"/>
                  </a:lnTo>
                  <a:lnTo>
                    <a:pt x="80" y="258"/>
                  </a:lnTo>
                  <a:lnTo>
                    <a:pt x="86" y="264"/>
                  </a:lnTo>
                  <a:lnTo>
                    <a:pt x="92" y="275"/>
                  </a:lnTo>
                  <a:lnTo>
                    <a:pt x="96" y="287"/>
                  </a:lnTo>
                  <a:lnTo>
                    <a:pt x="100" y="300"/>
                  </a:lnTo>
                  <a:lnTo>
                    <a:pt x="102" y="314"/>
                  </a:lnTo>
                  <a:lnTo>
                    <a:pt x="105" y="328"/>
                  </a:lnTo>
                  <a:lnTo>
                    <a:pt x="109" y="342"/>
                  </a:lnTo>
                  <a:lnTo>
                    <a:pt x="114" y="355"/>
                  </a:lnTo>
                  <a:lnTo>
                    <a:pt x="122" y="367"/>
                  </a:lnTo>
                  <a:lnTo>
                    <a:pt x="128" y="367"/>
                  </a:lnTo>
                  <a:lnTo>
                    <a:pt x="137" y="361"/>
                  </a:lnTo>
                  <a:lnTo>
                    <a:pt x="146" y="356"/>
                  </a:lnTo>
                  <a:lnTo>
                    <a:pt x="156" y="352"/>
                  </a:lnTo>
                  <a:lnTo>
                    <a:pt x="166" y="348"/>
                  </a:lnTo>
                  <a:lnTo>
                    <a:pt x="176" y="346"/>
                  </a:lnTo>
                  <a:lnTo>
                    <a:pt x="188" y="344"/>
                  </a:lnTo>
                  <a:lnTo>
                    <a:pt x="200" y="343"/>
                  </a:lnTo>
                  <a:lnTo>
                    <a:pt x="213" y="343"/>
                  </a:lnTo>
                  <a:lnTo>
                    <a:pt x="220" y="344"/>
                  </a:lnTo>
                  <a:lnTo>
                    <a:pt x="226" y="346"/>
                  </a:lnTo>
                  <a:lnTo>
                    <a:pt x="233" y="348"/>
                  </a:lnTo>
                  <a:lnTo>
                    <a:pt x="240" y="352"/>
                  </a:lnTo>
                  <a:lnTo>
                    <a:pt x="246" y="355"/>
                  </a:lnTo>
                  <a:lnTo>
                    <a:pt x="253" y="359"/>
                  </a:lnTo>
                  <a:lnTo>
                    <a:pt x="260" y="360"/>
                  </a:lnTo>
                  <a:lnTo>
                    <a:pt x="266" y="361"/>
                  </a:lnTo>
                  <a:lnTo>
                    <a:pt x="276" y="360"/>
                  </a:lnTo>
                  <a:lnTo>
                    <a:pt x="285" y="359"/>
                  </a:lnTo>
                  <a:lnTo>
                    <a:pt x="292" y="356"/>
                  </a:lnTo>
                  <a:lnTo>
                    <a:pt x="297" y="352"/>
                  </a:lnTo>
                  <a:lnTo>
                    <a:pt x="302" y="347"/>
                  </a:lnTo>
                  <a:lnTo>
                    <a:pt x="306" y="342"/>
                  </a:lnTo>
                  <a:lnTo>
                    <a:pt x="310" y="335"/>
                  </a:lnTo>
                  <a:lnTo>
                    <a:pt x="313" y="327"/>
                  </a:lnTo>
                  <a:lnTo>
                    <a:pt x="322" y="292"/>
                  </a:lnTo>
                  <a:lnTo>
                    <a:pt x="333" y="252"/>
                  </a:lnTo>
                  <a:lnTo>
                    <a:pt x="341" y="244"/>
                  </a:lnTo>
                  <a:lnTo>
                    <a:pt x="361" y="224"/>
                  </a:lnTo>
                  <a:lnTo>
                    <a:pt x="381" y="204"/>
                  </a:lnTo>
                  <a:lnTo>
                    <a:pt x="393" y="192"/>
                  </a:lnTo>
                  <a:lnTo>
                    <a:pt x="406" y="183"/>
                  </a:lnTo>
                  <a:lnTo>
                    <a:pt x="427" y="166"/>
                  </a:lnTo>
                  <a:lnTo>
                    <a:pt x="437" y="158"/>
                  </a:lnTo>
                  <a:lnTo>
                    <a:pt x="442" y="151"/>
                  </a:lnTo>
                  <a:lnTo>
                    <a:pt x="443" y="148"/>
                  </a:lnTo>
                  <a:lnTo>
                    <a:pt x="442" y="146"/>
                  </a:lnTo>
                  <a:lnTo>
                    <a:pt x="439" y="144"/>
                  </a:lnTo>
                  <a:lnTo>
                    <a:pt x="435" y="144"/>
                  </a:lnTo>
                  <a:lnTo>
                    <a:pt x="409" y="139"/>
                  </a:lnTo>
                  <a:lnTo>
                    <a:pt x="386" y="132"/>
                  </a:lnTo>
                  <a:lnTo>
                    <a:pt x="377" y="128"/>
                  </a:lnTo>
                  <a:lnTo>
                    <a:pt x="369" y="124"/>
                  </a:lnTo>
                  <a:lnTo>
                    <a:pt x="361" y="119"/>
                  </a:lnTo>
                  <a:lnTo>
                    <a:pt x="353" y="112"/>
                  </a:lnTo>
                  <a:lnTo>
                    <a:pt x="346" y="106"/>
                  </a:lnTo>
                  <a:lnTo>
                    <a:pt x="339" y="99"/>
                  </a:lnTo>
                  <a:lnTo>
                    <a:pt x="334" y="91"/>
                  </a:lnTo>
                  <a:lnTo>
                    <a:pt x="327" y="82"/>
                  </a:lnTo>
                  <a:lnTo>
                    <a:pt x="315" y="60"/>
                  </a:lnTo>
                  <a:lnTo>
                    <a:pt x="302" y="36"/>
                  </a:lnTo>
                  <a:lnTo>
                    <a:pt x="290" y="24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accent1">
                  <a:lumMod val="20000"/>
                  <a:lumOff val="8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95" b="0" i="0" u="none" strike="noStrike" kern="1200" cap="none" spc="0" normalizeH="0" baseline="0" noProof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1" name="Freeform 116"/>
            <p:cNvSpPr>
              <a:spLocks/>
            </p:cNvSpPr>
            <p:nvPr/>
          </p:nvSpPr>
          <p:spPr bwMode="auto">
            <a:xfrm>
              <a:off x="4753268" y="2568590"/>
              <a:ext cx="24289" cy="16979"/>
            </a:xfrm>
            <a:custGeom>
              <a:avLst/>
              <a:gdLst>
                <a:gd name="T0" fmla="*/ 187 w 337"/>
                <a:gd name="T1" fmla="*/ 222 h 234"/>
                <a:gd name="T2" fmla="*/ 197 w 337"/>
                <a:gd name="T3" fmla="*/ 230 h 234"/>
                <a:gd name="T4" fmla="*/ 207 w 337"/>
                <a:gd name="T5" fmla="*/ 234 h 234"/>
                <a:gd name="T6" fmla="*/ 219 w 337"/>
                <a:gd name="T7" fmla="*/ 233 h 234"/>
                <a:gd name="T8" fmla="*/ 231 w 337"/>
                <a:gd name="T9" fmla="*/ 225 h 234"/>
                <a:gd name="T10" fmla="*/ 237 w 337"/>
                <a:gd name="T11" fmla="*/ 209 h 234"/>
                <a:gd name="T12" fmla="*/ 241 w 337"/>
                <a:gd name="T13" fmla="*/ 188 h 234"/>
                <a:gd name="T14" fmla="*/ 239 w 337"/>
                <a:gd name="T15" fmla="*/ 157 h 234"/>
                <a:gd name="T16" fmla="*/ 231 w 337"/>
                <a:gd name="T17" fmla="*/ 128 h 234"/>
                <a:gd name="T18" fmla="*/ 229 w 337"/>
                <a:gd name="T19" fmla="*/ 109 h 234"/>
                <a:gd name="T20" fmla="*/ 235 w 337"/>
                <a:gd name="T21" fmla="*/ 98 h 234"/>
                <a:gd name="T22" fmla="*/ 251 w 337"/>
                <a:gd name="T23" fmla="*/ 85 h 234"/>
                <a:gd name="T24" fmla="*/ 281 w 337"/>
                <a:gd name="T25" fmla="*/ 72 h 234"/>
                <a:gd name="T26" fmla="*/ 319 w 337"/>
                <a:gd name="T27" fmla="*/ 62 h 234"/>
                <a:gd name="T28" fmla="*/ 332 w 337"/>
                <a:gd name="T29" fmla="*/ 46 h 234"/>
                <a:gd name="T30" fmla="*/ 320 w 337"/>
                <a:gd name="T31" fmla="*/ 25 h 234"/>
                <a:gd name="T32" fmla="*/ 305 w 337"/>
                <a:gd name="T33" fmla="*/ 9 h 234"/>
                <a:gd name="T34" fmla="*/ 284 w 337"/>
                <a:gd name="T35" fmla="*/ 1 h 234"/>
                <a:gd name="T36" fmla="*/ 265 w 337"/>
                <a:gd name="T37" fmla="*/ 1 h 234"/>
                <a:gd name="T38" fmla="*/ 257 w 337"/>
                <a:gd name="T39" fmla="*/ 6 h 234"/>
                <a:gd name="T40" fmla="*/ 248 w 337"/>
                <a:gd name="T41" fmla="*/ 21 h 234"/>
                <a:gd name="T42" fmla="*/ 236 w 337"/>
                <a:gd name="T43" fmla="*/ 45 h 234"/>
                <a:gd name="T44" fmla="*/ 224 w 337"/>
                <a:gd name="T45" fmla="*/ 60 h 234"/>
                <a:gd name="T46" fmla="*/ 212 w 337"/>
                <a:gd name="T47" fmla="*/ 65 h 234"/>
                <a:gd name="T48" fmla="*/ 197 w 337"/>
                <a:gd name="T49" fmla="*/ 65 h 234"/>
                <a:gd name="T50" fmla="*/ 185 w 337"/>
                <a:gd name="T51" fmla="*/ 64 h 234"/>
                <a:gd name="T52" fmla="*/ 176 w 337"/>
                <a:gd name="T53" fmla="*/ 56 h 234"/>
                <a:gd name="T54" fmla="*/ 163 w 337"/>
                <a:gd name="T55" fmla="*/ 53 h 234"/>
                <a:gd name="T56" fmla="*/ 152 w 337"/>
                <a:gd name="T57" fmla="*/ 62 h 234"/>
                <a:gd name="T58" fmla="*/ 143 w 337"/>
                <a:gd name="T59" fmla="*/ 65 h 234"/>
                <a:gd name="T60" fmla="*/ 124 w 337"/>
                <a:gd name="T61" fmla="*/ 57 h 234"/>
                <a:gd name="T62" fmla="*/ 95 w 337"/>
                <a:gd name="T63" fmla="*/ 49 h 234"/>
                <a:gd name="T64" fmla="*/ 61 w 337"/>
                <a:gd name="T65" fmla="*/ 53 h 234"/>
                <a:gd name="T66" fmla="*/ 27 w 337"/>
                <a:gd name="T67" fmla="*/ 61 h 234"/>
                <a:gd name="T68" fmla="*/ 8 w 337"/>
                <a:gd name="T69" fmla="*/ 69 h 234"/>
                <a:gd name="T70" fmla="*/ 1 w 337"/>
                <a:gd name="T71" fmla="*/ 74 h 234"/>
                <a:gd name="T72" fmla="*/ 0 w 337"/>
                <a:gd name="T73" fmla="*/ 84 h 234"/>
                <a:gd name="T74" fmla="*/ 4 w 337"/>
                <a:gd name="T75" fmla="*/ 93 h 234"/>
                <a:gd name="T76" fmla="*/ 12 w 337"/>
                <a:gd name="T77" fmla="*/ 106 h 234"/>
                <a:gd name="T78" fmla="*/ 25 w 337"/>
                <a:gd name="T79" fmla="*/ 121 h 234"/>
                <a:gd name="T80" fmla="*/ 35 w 337"/>
                <a:gd name="T81" fmla="*/ 136 h 234"/>
                <a:gd name="T82" fmla="*/ 27 w 337"/>
                <a:gd name="T83" fmla="*/ 160 h 234"/>
                <a:gd name="T84" fmla="*/ 19 w 337"/>
                <a:gd name="T85" fmla="*/ 182 h 234"/>
                <a:gd name="T86" fmla="*/ 28 w 337"/>
                <a:gd name="T87" fmla="*/ 197 h 234"/>
                <a:gd name="T88" fmla="*/ 44 w 337"/>
                <a:gd name="T89" fmla="*/ 206 h 234"/>
                <a:gd name="T90" fmla="*/ 65 w 337"/>
                <a:gd name="T91" fmla="*/ 214 h 234"/>
                <a:gd name="T92" fmla="*/ 103 w 337"/>
                <a:gd name="T93" fmla="*/ 220 h 234"/>
                <a:gd name="T94" fmla="*/ 151 w 337"/>
                <a:gd name="T95" fmla="*/ 222 h 234"/>
                <a:gd name="T96" fmla="*/ 181 w 337"/>
                <a:gd name="T97" fmla="*/ 217 h 23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337"/>
                <a:gd name="T148" fmla="*/ 0 h 234"/>
                <a:gd name="T149" fmla="*/ 337 w 337"/>
                <a:gd name="T150" fmla="*/ 234 h 234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337" h="234">
                  <a:moveTo>
                    <a:pt x="181" y="217"/>
                  </a:moveTo>
                  <a:lnTo>
                    <a:pt x="187" y="222"/>
                  </a:lnTo>
                  <a:lnTo>
                    <a:pt x="193" y="228"/>
                  </a:lnTo>
                  <a:lnTo>
                    <a:pt x="197" y="230"/>
                  </a:lnTo>
                  <a:lnTo>
                    <a:pt x="201" y="233"/>
                  </a:lnTo>
                  <a:lnTo>
                    <a:pt x="207" y="234"/>
                  </a:lnTo>
                  <a:lnTo>
                    <a:pt x="211" y="234"/>
                  </a:lnTo>
                  <a:lnTo>
                    <a:pt x="219" y="233"/>
                  </a:lnTo>
                  <a:lnTo>
                    <a:pt x="225" y="230"/>
                  </a:lnTo>
                  <a:lnTo>
                    <a:pt x="231" y="225"/>
                  </a:lnTo>
                  <a:lnTo>
                    <a:pt x="235" y="218"/>
                  </a:lnTo>
                  <a:lnTo>
                    <a:pt x="237" y="209"/>
                  </a:lnTo>
                  <a:lnTo>
                    <a:pt x="240" y="198"/>
                  </a:lnTo>
                  <a:lnTo>
                    <a:pt x="241" y="188"/>
                  </a:lnTo>
                  <a:lnTo>
                    <a:pt x="241" y="174"/>
                  </a:lnTo>
                  <a:lnTo>
                    <a:pt x="239" y="157"/>
                  </a:lnTo>
                  <a:lnTo>
                    <a:pt x="235" y="142"/>
                  </a:lnTo>
                  <a:lnTo>
                    <a:pt x="231" y="128"/>
                  </a:lnTo>
                  <a:lnTo>
                    <a:pt x="229" y="114"/>
                  </a:lnTo>
                  <a:lnTo>
                    <a:pt x="229" y="109"/>
                  </a:lnTo>
                  <a:lnTo>
                    <a:pt x="232" y="104"/>
                  </a:lnTo>
                  <a:lnTo>
                    <a:pt x="235" y="98"/>
                  </a:lnTo>
                  <a:lnTo>
                    <a:pt x="239" y="94"/>
                  </a:lnTo>
                  <a:lnTo>
                    <a:pt x="251" y="85"/>
                  </a:lnTo>
                  <a:lnTo>
                    <a:pt x="265" y="78"/>
                  </a:lnTo>
                  <a:lnTo>
                    <a:pt x="281" y="72"/>
                  </a:lnTo>
                  <a:lnTo>
                    <a:pt x="300" y="66"/>
                  </a:lnTo>
                  <a:lnTo>
                    <a:pt x="319" y="62"/>
                  </a:lnTo>
                  <a:lnTo>
                    <a:pt x="337" y="60"/>
                  </a:lnTo>
                  <a:lnTo>
                    <a:pt x="332" y="46"/>
                  </a:lnTo>
                  <a:lnTo>
                    <a:pt x="327" y="36"/>
                  </a:lnTo>
                  <a:lnTo>
                    <a:pt x="320" y="25"/>
                  </a:lnTo>
                  <a:lnTo>
                    <a:pt x="313" y="16"/>
                  </a:lnTo>
                  <a:lnTo>
                    <a:pt x="305" y="9"/>
                  </a:lnTo>
                  <a:lnTo>
                    <a:pt x="295" y="4"/>
                  </a:lnTo>
                  <a:lnTo>
                    <a:pt x="284" y="1"/>
                  </a:lnTo>
                  <a:lnTo>
                    <a:pt x="271" y="0"/>
                  </a:lnTo>
                  <a:lnTo>
                    <a:pt x="265" y="1"/>
                  </a:lnTo>
                  <a:lnTo>
                    <a:pt x="261" y="2"/>
                  </a:lnTo>
                  <a:lnTo>
                    <a:pt x="257" y="6"/>
                  </a:lnTo>
                  <a:lnTo>
                    <a:pt x="253" y="10"/>
                  </a:lnTo>
                  <a:lnTo>
                    <a:pt x="248" y="21"/>
                  </a:lnTo>
                  <a:lnTo>
                    <a:pt x="243" y="33"/>
                  </a:lnTo>
                  <a:lnTo>
                    <a:pt x="236" y="45"/>
                  </a:lnTo>
                  <a:lnTo>
                    <a:pt x="229" y="56"/>
                  </a:lnTo>
                  <a:lnTo>
                    <a:pt x="224" y="60"/>
                  </a:lnTo>
                  <a:lnTo>
                    <a:pt x="219" y="64"/>
                  </a:lnTo>
                  <a:lnTo>
                    <a:pt x="212" y="65"/>
                  </a:lnTo>
                  <a:lnTo>
                    <a:pt x="205" y="66"/>
                  </a:lnTo>
                  <a:lnTo>
                    <a:pt x="197" y="65"/>
                  </a:lnTo>
                  <a:lnTo>
                    <a:pt x="191" y="65"/>
                  </a:lnTo>
                  <a:lnTo>
                    <a:pt x="185" y="64"/>
                  </a:lnTo>
                  <a:lnTo>
                    <a:pt x="183" y="61"/>
                  </a:lnTo>
                  <a:lnTo>
                    <a:pt x="176" y="56"/>
                  </a:lnTo>
                  <a:lnTo>
                    <a:pt x="169" y="48"/>
                  </a:lnTo>
                  <a:lnTo>
                    <a:pt x="163" y="53"/>
                  </a:lnTo>
                  <a:lnTo>
                    <a:pt x="156" y="60"/>
                  </a:lnTo>
                  <a:lnTo>
                    <a:pt x="152" y="62"/>
                  </a:lnTo>
                  <a:lnTo>
                    <a:pt x="148" y="64"/>
                  </a:lnTo>
                  <a:lnTo>
                    <a:pt x="143" y="65"/>
                  </a:lnTo>
                  <a:lnTo>
                    <a:pt x="139" y="66"/>
                  </a:lnTo>
                  <a:lnTo>
                    <a:pt x="124" y="57"/>
                  </a:lnTo>
                  <a:lnTo>
                    <a:pt x="108" y="48"/>
                  </a:lnTo>
                  <a:lnTo>
                    <a:pt x="95" y="49"/>
                  </a:lnTo>
                  <a:lnTo>
                    <a:pt x="79" y="50"/>
                  </a:lnTo>
                  <a:lnTo>
                    <a:pt x="61" y="53"/>
                  </a:lnTo>
                  <a:lnTo>
                    <a:pt x="43" y="56"/>
                  </a:lnTo>
                  <a:lnTo>
                    <a:pt x="27" y="61"/>
                  </a:lnTo>
                  <a:lnTo>
                    <a:pt x="13" y="65"/>
                  </a:lnTo>
                  <a:lnTo>
                    <a:pt x="8" y="69"/>
                  </a:lnTo>
                  <a:lnTo>
                    <a:pt x="4" y="72"/>
                  </a:lnTo>
                  <a:lnTo>
                    <a:pt x="1" y="74"/>
                  </a:lnTo>
                  <a:lnTo>
                    <a:pt x="0" y="78"/>
                  </a:lnTo>
                  <a:lnTo>
                    <a:pt x="0" y="84"/>
                  </a:lnTo>
                  <a:lnTo>
                    <a:pt x="1" y="89"/>
                  </a:lnTo>
                  <a:lnTo>
                    <a:pt x="4" y="93"/>
                  </a:lnTo>
                  <a:lnTo>
                    <a:pt x="5" y="97"/>
                  </a:lnTo>
                  <a:lnTo>
                    <a:pt x="12" y="106"/>
                  </a:lnTo>
                  <a:lnTo>
                    <a:pt x="19" y="113"/>
                  </a:lnTo>
                  <a:lnTo>
                    <a:pt x="25" y="121"/>
                  </a:lnTo>
                  <a:lnTo>
                    <a:pt x="31" y="128"/>
                  </a:lnTo>
                  <a:lnTo>
                    <a:pt x="35" y="136"/>
                  </a:lnTo>
                  <a:lnTo>
                    <a:pt x="36" y="144"/>
                  </a:lnTo>
                  <a:lnTo>
                    <a:pt x="27" y="160"/>
                  </a:lnTo>
                  <a:lnTo>
                    <a:pt x="19" y="174"/>
                  </a:lnTo>
                  <a:lnTo>
                    <a:pt x="19" y="182"/>
                  </a:lnTo>
                  <a:lnTo>
                    <a:pt x="23" y="190"/>
                  </a:lnTo>
                  <a:lnTo>
                    <a:pt x="28" y="197"/>
                  </a:lnTo>
                  <a:lnTo>
                    <a:pt x="36" y="202"/>
                  </a:lnTo>
                  <a:lnTo>
                    <a:pt x="44" y="206"/>
                  </a:lnTo>
                  <a:lnTo>
                    <a:pt x="55" y="210"/>
                  </a:lnTo>
                  <a:lnTo>
                    <a:pt x="65" y="214"/>
                  </a:lnTo>
                  <a:lnTo>
                    <a:pt x="77" y="217"/>
                  </a:lnTo>
                  <a:lnTo>
                    <a:pt x="103" y="220"/>
                  </a:lnTo>
                  <a:lnTo>
                    <a:pt x="128" y="222"/>
                  </a:lnTo>
                  <a:lnTo>
                    <a:pt x="151" y="222"/>
                  </a:lnTo>
                  <a:lnTo>
                    <a:pt x="169" y="222"/>
                  </a:lnTo>
                  <a:lnTo>
                    <a:pt x="181" y="217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accent1">
                  <a:lumMod val="20000"/>
                  <a:lumOff val="8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95" b="0" i="0" u="none" strike="noStrike" kern="1200" cap="none" spc="0" normalizeH="0" baseline="0" noProof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2" name="Freeform 120"/>
            <p:cNvSpPr>
              <a:spLocks/>
            </p:cNvSpPr>
            <p:nvPr/>
          </p:nvSpPr>
          <p:spPr bwMode="auto">
            <a:xfrm>
              <a:off x="5071146" y="2320985"/>
              <a:ext cx="209167" cy="154458"/>
            </a:xfrm>
            <a:custGeom>
              <a:avLst/>
              <a:gdLst>
                <a:gd name="T0" fmla="*/ 1621 w 2904"/>
                <a:gd name="T1" fmla="*/ 2017 h 2144"/>
                <a:gd name="T2" fmla="*/ 1734 w 2904"/>
                <a:gd name="T3" fmla="*/ 1944 h 2144"/>
                <a:gd name="T4" fmla="*/ 1822 w 2904"/>
                <a:gd name="T5" fmla="*/ 1741 h 2144"/>
                <a:gd name="T6" fmla="*/ 1904 w 2904"/>
                <a:gd name="T7" fmla="*/ 1680 h 2144"/>
                <a:gd name="T8" fmla="*/ 2158 w 2904"/>
                <a:gd name="T9" fmla="*/ 1739 h 2144"/>
                <a:gd name="T10" fmla="*/ 2329 w 2904"/>
                <a:gd name="T11" fmla="*/ 1768 h 2144"/>
                <a:gd name="T12" fmla="*/ 2461 w 2904"/>
                <a:gd name="T13" fmla="*/ 1823 h 2144"/>
                <a:gd name="T14" fmla="*/ 2569 w 2904"/>
                <a:gd name="T15" fmla="*/ 1743 h 2144"/>
                <a:gd name="T16" fmla="*/ 2671 w 2904"/>
                <a:gd name="T17" fmla="*/ 1771 h 2144"/>
                <a:gd name="T18" fmla="*/ 2725 w 2904"/>
                <a:gd name="T19" fmla="*/ 1749 h 2144"/>
                <a:gd name="T20" fmla="*/ 2858 w 2904"/>
                <a:gd name="T21" fmla="*/ 1687 h 2144"/>
                <a:gd name="T22" fmla="*/ 2904 w 2904"/>
                <a:gd name="T23" fmla="*/ 1613 h 2144"/>
                <a:gd name="T24" fmla="*/ 2783 w 2904"/>
                <a:gd name="T25" fmla="*/ 1533 h 2144"/>
                <a:gd name="T26" fmla="*/ 2725 w 2904"/>
                <a:gd name="T27" fmla="*/ 1395 h 2144"/>
                <a:gd name="T28" fmla="*/ 2629 w 2904"/>
                <a:gd name="T29" fmla="*/ 1355 h 2144"/>
                <a:gd name="T30" fmla="*/ 2558 w 2904"/>
                <a:gd name="T31" fmla="*/ 1282 h 2144"/>
                <a:gd name="T32" fmla="*/ 2486 w 2904"/>
                <a:gd name="T33" fmla="*/ 1280 h 2144"/>
                <a:gd name="T34" fmla="*/ 2419 w 2904"/>
                <a:gd name="T35" fmla="*/ 1228 h 2144"/>
                <a:gd name="T36" fmla="*/ 2330 w 2904"/>
                <a:gd name="T37" fmla="*/ 1183 h 2144"/>
                <a:gd name="T38" fmla="*/ 2230 w 2904"/>
                <a:gd name="T39" fmla="*/ 1275 h 2144"/>
                <a:gd name="T40" fmla="*/ 2041 w 2904"/>
                <a:gd name="T41" fmla="*/ 1256 h 2144"/>
                <a:gd name="T42" fmla="*/ 1914 w 2904"/>
                <a:gd name="T43" fmla="*/ 1126 h 2144"/>
                <a:gd name="T44" fmla="*/ 1717 w 2904"/>
                <a:gd name="T45" fmla="*/ 1058 h 2144"/>
                <a:gd name="T46" fmla="*/ 1549 w 2904"/>
                <a:gd name="T47" fmla="*/ 963 h 2144"/>
                <a:gd name="T48" fmla="*/ 1373 w 2904"/>
                <a:gd name="T49" fmla="*/ 831 h 2144"/>
                <a:gd name="T50" fmla="*/ 1332 w 2904"/>
                <a:gd name="T51" fmla="*/ 697 h 2144"/>
                <a:gd name="T52" fmla="*/ 1225 w 2904"/>
                <a:gd name="T53" fmla="*/ 583 h 2144"/>
                <a:gd name="T54" fmla="*/ 1155 w 2904"/>
                <a:gd name="T55" fmla="*/ 597 h 2144"/>
                <a:gd name="T56" fmla="*/ 1087 w 2904"/>
                <a:gd name="T57" fmla="*/ 591 h 2144"/>
                <a:gd name="T58" fmla="*/ 993 w 2904"/>
                <a:gd name="T59" fmla="*/ 605 h 2144"/>
                <a:gd name="T60" fmla="*/ 943 w 2904"/>
                <a:gd name="T61" fmla="*/ 474 h 2144"/>
                <a:gd name="T62" fmla="*/ 885 w 2904"/>
                <a:gd name="T63" fmla="*/ 409 h 2144"/>
                <a:gd name="T64" fmla="*/ 664 w 2904"/>
                <a:gd name="T65" fmla="*/ 398 h 2144"/>
                <a:gd name="T66" fmla="*/ 611 w 2904"/>
                <a:gd name="T67" fmla="*/ 336 h 2144"/>
                <a:gd name="T68" fmla="*/ 575 w 2904"/>
                <a:gd name="T69" fmla="*/ 256 h 2144"/>
                <a:gd name="T70" fmla="*/ 633 w 2904"/>
                <a:gd name="T71" fmla="*/ 126 h 2144"/>
                <a:gd name="T72" fmla="*/ 590 w 2904"/>
                <a:gd name="T73" fmla="*/ 12 h 2144"/>
                <a:gd name="T74" fmla="*/ 442 w 2904"/>
                <a:gd name="T75" fmla="*/ 110 h 2144"/>
                <a:gd name="T76" fmla="*/ 379 w 2904"/>
                <a:gd name="T77" fmla="*/ 84 h 2144"/>
                <a:gd name="T78" fmla="*/ 275 w 2904"/>
                <a:gd name="T79" fmla="*/ 149 h 2144"/>
                <a:gd name="T80" fmla="*/ 224 w 2904"/>
                <a:gd name="T81" fmla="*/ 301 h 2144"/>
                <a:gd name="T82" fmla="*/ 91 w 2904"/>
                <a:gd name="T83" fmla="*/ 502 h 2144"/>
                <a:gd name="T84" fmla="*/ 7 w 2904"/>
                <a:gd name="T85" fmla="*/ 709 h 2144"/>
                <a:gd name="T86" fmla="*/ 31 w 2904"/>
                <a:gd name="T87" fmla="*/ 770 h 2144"/>
                <a:gd name="T88" fmla="*/ 163 w 2904"/>
                <a:gd name="T89" fmla="*/ 939 h 2144"/>
                <a:gd name="T90" fmla="*/ 252 w 2904"/>
                <a:gd name="T91" fmla="*/ 1087 h 2144"/>
                <a:gd name="T92" fmla="*/ 235 w 2904"/>
                <a:gd name="T93" fmla="*/ 1198 h 2144"/>
                <a:gd name="T94" fmla="*/ 254 w 2904"/>
                <a:gd name="T95" fmla="*/ 1446 h 2144"/>
                <a:gd name="T96" fmla="*/ 251 w 2904"/>
                <a:gd name="T97" fmla="*/ 1572 h 2144"/>
                <a:gd name="T98" fmla="*/ 368 w 2904"/>
                <a:gd name="T99" fmla="*/ 1656 h 2144"/>
                <a:gd name="T100" fmla="*/ 438 w 2904"/>
                <a:gd name="T101" fmla="*/ 1849 h 2144"/>
                <a:gd name="T102" fmla="*/ 519 w 2904"/>
                <a:gd name="T103" fmla="*/ 1837 h 2144"/>
                <a:gd name="T104" fmla="*/ 687 w 2904"/>
                <a:gd name="T105" fmla="*/ 1783 h 2144"/>
                <a:gd name="T106" fmla="*/ 772 w 2904"/>
                <a:gd name="T107" fmla="*/ 1736 h 2144"/>
                <a:gd name="T108" fmla="*/ 847 w 2904"/>
                <a:gd name="T109" fmla="*/ 1709 h 2144"/>
                <a:gd name="T110" fmla="*/ 888 w 2904"/>
                <a:gd name="T111" fmla="*/ 1648 h 2144"/>
                <a:gd name="T112" fmla="*/ 1007 w 2904"/>
                <a:gd name="T113" fmla="*/ 1699 h 2144"/>
                <a:gd name="T114" fmla="*/ 1144 w 2904"/>
                <a:gd name="T115" fmla="*/ 1755 h 2144"/>
                <a:gd name="T116" fmla="*/ 1224 w 2904"/>
                <a:gd name="T117" fmla="*/ 1907 h 2144"/>
                <a:gd name="T118" fmla="*/ 1345 w 2904"/>
                <a:gd name="T119" fmla="*/ 2079 h 2144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2904"/>
                <a:gd name="T181" fmla="*/ 0 h 2144"/>
                <a:gd name="T182" fmla="*/ 2904 w 2904"/>
                <a:gd name="T183" fmla="*/ 2144 h 2144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2904" h="2144">
                  <a:moveTo>
                    <a:pt x="1530" y="2144"/>
                  </a:moveTo>
                  <a:lnTo>
                    <a:pt x="1566" y="2144"/>
                  </a:lnTo>
                  <a:lnTo>
                    <a:pt x="1576" y="2125"/>
                  </a:lnTo>
                  <a:lnTo>
                    <a:pt x="1584" y="2108"/>
                  </a:lnTo>
                  <a:lnTo>
                    <a:pt x="1590" y="2092"/>
                  </a:lnTo>
                  <a:lnTo>
                    <a:pt x="1596" y="2076"/>
                  </a:lnTo>
                  <a:lnTo>
                    <a:pt x="1601" y="2060"/>
                  </a:lnTo>
                  <a:lnTo>
                    <a:pt x="1606" y="2045"/>
                  </a:lnTo>
                  <a:lnTo>
                    <a:pt x="1613" y="2031"/>
                  </a:lnTo>
                  <a:lnTo>
                    <a:pt x="1621" y="2017"/>
                  </a:lnTo>
                  <a:lnTo>
                    <a:pt x="1626" y="2007"/>
                  </a:lnTo>
                  <a:lnTo>
                    <a:pt x="1633" y="1997"/>
                  </a:lnTo>
                  <a:lnTo>
                    <a:pt x="1641" y="1991"/>
                  </a:lnTo>
                  <a:lnTo>
                    <a:pt x="1649" y="1985"/>
                  </a:lnTo>
                  <a:lnTo>
                    <a:pt x="1666" y="1976"/>
                  </a:lnTo>
                  <a:lnTo>
                    <a:pt x="1684" y="1969"/>
                  </a:lnTo>
                  <a:lnTo>
                    <a:pt x="1702" y="1963"/>
                  </a:lnTo>
                  <a:lnTo>
                    <a:pt x="1718" y="1955"/>
                  </a:lnTo>
                  <a:lnTo>
                    <a:pt x="1726" y="1949"/>
                  </a:lnTo>
                  <a:lnTo>
                    <a:pt x="1734" y="1944"/>
                  </a:lnTo>
                  <a:lnTo>
                    <a:pt x="1741" y="1936"/>
                  </a:lnTo>
                  <a:lnTo>
                    <a:pt x="1746" y="1927"/>
                  </a:lnTo>
                  <a:lnTo>
                    <a:pt x="1754" y="1913"/>
                  </a:lnTo>
                  <a:lnTo>
                    <a:pt x="1762" y="1899"/>
                  </a:lnTo>
                  <a:lnTo>
                    <a:pt x="1769" y="1881"/>
                  </a:lnTo>
                  <a:lnTo>
                    <a:pt x="1776" y="1863"/>
                  </a:lnTo>
                  <a:lnTo>
                    <a:pt x="1789" y="1821"/>
                  </a:lnTo>
                  <a:lnTo>
                    <a:pt x="1805" y="1780"/>
                  </a:lnTo>
                  <a:lnTo>
                    <a:pt x="1813" y="1760"/>
                  </a:lnTo>
                  <a:lnTo>
                    <a:pt x="1822" y="1741"/>
                  </a:lnTo>
                  <a:lnTo>
                    <a:pt x="1833" y="1725"/>
                  </a:lnTo>
                  <a:lnTo>
                    <a:pt x="1845" y="1709"/>
                  </a:lnTo>
                  <a:lnTo>
                    <a:pt x="1850" y="1703"/>
                  </a:lnTo>
                  <a:lnTo>
                    <a:pt x="1857" y="1697"/>
                  </a:lnTo>
                  <a:lnTo>
                    <a:pt x="1864" y="1692"/>
                  </a:lnTo>
                  <a:lnTo>
                    <a:pt x="1870" y="1688"/>
                  </a:lnTo>
                  <a:lnTo>
                    <a:pt x="1878" y="1684"/>
                  </a:lnTo>
                  <a:lnTo>
                    <a:pt x="1886" y="1681"/>
                  </a:lnTo>
                  <a:lnTo>
                    <a:pt x="1894" y="1680"/>
                  </a:lnTo>
                  <a:lnTo>
                    <a:pt x="1904" y="1680"/>
                  </a:lnTo>
                  <a:lnTo>
                    <a:pt x="1920" y="1680"/>
                  </a:lnTo>
                  <a:lnTo>
                    <a:pt x="1934" y="1684"/>
                  </a:lnTo>
                  <a:lnTo>
                    <a:pt x="1948" y="1688"/>
                  </a:lnTo>
                  <a:lnTo>
                    <a:pt x="1961" y="1692"/>
                  </a:lnTo>
                  <a:lnTo>
                    <a:pt x="1986" y="1703"/>
                  </a:lnTo>
                  <a:lnTo>
                    <a:pt x="2006" y="1709"/>
                  </a:lnTo>
                  <a:lnTo>
                    <a:pt x="2109" y="1709"/>
                  </a:lnTo>
                  <a:lnTo>
                    <a:pt x="2125" y="1721"/>
                  </a:lnTo>
                  <a:lnTo>
                    <a:pt x="2141" y="1732"/>
                  </a:lnTo>
                  <a:lnTo>
                    <a:pt x="2158" y="1739"/>
                  </a:lnTo>
                  <a:lnTo>
                    <a:pt x="2177" y="1744"/>
                  </a:lnTo>
                  <a:lnTo>
                    <a:pt x="2195" y="1748"/>
                  </a:lnTo>
                  <a:lnTo>
                    <a:pt x="2215" y="1751"/>
                  </a:lnTo>
                  <a:lnTo>
                    <a:pt x="2237" y="1752"/>
                  </a:lnTo>
                  <a:lnTo>
                    <a:pt x="2259" y="1752"/>
                  </a:lnTo>
                  <a:lnTo>
                    <a:pt x="2275" y="1752"/>
                  </a:lnTo>
                  <a:lnTo>
                    <a:pt x="2291" y="1755"/>
                  </a:lnTo>
                  <a:lnTo>
                    <a:pt x="2305" y="1759"/>
                  </a:lnTo>
                  <a:lnTo>
                    <a:pt x="2318" y="1763"/>
                  </a:lnTo>
                  <a:lnTo>
                    <a:pt x="2329" y="1768"/>
                  </a:lnTo>
                  <a:lnTo>
                    <a:pt x="2339" y="1775"/>
                  </a:lnTo>
                  <a:lnTo>
                    <a:pt x="2350" y="1781"/>
                  </a:lnTo>
                  <a:lnTo>
                    <a:pt x="2359" y="1788"/>
                  </a:lnTo>
                  <a:lnTo>
                    <a:pt x="2379" y="1801"/>
                  </a:lnTo>
                  <a:lnTo>
                    <a:pt x="2399" y="1813"/>
                  </a:lnTo>
                  <a:lnTo>
                    <a:pt x="2410" y="1817"/>
                  </a:lnTo>
                  <a:lnTo>
                    <a:pt x="2423" y="1821"/>
                  </a:lnTo>
                  <a:lnTo>
                    <a:pt x="2437" y="1823"/>
                  </a:lnTo>
                  <a:lnTo>
                    <a:pt x="2451" y="1824"/>
                  </a:lnTo>
                  <a:lnTo>
                    <a:pt x="2461" y="1823"/>
                  </a:lnTo>
                  <a:lnTo>
                    <a:pt x="2470" y="1820"/>
                  </a:lnTo>
                  <a:lnTo>
                    <a:pt x="2479" y="1816"/>
                  </a:lnTo>
                  <a:lnTo>
                    <a:pt x="2487" y="1811"/>
                  </a:lnTo>
                  <a:lnTo>
                    <a:pt x="2505" y="1796"/>
                  </a:lnTo>
                  <a:lnTo>
                    <a:pt x="2521" y="1779"/>
                  </a:lnTo>
                  <a:lnTo>
                    <a:pt x="2530" y="1771"/>
                  </a:lnTo>
                  <a:lnTo>
                    <a:pt x="2538" y="1763"/>
                  </a:lnTo>
                  <a:lnTo>
                    <a:pt x="2547" y="1755"/>
                  </a:lnTo>
                  <a:lnTo>
                    <a:pt x="2558" y="1748"/>
                  </a:lnTo>
                  <a:lnTo>
                    <a:pt x="2569" y="1743"/>
                  </a:lnTo>
                  <a:lnTo>
                    <a:pt x="2581" y="1737"/>
                  </a:lnTo>
                  <a:lnTo>
                    <a:pt x="2594" y="1735"/>
                  </a:lnTo>
                  <a:lnTo>
                    <a:pt x="2609" y="1733"/>
                  </a:lnTo>
                  <a:lnTo>
                    <a:pt x="2615" y="1735"/>
                  </a:lnTo>
                  <a:lnTo>
                    <a:pt x="2623" y="1736"/>
                  </a:lnTo>
                  <a:lnTo>
                    <a:pt x="2630" y="1739"/>
                  </a:lnTo>
                  <a:lnTo>
                    <a:pt x="2635" y="1743"/>
                  </a:lnTo>
                  <a:lnTo>
                    <a:pt x="2647" y="1751"/>
                  </a:lnTo>
                  <a:lnTo>
                    <a:pt x="2659" y="1761"/>
                  </a:lnTo>
                  <a:lnTo>
                    <a:pt x="2671" y="1771"/>
                  </a:lnTo>
                  <a:lnTo>
                    <a:pt x="2682" y="1780"/>
                  </a:lnTo>
                  <a:lnTo>
                    <a:pt x="2689" y="1783"/>
                  </a:lnTo>
                  <a:lnTo>
                    <a:pt x="2695" y="1785"/>
                  </a:lnTo>
                  <a:lnTo>
                    <a:pt x="2703" y="1788"/>
                  </a:lnTo>
                  <a:lnTo>
                    <a:pt x="2710" y="1788"/>
                  </a:lnTo>
                  <a:lnTo>
                    <a:pt x="2711" y="1779"/>
                  </a:lnTo>
                  <a:lnTo>
                    <a:pt x="2713" y="1771"/>
                  </a:lnTo>
                  <a:lnTo>
                    <a:pt x="2715" y="1763"/>
                  </a:lnTo>
                  <a:lnTo>
                    <a:pt x="2719" y="1756"/>
                  </a:lnTo>
                  <a:lnTo>
                    <a:pt x="2725" y="1749"/>
                  </a:lnTo>
                  <a:lnTo>
                    <a:pt x="2730" y="1744"/>
                  </a:lnTo>
                  <a:lnTo>
                    <a:pt x="2737" y="1739"/>
                  </a:lnTo>
                  <a:lnTo>
                    <a:pt x="2743" y="1735"/>
                  </a:lnTo>
                  <a:lnTo>
                    <a:pt x="2759" y="1725"/>
                  </a:lnTo>
                  <a:lnTo>
                    <a:pt x="2777" y="1719"/>
                  </a:lnTo>
                  <a:lnTo>
                    <a:pt x="2795" y="1712"/>
                  </a:lnTo>
                  <a:lnTo>
                    <a:pt x="2814" y="1705"/>
                  </a:lnTo>
                  <a:lnTo>
                    <a:pt x="2833" y="1699"/>
                  </a:lnTo>
                  <a:lnTo>
                    <a:pt x="2850" y="1692"/>
                  </a:lnTo>
                  <a:lnTo>
                    <a:pt x="2858" y="1687"/>
                  </a:lnTo>
                  <a:lnTo>
                    <a:pt x="2866" y="1683"/>
                  </a:lnTo>
                  <a:lnTo>
                    <a:pt x="2874" y="1677"/>
                  </a:lnTo>
                  <a:lnTo>
                    <a:pt x="2881" y="1672"/>
                  </a:lnTo>
                  <a:lnTo>
                    <a:pt x="2887" y="1665"/>
                  </a:lnTo>
                  <a:lnTo>
                    <a:pt x="2893" y="1659"/>
                  </a:lnTo>
                  <a:lnTo>
                    <a:pt x="2897" y="1652"/>
                  </a:lnTo>
                  <a:lnTo>
                    <a:pt x="2901" y="1643"/>
                  </a:lnTo>
                  <a:lnTo>
                    <a:pt x="2903" y="1635"/>
                  </a:lnTo>
                  <a:lnTo>
                    <a:pt x="2904" y="1624"/>
                  </a:lnTo>
                  <a:lnTo>
                    <a:pt x="2904" y="1613"/>
                  </a:lnTo>
                  <a:lnTo>
                    <a:pt x="2903" y="1601"/>
                  </a:lnTo>
                  <a:lnTo>
                    <a:pt x="2886" y="1600"/>
                  </a:lnTo>
                  <a:lnTo>
                    <a:pt x="2869" y="1597"/>
                  </a:lnTo>
                  <a:lnTo>
                    <a:pt x="2854" y="1593"/>
                  </a:lnTo>
                  <a:lnTo>
                    <a:pt x="2839" y="1587"/>
                  </a:lnTo>
                  <a:lnTo>
                    <a:pt x="2826" y="1579"/>
                  </a:lnTo>
                  <a:lnTo>
                    <a:pt x="2813" y="1569"/>
                  </a:lnTo>
                  <a:lnTo>
                    <a:pt x="2802" y="1559"/>
                  </a:lnTo>
                  <a:lnTo>
                    <a:pt x="2791" y="1547"/>
                  </a:lnTo>
                  <a:lnTo>
                    <a:pt x="2783" y="1533"/>
                  </a:lnTo>
                  <a:lnTo>
                    <a:pt x="2775" y="1519"/>
                  </a:lnTo>
                  <a:lnTo>
                    <a:pt x="2769" y="1503"/>
                  </a:lnTo>
                  <a:lnTo>
                    <a:pt x="2762" y="1487"/>
                  </a:lnTo>
                  <a:lnTo>
                    <a:pt x="2758" y="1470"/>
                  </a:lnTo>
                  <a:lnTo>
                    <a:pt x="2755" y="1452"/>
                  </a:lnTo>
                  <a:lnTo>
                    <a:pt x="2753" y="1434"/>
                  </a:lnTo>
                  <a:lnTo>
                    <a:pt x="2753" y="1415"/>
                  </a:lnTo>
                  <a:lnTo>
                    <a:pt x="2742" y="1410"/>
                  </a:lnTo>
                  <a:lnTo>
                    <a:pt x="2733" y="1403"/>
                  </a:lnTo>
                  <a:lnTo>
                    <a:pt x="2725" y="1395"/>
                  </a:lnTo>
                  <a:lnTo>
                    <a:pt x="2717" y="1388"/>
                  </a:lnTo>
                  <a:lnTo>
                    <a:pt x="2709" y="1380"/>
                  </a:lnTo>
                  <a:lnTo>
                    <a:pt x="2701" y="1372"/>
                  </a:lnTo>
                  <a:lnTo>
                    <a:pt x="2691" y="1366"/>
                  </a:lnTo>
                  <a:lnTo>
                    <a:pt x="2681" y="1360"/>
                  </a:lnTo>
                  <a:lnTo>
                    <a:pt x="2670" y="1358"/>
                  </a:lnTo>
                  <a:lnTo>
                    <a:pt x="2659" y="1356"/>
                  </a:lnTo>
                  <a:lnTo>
                    <a:pt x="2649" y="1356"/>
                  </a:lnTo>
                  <a:lnTo>
                    <a:pt x="2638" y="1356"/>
                  </a:lnTo>
                  <a:lnTo>
                    <a:pt x="2629" y="1355"/>
                  </a:lnTo>
                  <a:lnTo>
                    <a:pt x="2618" y="1354"/>
                  </a:lnTo>
                  <a:lnTo>
                    <a:pt x="2607" y="1350"/>
                  </a:lnTo>
                  <a:lnTo>
                    <a:pt x="2597" y="1343"/>
                  </a:lnTo>
                  <a:lnTo>
                    <a:pt x="2589" y="1335"/>
                  </a:lnTo>
                  <a:lnTo>
                    <a:pt x="2582" y="1326"/>
                  </a:lnTo>
                  <a:lnTo>
                    <a:pt x="2578" y="1316"/>
                  </a:lnTo>
                  <a:lnTo>
                    <a:pt x="2574" y="1307"/>
                  </a:lnTo>
                  <a:lnTo>
                    <a:pt x="2569" y="1296"/>
                  </a:lnTo>
                  <a:lnTo>
                    <a:pt x="2562" y="1287"/>
                  </a:lnTo>
                  <a:lnTo>
                    <a:pt x="2558" y="1282"/>
                  </a:lnTo>
                  <a:lnTo>
                    <a:pt x="2554" y="1278"/>
                  </a:lnTo>
                  <a:lnTo>
                    <a:pt x="2549" y="1274"/>
                  </a:lnTo>
                  <a:lnTo>
                    <a:pt x="2542" y="1270"/>
                  </a:lnTo>
                  <a:lnTo>
                    <a:pt x="2535" y="1268"/>
                  </a:lnTo>
                  <a:lnTo>
                    <a:pt x="2529" y="1268"/>
                  </a:lnTo>
                  <a:lnTo>
                    <a:pt x="2522" y="1268"/>
                  </a:lnTo>
                  <a:lnTo>
                    <a:pt x="2515" y="1270"/>
                  </a:lnTo>
                  <a:lnTo>
                    <a:pt x="2503" y="1274"/>
                  </a:lnTo>
                  <a:lnTo>
                    <a:pt x="2491" y="1279"/>
                  </a:lnTo>
                  <a:lnTo>
                    <a:pt x="2486" y="1280"/>
                  </a:lnTo>
                  <a:lnTo>
                    <a:pt x="2479" y="1282"/>
                  </a:lnTo>
                  <a:lnTo>
                    <a:pt x="2474" y="1282"/>
                  </a:lnTo>
                  <a:lnTo>
                    <a:pt x="2469" y="1282"/>
                  </a:lnTo>
                  <a:lnTo>
                    <a:pt x="2462" y="1279"/>
                  </a:lnTo>
                  <a:lnTo>
                    <a:pt x="2457" y="1276"/>
                  </a:lnTo>
                  <a:lnTo>
                    <a:pt x="2451" y="1271"/>
                  </a:lnTo>
                  <a:lnTo>
                    <a:pt x="2446" y="1264"/>
                  </a:lnTo>
                  <a:lnTo>
                    <a:pt x="2437" y="1255"/>
                  </a:lnTo>
                  <a:lnTo>
                    <a:pt x="2429" y="1243"/>
                  </a:lnTo>
                  <a:lnTo>
                    <a:pt x="2419" y="1228"/>
                  </a:lnTo>
                  <a:lnTo>
                    <a:pt x="2410" y="1212"/>
                  </a:lnTo>
                  <a:lnTo>
                    <a:pt x="2399" y="1198"/>
                  </a:lnTo>
                  <a:lnTo>
                    <a:pt x="2389" y="1186"/>
                  </a:lnTo>
                  <a:lnTo>
                    <a:pt x="2382" y="1180"/>
                  </a:lnTo>
                  <a:lnTo>
                    <a:pt x="2375" y="1176"/>
                  </a:lnTo>
                  <a:lnTo>
                    <a:pt x="2369" y="1175"/>
                  </a:lnTo>
                  <a:lnTo>
                    <a:pt x="2361" y="1174"/>
                  </a:lnTo>
                  <a:lnTo>
                    <a:pt x="2350" y="1175"/>
                  </a:lnTo>
                  <a:lnTo>
                    <a:pt x="2339" y="1178"/>
                  </a:lnTo>
                  <a:lnTo>
                    <a:pt x="2330" y="1183"/>
                  </a:lnTo>
                  <a:lnTo>
                    <a:pt x="2321" y="1190"/>
                  </a:lnTo>
                  <a:lnTo>
                    <a:pt x="2305" y="1206"/>
                  </a:lnTo>
                  <a:lnTo>
                    <a:pt x="2291" y="1226"/>
                  </a:lnTo>
                  <a:lnTo>
                    <a:pt x="2283" y="1235"/>
                  </a:lnTo>
                  <a:lnTo>
                    <a:pt x="2277" y="1244"/>
                  </a:lnTo>
                  <a:lnTo>
                    <a:pt x="2269" y="1252"/>
                  </a:lnTo>
                  <a:lnTo>
                    <a:pt x="2261" y="1260"/>
                  </a:lnTo>
                  <a:lnTo>
                    <a:pt x="2251" y="1267"/>
                  </a:lnTo>
                  <a:lnTo>
                    <a:pt x="2241" y="1272"/>
                  </a:lnTo>
                  <a:lnTo>
                    <a:pt x="2230" y="1275"/>
                  </a:lnTo>
                  <a:lnTo>
                    <a:pt x="2217" y="1276"/>
                  </a:lnTo>
                  <a:lnTo>
                    <a:pt x="2186" y="1275"/>
                  </a:lnTo>
                  <a:lnTo>
                    <a:pt x="2157" y="1270"/>
                  </a:lnTo>
                  <a:lnTo>
                    <a:pt x="2128" y="1266"/>
                  </a:lnTo>
                  <a:lnTo>
                    <a:pt x="2097" y="1264"/>
                  </a:lnTo>
                  <a:lnTo>
                    <a:pt x="2084" y="1264"/>
                  </a:lnTo>
                  <a:lnTo>
                    <a:pt x="2072" y="1263"/>
                  </a:lnTo>
                  <a:lnTo>
                    <a:pt x="2061" y="1262"/>
                  </a:lnTo>
                  <a:lnTo>
                    <a:pt x="2050" y="1259"/>
                  </a:lnTo>
                  <a:lnTo>
                    <a:pt x="2041" y="1256"/>
                  </a:lnTo>
                  <a:lnTo>
                    <a:pt x="2033" y="1252"/>
                  </a:lnTo>
                  <a:lnTo>
                    <a:pt x="2024" y="1248"/>
                  </a:lnTo>
                  <a:lnTo>
                    <a:pt x="2017" y="1244"/>
                  </a:lnTo>
                  <a:lnTo>
                    <a:pt x="2002" y="1235"/>
                  </a:lnTo>
                  <a:lnTo>
                    <a:pt x="1990" y="1223"/>
                  </a:lnTo>
                  <a:lnTo>
                    <a:pt x="1978" y="1211"/>
                  </a:lnTo>
                  <a:lnTo>
                    <a:pt x="1969" y="1198"/>
                  </a:lnTo>
                  <a:lnTo>
                    <a:pt x="1949" y="1168"/>
                  </a:lnTo>
                  <a:lnTo>
                    <a:pt x="1926" y="1140"/>
                  </a:lnTo>
                  <a:lnTo>
                    <a:pt x="1914" y="1126"/>
                  </a:lnTo>
                  <a:lnTo>
                    <a:pt x="1901" y="1112"/>
                  </a:lnTo>
                  <a:lnTo>
                    <a:pt x="1885" y="1100"/>
                  </a:lnTo>
                  <a:lnTo>
                    <a:pt x="1868" y="1090"/>
                  </a:lnTo>
                  <a:lnTo>
                    <a:pt x="1857" y="1086"/>
                  </a:lnTo>
                  <a:lnTo>
                    <a:pt x="1844" y="1082"/>
                  </a:lnTo>
                  <a:lnTo>
                    <a:pt x="1830" y="1078"/>
                  </a:lnTo>
                  <a:lnTo>
                    <a:pt x="1816" y="1075"/>
                  </a:lnTo>
                  <a:lnTo>
                    <a:pt x="1785" y="1070"/>
                  </a:lnTo>
                  <a:lnTo>
                    <a:pt x="1752" y="1064"/>
                  </a:lnTo>
                  <a:lnTo>
                    <a:pt x="1717" y="1058"/>
                  </a:lnTo>
                  <a:lnTo>
                    <a:pt x="1685" y="1051"/>
                  </a:lnTo>
                  <a:lnTo>
                    <a:pt x="1669" y="1046"/>
                  </a:lnTo>
                  <a:lnTo>
                    <a:pt x="1653" y="1042"/>
                  </a:lnTo>
                  <a:lnTo>
                    <a:pt x="1640" y="1035"/>
                  </a:lnTo>
                  <a:lnTo>
                    <a:pt x="1626" y="1030"/>
                  </a:lnTo>
                  <a:lnTo>
                    <a:pt x="1612" y="1020"/>
                  </a:lnTo>
                  <a:lnTo>
                    <a:pt x="1598" y="1010"/>
                  </a:lnTo>
                  <a:lnTo>
                    <a:pt x="1585" y="999"/>
                  </a:lnTo>
                  <a:lnTo>
                    <a:pt x="1573" y="988"/>
                  </a:lnTo>
                  <a:lnTo>
                    <a:pt x="1549" y="963"/>
                  </a:lnTo>
                  <a:lnTo>
                    <a:pt x="1524" y="933"/>
                  </a:lnTo>
                  <a:lnTo>
                    <a:pt x="1409" y="933"/>
                  </a:lnTo>
                  <a:lnTo>
                    <a:pt x="1402" y="926"/>
                  </a:lnTo>
                  <a:lnTo>
                    <a:pt x="1397" y="919"/>
                  </a:lnTo>
                  <a:lnTo>
                    <a:pt x="1392" y="911"/>
                  </a:lnTo>
                  <a:lnTo>
                    <a:pt x="1389" y="903"/>
                  </a:lnTo>
                  <a:lnTo>
                    <a:pt x="1384" y="886"/>
                  </a:lnTo>
                  <a:lnTo>
                    <a:pt x="1380" y="869"/>
                  </a:lnTo>
                  <a:lnTo>
                    <a:pt x="1377" y="850"/>
                  </a:lnTo>
                  <a:lnTo>
                    <a:pt x="1373" y="831"/>
                  </a:lnTo>
                  <a:lnTo>
                    <a:pt x="1371" y="822"/>
                  </a:lnTo>
                  <a:lnTo>
                    <a:pt x="1367" y="813"/>
                  </a:lnTo>
                  <a:lnTo>
                    <a:pt x="1361" y="803"/>
                  </a:lnTo>
                  <a:lnTo>
                    <a:pt x="1356" y="794"/>
                  </a:lnTo>
                  <a:lnTo>
                    <a:pt x="1347" y="775"/>
                  </a:lnTo>
                  <a:lnTo>
                    <a:pt x="1339" y="753"/>
                  </a:lnTo>
                  <a:lnTo>
                    <a:pt x="1333" y="733"/>
                  </a:lnTo>
                  <a:lnTo>
                    <a:pt x="1332" y="717"/>
                  </a:lnTo>
                  <a:lnTo>
                    <a:pt x="1332" y="707"/>
                  </a:lnTo>
                  <a:lnTo>
                    <a:pt x="1332" y="697"/>
                  </a:lnTo>
                  <a:lnTo>
                    <a:pt x="1332" y="685"/>
                  </a:lnTo>
                  <a:lnTo>
                    <a:pt x="1332" y="669"/>
                  </a:lnTo>
                  <a:lnTo>
                    <a:pt x="1331" y="663"/>
                  </a:lnTo>
                  <a:lnTo>
                    <a:pt x="1327" y="657"/>
                  </a:lnTo>
                  <a:lnTo>
                    <a:pt x="1321" y="650"/>
                  </a:lnTo>
                  <a:lnTo>
                    <a:pt x="1313" y="643"/>
                  </a:lnTo>
                  <a:lnTo>
                    <a:pt x="1295" y="627"/>
                  </a:lnTo>
                  <a:lnTo>
                    <a:pt x="1272" y="611"/>
                  </a:lnTo>
                  <a:lnTo>
                    <a:pt x="1248" y="595"/>
                  </a:lnTo>
                  <a:lnTo>
                    <a:pt x="1225" y="583"/>
                  </a:lnTo>
                  <a:lnTo>
                    <a:pt x="1215" y="578"/>
                  </a:lnTo>
                  <a:lnTo>
                    <a:pt x="1205" y="575"/>
                  </a:lnTo>
                  <a:lnTo>
                    <a:pt x="1199" y="573"/>
                  </a:lnTo>
                  <a:lnTo>
                    <a:pt x="1193" y="571"/>
                  </a:lnTo>
                  <a:lnTo>
                    <a:pt x="1187" y="573"/>
                  </a:lnTo>
                  <a:lnTo>
                    <a:pt x="1180" y="577"/>
                  </a:lnTo>
                  <a:lnTo>
                    <a:pt x="1175" y="581"/>
                  </a:lnTo>
                  <a:lnTo>
                    <a:pt x="1168" y="587"/>
                  </a:lnTo>
                  <a:lnTo>
                    <a:pt x="1161" y="593"/>
                  </a:lnTo>
                  <a:lnTo>
                    <a:pt x="1155" y="597"/>
                  </a:lnTo>
                  <a:lnTo>
                    <a:pt x="1148" y="601"/>
                  </a:lnTo>
                  <a:lnTo>
                    <a:pt x="1139" y="602"/>
                  </a:lnTo>
                  <a:lnTo>
                    <a:pt x="1132" y="602"/>
                  </a:lnTo>
                  <a:lnTo>
                    <a:pt x="1128" y="601"/>
                  </a:lnTo>
                  <a:lnTo>
                    <a:pt x="1123" y="599"/>
                  </a:lnTo>
                  <a:lnTo>
                    <a:pt x="1119" y="598"/>
                  </a:lnTo>
                  <a:lnTo>
                    <a:pt x="1113" y="591"/>
                  </a:lnTo>
                  <a:lnTo>
                    <a:pt x="1109" y="583"/>
                  </a:lnTo>
                  <a:lnTo>
                    <a:pt x="1097" y="587"/>
                  </a:lnTo>
                  <a:lnTo>
                    <a:pt x="1087" y="591"/>
                  </a:lnTo>
                  <a:lnTo>
                    <a:pt x="1077" y="597"/>
                  </a:lnTo>
                  <a:lnTo>
                    <a:pt x="1067" y="601"/>
                  </a:lnTo>
                  <a:lnTo>
                    <a:pt x="1056" y="606"/>
                  </a:lnTo>
                  <a:lnTo>
                    <a:pt x="1047" y="610"/>
                  </a:lnTo>
                  <a:lnTo>
                    <a:pt x="1036" y="613"/>
                  </a:lnTo>
                  <a:lnTo>
                    <a:pt x="1024" y="614"/>
                  </a:lnTo>
                  <a:lnTo>
                    <a:pt x="1015" y="614"/>
                  </a:lnTo>
                  <a:lnTo>
                    <a:pt x="1007" y="611"/>
                  </a:lnTo>
                  <a:lnTo>
                    <a:pt x="1000" y="609"/>
                  </a:lnTo>
                  <a:lnTo>
                    <a:pt x="993" y="605"/>
                  </a:lnTo>
                  <a:lnTo>
                    <a:pt x="987" y="601"/>
                  </a:lnTo>
                  <a:lnTo>
                    <a:pt x="981" y="595"/>
                  </a:lnTo>
                  <a:lnTo>
                    <a:pt x="976" y="589"/>
                  </a:lnTo>
                  <a:lnTo>
                    <a:pt x="972" y="582"/>
                  </a:lnTo>
                  <a:lnTo>
                    <a:pt x="965" y="566"/>
                  </a:lnTo>
                  <a:lnTo>
                    <a:pt x="960" y="549"/>
                  </a:lnTo>
                  <a:lnTo>
                    <a:pt x="955" y="530"/>
                  </a:lnTo>
                  <a:lnTo>
                    <a:pt x="951" y="511"/>
                  </a:lnTo>
                  <a:lnTo>
                    <a:pt x="947" y="493"/>
                  </a:lnTo>
                  <a:lnTo>
                    <a:pt x="943" y="474"/>
                  </a:lnTo>
                  <a:lnTo>
                    <a:pt x="937" y="457"/>
                  </a:lnTo>
                  <a:lnTo>
                    <a:pt x="931" y="441"/>
                  </a:lnTo>
                  <a:lnTo>
                    <a:pt x="928" y="434"/>
                  </a:lnTo>
                  <a:lnTo>
                    <a:pt x="924" y="429"/>
                  </a:lnTo>
                  <a:lnTo>
                    <a:pt x="919" y="422"/>
                  </a:lnTo>
                  <a:lnTo>
                    <a:pt x="913" y="418"/>
                  </a:lnTo>
                  <a:lnTo>
                    <a:pt x="908" y="414"/>
                  </a:lnTo>
                  <a:lnTo>
                    <a:pt x="901" y="411"/>
                  </a:lnTo>
                  <a:lnTo>
                    <a:pt x="893" y="410"/>
                  </a:lnTo>
                  <a:lnTo>
                    <a:pt x="885" y="409"/>
                  </a:lnTo>
                  <a:lnTo>
                    <a:pt x="856" y="409"/>
                  </a:lnTo>
                  <a:lnTo>
                    <a:pt x="820" y="409"/>
                  </a:lnTo>
                  <a:lnTo>
                    <a:pt x="779" y="409"/>
                  </a:lnTo>
                  <a:lnTo>
                    <a:pt x="735" y="409"/>
                  </a:lnTo>
                  <a:lnTo>
                    <a:pt x="715" y="409"/>
                  </a:lnTo>
                  <a:lnTo>
                    <a:pt x="696" y="407"/>
                  </a:lnTo>
                  <a:lnTo>
                    <a:pt x="688" y="406"/>
                  </a:lnTo>
                  <a:lnTo>
                    <a:pt x="679" y="405"/>
                  </a:lnTo>
                  <a:lnTo>
                    <a:pt x="671" y="402"/>
                  </a:lnTo>
                  <a:lnTo>
                    <a:pt x="664" y="398"/>
                  </a:lnTo>
                  <a:lnTo>
                    <a:pt x="657" y="395"/>
                  </a:lnTo>
                  <a:lnTo>
                    <a:pt x="651" y="390"/>
                  </a:lnTo>
                  <a:lnTo>
                    <a:pt x="645" y="385"/>
                  </a:lnTo>
                  <a:lnTo>
                    <a:pt x="641" y="378"/>
                  </a:lnTo>
                  <a:lnTo>
                    <a:pt x="637" y="371"/>
                  </a:lnTo>
                  <a:lnTo>
                    <a:pt x="635" y="363"/>
                  </a:lnTo>
                  <a:lnTo>
                    <a:pt x="633" y="354"/>
                  </a:lnTo>
                  <a:lnTo>
                    <a:pt x="633" y="344"/>
                  </a:lnTo>
                  <a:lnTo>
                    <a:pt x="621" y="341"/>
                  </a:lnTo>
                  <a:lnTo>
                    <a:pt x="611" y="336"/>
                  </a:lnTo>
                  <a:lnTo>
                    <a:pt x="600" y="330"/>
                  </a:lnTo>
                  <a:lnTo>
                    <a:pt x="592" y="324"/>
                  </a:lnTo>
                  <a:lnTo>
                    <a:pt x="584" y="314"/>
                  </a:lnTo>
                  <a:lnTo>
                    <a:pt x="578" y="304"/>
                  </a:lnTo>
                  <a:lnTo>
                    <a:pt x="576" y="298"/>
                  </a:lnTo>
                  <a:lnTo>
                    <a:pt x="574" y="292"/>
                  </a:lnTo>
                  <a:lnTo>
                    <a:pt x="574" y="285"/>
                  </a:lnTo>
                  <a:lnTo>
                    <a:pt x="572" y="277"/>
                  </a:lnTo>
                  <a:lnTo>
                    <a:pt x="574" y="266"/>
                  </a:lnTo>
                  <a:lnTo>
                    <a:pt x="575" y="256"/>
                  </a:lnTo>
                  <a:lnTo>
                    <a:pt x="579" y="246"/>
                  </a:lnTo>
                  <a:lnTo>
                    <a:pt x="583" y="237"/>
                  </a:lnTo>
                  <a:lnTo>
                    <a:pt x="592" y="220"/>
                  </a:lnTo>
                  <a:lnTo>
                    <a:pt x="603" y="204"/>
                  </a:lnTo>
                  <a:lnTo>
                    <a:pt x="614" y="188"/>
                  </a:lnTo>
                  <a:lnTo>
                    <a:pt x="624" y="169"/>
                  </a:lnTo>
                  <a:lnTo>
                    <a:pt x="627" y="160"/>
                  </a:lnTo>
                  <a:lnTo>
                    <a:pt x="631" y="149"/>
                  </a:lnTo>
                  <a:lnTo>
                    <a:pt x="632" y="138"/>
                  </a:lnTo>
                  <a:lnTo>
                    <a:pt x="633" y="126"/>
                  </a:lnTo>
                  <a:lnTo>
                    <a:pt x="633" y="102"/>
                  </a:lnTo>
                  <a:lnTo>
                    <a:pt x="633" y="85"/>
                  </a:lnTo>
                  <a:lnTo>
                    <a:pt x="633" y="68"/>
                  </a:lnTo>
                  <a:lnTo>
                    <a:pt x="633" y="36"/>
                  </a:lnTo>
                  <a:lnTo>
                    <a:pt x="632" y="25"/>
                  </a:lnTo>
                  <a:lnTo>
                    <a:pt x="629" y="18"/>
                  </a:lnTo>
                  <a:lnTo>
                    <a:pt x="625" y="10"/>
                  </a:lnTo>
                  <a:lnTo>
                    <a:pt x="621" y="0"/>
                  </a:lnTo>
                  <a:lnTo>
                    <a:pt x="604" y="5"/>
                  </a:lnTo>
                  <a:lnTo>
                    <a:pt x="590" y="12"/>
                  </a:lnTo>
                  <a:lnTo>
                    <a:pt x="576" y="20"/>
                  </a:lnTo>
                  <a:lnTo>
                    <a:pt x="563" y="28"/>
                  </a:lnTo>
                  <a:lnTo>
                    <a:pt x="539" y="46"/>
                  </a:lnTo>
                  <a:lnTo>
                    <a:pt x="516" y="66"/>
                  </a:lnTo>
                  <a:lnTo>
                    <a:pt x="504" y="76"/>
                  </a:lnTo>
                  <a:lnTo>
                    <a:pt x="492" y="85"/>
                  </a:lnTo>
                  <a:lnTo>
                    <a:pt x="482" y="93"/>
                  </a:lnTo>
                  <a:lnTo>
                    <a:pt x="468" y="100"/>
                  </a:lnTo>
                  <a:lnTo>
                    <a:pt x="455" y="106"/>
                  </a:lnTo>
                  <a:lnTo>
                    <a:pt x="442" y="110"/>
                  </a:lnTo>
                  <a:lnTo>
                    <a:pt x="427" y="113"/>
                  </a:lnTo>
                  <a:lnTo>
                    <a:pt x="410" y="114"/>
                  </a:lnTo>
                  <a:lnTo>
                    <a:pt x="408" y="113"/>
                  </a:lnTo>
                  <a:lnTo>
                    <a:pt x="406" y="110"/>
                  </a:lnTo>
                  <a:lnTo>
                    <a:pt x="404" y="106"/>
                  </a:lnTo>
                  <a:lnTo>
                    <a:pt x="402" y="101"/>
                  </a:lnTo>
                  <a:lnTo>
                    <a:pt x="399" y="92"/>
                  </a:lnTo>
                  <a:lnTo>
                    <a:pt x="398" y="84"/>
                  </a:lnTo>
                  <a:lnTo>
                    <a:pt x="386" y="84"/>
                  </a:lnTo>
                  <a:lnTo>
                    <a:pt x="379" y="84"/>
                  </a:lnTo>
                  <a:lnTo>
                    <a:pt x="375" y="84"/>
                  </a:lnTo>
                  <a:lnTo>
                    <a:pt x="368" y="84"/>
                  </a:lnTo>
                  <a:lnTo>
                    <a:pt x="352" y="85"/>
                  </a:lnTo>
                  <a:lnTo>
                    <a:pt x="338" y="89"/>
                  </a:lnTo>
                  <a:lnTo>
                    <a:pt x="324" y="94"/>
                  </a:lnTo>
                  <a:lnTo>
                    <a:pt x="312" y="102"/>
                  </a:lnTo>
                  <a:lnTo>
                    <a:pt x="302" y="112"/>
                  </a:lnTo>
                  <a:lnTo>
                    <a:pt x="291" y="122"/>
                  </a:lnTo>
                  <a:lnTo>
                    <a:pt x="283" y="136"/>
                  </a:lnTo>
                  <a:lnTo>
                    <a:pt x="275" y="149"/>
                  </a:lnTo>
                  <a:lnTo>
                    <a:pt x="268" y="164"/>
                  </a:lnTo>
                  <a:lnTo>
                    <a:pt x="262" y="178"/>
                  </a:lnTo>
                  <a:lnTo>
                    <a:pt x="256" y="194"/>
                  </a:lnTo>
                  <a:lnTo>
                    <a:pt x="251" y="212"/>
                  </a:lnTo>
                  <a:lnTo>
                    <a:pt x="243" y="245"/>
                  </a:lnTo>
                  <a:lnTo>
                    <a:pt x="235" y="277"/>
                  </a:lnTo>
                  <a:lnTo>
                    <a:pt x="235" y="282"/>
                  </a:lnTo>
                  <a:lnTo>
                    <a:pt x="232" y="288"/>
                  </a:lnTo>
                  <a:lnTo>
                    <a:pt x="228" y="294"/>
                  </a:lnTo>
                  <a:lnTo>
                    <a:pt x="224" y="301"/>
                  </a:lnTo>
                  <a:lnTo>
                    <a:pt x="212" y="316"/>
                  </a:lnTo>
                  <a:lnTo>
                    <a:pt x="198" y="332"/>
                  </a:lnTo>
                  <a:lnTo>
                    <a:pt x="167" y="361"/>
                  </a:lnTo>
                  <a:lnTo>
                    <a:pt x="146" y="385"/>
                  </a:lnTo>
                  <a:lnTo>
                    <a:pt x="135" y="399"/>
                  </a:lnTo>
                  <a:lnTo>
                    <a:pt x="126" y="413"/>
                  </a:lnTo>
                  <a:lnTo>
                    <a:pt x="118" y="427"/>
                  </a:lnTo>
                  <a:lnTo>
                    <a:pt x="111" y="442"/>
                  </a:lnTo>
                  <a:lnTo>
                    <a:pt x="100" y="471"/>
                  </a:lnTo>
                  <a:lnTo>
                    <a:pt x="91" y="502"/>
                  </a:lnTo>
                  <a:lnTo>
                    <a:pt x="83" y="535"/>
                  </a:lnTo>
                  <a:lnTo>
                    <a:pt x="76" y="569"/>
                  </a:lnTo>
                  <a:lnTo>
                    <a:pt x="67" y="602"/>
                  </a:lnTo>
                  <a:lnTo>
                    <a:pt x="55" y="638"/>
                  </a:lnTo>
                  <a:lnTo>
                    <a:pt x="50" y="650"/>
                  </a:lnTo>
                  <a:lnTo>
                    <a:pt x="42" y="661"/>
                  </a:lnTo>
                  <a:lnTo>
                    <a:pt x="32" y="673"/>
                  </a:lnTo>
                  <a:lnTo>
                    <a:pt x="23" y="683"/>
                  </a:lnTo>
                  <a:lnTo>
                    <a:pt x="15" y="695"/>
                  </a:lnTo>
                  <a:lnTo>
                    <a:pt x="7" y="709"/>
                  </a:lnTo>
                  <a:lnTo>
                    <a:pt x="4" y="715"/>
                  </a:lnTo>
                  <a:lnTo>
                    <a:pt x="3" y="721"/>
                  </a:lnTo>
                  <a:lnTo>
                    <a:pt x="2" y="727"/>
                  </a:lnTo>
                  <a:lnTo>
                    <a:pt x="0" y="734"/>
                  </a:lnTo>
                  <a:lnTo>
                    <a:pt x="2" y="739"/>
                  </a:lnTo>
                  <a:lnTo>
                    <a:pt x="6" y="745"/>
                  </a:lnTo>
                  <a:lnTo>
                    <a:pt x="10" y="750"/>
                  </a:lnTo>
                  <a:lnTo>
                    <a:pt x="16" y="755"/>
                  </a:lnTo>
                  <a:lnTo>
                    <a:pt x="26" y="765"/>
                  </a:lnTo>
                  <a:lnTo>
                    <a:pt x="31" y="770"/>
                  </a:lnTo>
                  <a:lnTo>
                    <a:pt x="38" y="791"/>
                  </a:lnTo>
                  <a:lnTo>
                    <a:pt x="47" y="811"/>
                  </a:lnTo>
                  <a:lnTo>
                    <a:pt x="56" y="827"/>
                  </a:lnTo>
                  <a:lnTo>
                    <a:pt x="67" y="843"/>
                  </a:lnTo>
                  <a:lnTo>
                    <a:pt x="79" y="857"/>
                  </a:lnTo>
                  <a:lnTo>
                    <a:pt x="91" y="869"/>
                  </a:lnTo>
                  <a:lnTo>
                    <a:pt x="103" y="881"/>
                  </a:lnTo>
                  <a:lnTo>
                    <a:pt x="115" y="893"/>
                  </a:lnTo>
                  <a:lnTo>
                    <a:pt x="140" y="915"/>
                  </a:lnTo>
                  <a:lnTo>
                    <a:pt x="163" y="939"/>
                  </a:lnTo>
                  <a:lnTo>
                    <a:pt x="174" y="954"/>
                  </a:lnTo>
                  <a:lnTo>
                    <a:pt x="183" y="968"/>
                  </a:lnTo>
                  <a:lnTo>
                    <a:pt x="192" y="986"/>
                  </a:lnTo>
                  <a:lnTo>
                    <a:pt x="199" y="1006"/>
                  </a:lnTo>
                  <a:lnTo>
                    <a:pt x="215" y="1027"/>
                  </a:lnTo>
                  <a:lnTo>
                    <a:pt x="234" y="1048"/>
                  </a:lnTo>
                  <a:lnTo>
                    <a:pt x="242" y="1060"/>
                  </a:lnTo>
                  <a:lnTo>
                    <a:pt x="248" y="1072"/>
                  </a:lnTo>
                  <a:lnTo>
                    <a:pt x="250" y="1079"/>
                  </a:lnTo>
                  <a:lnTo>
                    <a:pt x="252" y="1087"/>
                  </a:lnTo>
                  <a:lnTo>
                    <a:pt x="254" y="1094"/>
                  </a:lnTo>
                  <a:lnTo>
                    <a:pt x="254" y="1102"/>
                  </a:lnTo>
                  <a:lnTo>
                    <a:pt x="252" y="1115"/>
                  </a:lnTo>
                  <a:lnTo>
                    <a:pt x="251" y="1127"/>
                  </a:lnTo>
                  <a:lnTo>
                    <a:pt x="248" y="1139"/>
                  </a:lnTo>
                  <a:lnTo>
                    <a:pt x="244" y="1150"/>
                  </a:lnTo>
                  <a:lnTo>
                    <a:pt x="242" y="1162"/>
                  </a:lnTo>
                  <a:lnTo>
                    <a:pt x="239" y="1172"/>
                  </a:lnTo>
                  <a:lnTo>
                    <a:pt x="236" y="1184"/>
                  </a:lnTo>
                  <a:lnTo>
                    <a:pt x="235" y="1198"/>
                  </a:lnTo>
                  <a:lnTo>
                    <a:pt x="236" y="1222"/>
                  </a:lnTo>
                  <a:lnTo>
                    <a:pt x="239" y="1246"/>
                  </a:lnTo>
                  <a:lnTo>
                    <a:pt x="242" y="1268"/>
                  </a:lnTo>
                  <a:lnTo>
                    <a:pt x="244" y="1291"/>
                  </a:lnTo>
                  <a:lnTo>
                    <a:pt x="248" y="1314"/>
                  </a:lnTo>
                  <a:lnTo>
                    <a:pt x="251" y="1336"/>
                  </a:lnTo>
                  <a:lnTo>
                    <a:pt x="252" y="1360"/>
                  </a:lnTo>
                  <a:lnTo>
                    <a:pt x="254" y="1384"/>
                  </a:lnTo>
                  <a:lnTo>
                    <a:pt x="254" y="1415"/>
                  </a:lnTo>
                  <a:lnTo>
                    <a:pt x="254" y="1446"/>
                  </a:lnTo>
                  <a:lnTo>
                    <a:pt x="254" y="1474"/>
                  </a:lnTo>
                  <a:lnTo>
                    <a:pt x="254" y="1494"/>
                  </a:lnTo>
                  <a:lnTo>
                    <a:pt x="251" y="1504"/>
                  </a:lnTo>
                  <a:lnTo>
                    <a:pt x="246" y="1519"/>
                  </a:lnTo>
                  <a:lnTo>
                    <a:pt x="243" y="1527"/>
                  </a:lnTo>
                  <a:lnTo>
                    <a:pt x="240" y="1535"/>
                  </a:lnTo>
                  <a:lnTo>
                    <a:pt x="240" y="1544"/>
                  </a:lnTo>
                  <a:lnTo>
                    <a:pt x="242" y="1553"/>
                  </a:lnTo>
                  <a:lnTo>
                    <a:pt x="246" y="1564"/>
                  </a:lnTo>
                  <a:lnTo>
                    <a:pt x="251" y="1572"/>
                  </a:lnTo>
                  <a:lnTo>
                    <a:pt x="259" y="1580"/>
                  </a:lnTo>
                  <a:lnTo>
                    <a:pt x="267" y="1585"/>
                  </a:lnTo>
                  <a:lnTo>
                    <a:pt x="284" y="1596"/>
                  </a:lnTo>
                  <a:lnTo>
                    <a:pt x="304" y="1604"/>
                  </a:lnTo>
                  <a:lnTo>
                    <a:pt x="324" y="1612"/>
                  </a:lnTo>
                  <a:lnTo>
                    <a:pt x="343" y="1623"/>
                  </a:lnTo>
                  <a:lnTo>
                    <a:pt x="351" y="1629"/>
                  </a:lnTo>
                  <a:lnTo>
                    <a:pt x="358" y="1636"/>
                  </a:lnTo>
                  <a:lnTo>
                    <a:pt x="364" y="1645"/>
                  </a:lnTo>
                  <a:lnTo>
                    <a:pt x="368" y="1656"/>
                  </a:lnTo>
                  <a:lnTo>
                    <a:pt x="375" y="1679"/>
                  </a:lnTo>
                  <a:lnTo>
                    <a:pt x="382" y="1705"/>
                  </a:lnTo>
                  <a:lnTo>
                    <a:pt x="387" y="1735"/>
                  </a:lnTo>
                  <a:lnTo>
                    <a:pt x="394" y="1763"/>
                  </a:lnTo>
                  <a:lnTo>
                    <a:pt x="402" y="1811"/>
                  </a:lnTo>
                  <a:lnTo>
                    <a:pt x="404" y="1831"/>
                  </a:lnTo>
                  <a:lnTo>
                    <a:pt x="410" y="1831"/>
                  </a:lnTo>
                  <a:lnTo>
                    <a:pt x="419" y="1839"/>
                  </a:lnTo>
                  <a:lnTo>
                    <a:pt x="431" y="1847"/>
                  </a:lnTo>
                  <a:lnTo>
                    <a:pt x="438" y="1849"/>
                  </a:lnTo>
                  <a:lnTo>
                    <a:pt x="446" y="1852"/>
                  </a:lnTo>
                  <a:lnTo>
                    <a:pt x="454" y="1853"/>
                  </a:lnTo>
                  <a:lnTo>
                    <a:pt x="464" y="1855"/>
                  </a:lnTo>
                  <a:lnTo>
                    <a:pt x="475" y="1853"/>
                  </a:lnTo>
                  <a:lnTo>
                    <a:pt x="484" y="1852"/>
                  </a:lnTo>
                  <a:lnTo>
                    <a:pt x="494" y="1851"/>
                  </a:lnTo>
                  <a:lnTo>
                    <a:pt x="500" y="1848"/>
                  </a:lnTo>
                  <a:lnTo>
                    <a:pt x="507" y="1845"/>
                  </a:lnTo>
                  <a:lnTo>
                    <a:pt x="514" y="1841"/>
                  </a:lnTo>
                  <a:lnTo>
                    <a:pt x="519" y="1837"/>
                  </a:lnTo>
                  <a:lnTo>
                    <a:pt x="524" y="1833"/>
                  </a:lnTo>
                  <a:lnTo>
                    <a:pt x="542" y="1813"/>
                  </a:lnTo>
                  <a:lnTo>
                    <a:pt x="560" y="1795"/>
                  </a:lnTo>
                  <a:lnTo>
                    <a:pt x="571" y="1789"/>
                  </a:lnTo>
                  <a:lnTo>
                    <a:pt x="583" y="1785"/>
                  </a:lnTo>
                  <a:lnTo>
                    <a:pt x="595" y="1783"/>
                  </a:lnTo>
                  <a:lnTo>
                    <a:pt x="608" y="1781"/>
                  </a:lnTo>
                  <a:lnTo>
                    <a:pt x="633" y="1781"/>
                  </a:lnTo>
                  <a:lnTo>
                    <a:pt x="661" y="1781"/>
                  </a:lnTo>
                  <a:lnTo>
                    <a:pt x="687" y="1783"/>
                  </a:lnTo>
                  <a:lnTo>
                    <a:pt x="711" y="1783"/>
                  </a:lnTo>
                  <a:lnTo>
                    <a:pt x="721" y="1781"/>
                  </a:lnTo>
                  <a:lnTo>
                    <a:pt x="731" y="1779"/>
                  </a:lnTo>
                  <a:lnTo>
                    <a:pt x="740" y="1775"/>
                  </a:lnTo>
                  <a:lnTo>
                    <a:pt x="748" y="1769"/>
                  </a:lnTo>
                  <a:lnTo>
                    <a:pt x="753" y="1767"/>
                  </a:lnTo>
                  <a:lnTo>
                    <a:pt x="759" y="1760"/>
                  </a:lnTo>
                  <a:lnTo>
                    <a:pt x="764" y="1752"/>
                  </a:lnTo>
                  <a:lnTo>
                    <a:pt x="768" y="1744"/>
                  </a:lnTo>
                  <a:lnTo>
                    <a:pt x="772" y="1736"/>
                  </a:lnTo>
                  <a:lnTo>
                    <a:pt x="775" y="1728"/>
                  </a:lnTo>
                  <a:lnTo>
                    <a:pt x="779" y="1724"/>
                  </a:lnTo>
                  <a:lnTo>
                    <a:pt x="784" y="1721"/>
                  </a:lnTo>
                  <a:lnTo>
                    <a:pt x="792" y="1716"/>
                  </a:lnTo>
                  <a:lnTo>
                    <a:pt x="801" y="1713"/>
                  </a:lnTo>
                  <a:lnTo>
                    <a:pt x="811" y="1713"/>
                  </a:lnTo>
                  <a:lnTo>
                    <a:pt x="820" y="1713"/>
                  </a:lnTo>
                  <a:lnTo>
                    <a:pt x="828" y="1712"/>
                  </a:lnTo>
                  <a:lnTo>
                    <a:pt x="837" y="1712"/>
                  </a:lnTo>
                  <a:lnTo>
                    <a:pt x="847" y="1709"/>
                  </a:lnTo>
                  <a:lnTo>
                    <a:pt x="856" y="1704"/>
                  </a:lnTo>
                  <a:lnTo>
                    <a:pt x="860" y="1701"/>
                  </a:lnTo>
                  <a:lnTo>
                    <a:pt x="863" y="1697"/>
                  </a:lnTo>
                  <a:lnTo>
                    <a:pt x="867" y="1693"/>
                  </a:lnTo>
                  <a:lnTo>
                    <a:pt x="868" y="1689"/>
                  </a:lnTo>
                  <a:lnTo>
                    <a:pt x="872" y="1679"/>
                  </a:lnTo>
                  <a:lnTo>
                    <a:pt x="876" y="1669"/>
                  </a:lnTo>
                  <a:lnTo>
                    <a:pt x="879" y="1659"/>
                  </a:lnTo>
                  <a:lnTo>
                    <a:pt x="884" y="1651"/>
                  </a:lnTo>
                  <a:lnTo>
                    <a:pt x="888" y="1648"/>
                  </a:lnTo>
                  <a:lnTo>
                    <a:pt x="892" y="1645"/>
                  </a:lnTo>
                  <a:lnTo>
                    <a:pt x="897" y="1644"/>
                  </a:lnTo>
                  <a:lnTo>
                    <a:pt x="904" y="1644"/>
                  </a:lnTo>
                  <a:lnTo>
                    <a:pt x="909" y="1644"/>
                  </a:lnTo>
                  <a:lnTo>
                    <a:pt x="916" y="1647"/>
                  </a:lnTo>
                  <a:lnTo>
                    <a:pt x="923" y="1649"/>
                  </a:lnTo>
                  <a:lnTo>
                    <a:pt x="932" y="1653"/>
                  </a:lnTo>
                  <a:lnTo>
                    <a:pt x="949" y="1663"/>
                  </a:lnTo>
                  <a:lnTo>
                    <a:pt x="969" y="1675"/>
                  </a:lnTo>
                  <a:lnTo>
                    <a:pt x="1007" y="1699"/>
                  </a:lnTo>
                  <a:lnTo>
                    <a:pt x="1031" y="1716"/>
                  </a:lnTo>
                  <a:lnTo>
                    <a:pt x="1044" y="1721"/>
                  </a:lnTo>
                  <a:lnTo>
                    <a:pt x="1056" y="1724"/>
                  </a:lnTo>
                  <a:lnTo>
                    <a:pt x="1069" y="1727"/>
                  </a:lnTo>
                  <a:lnTo>
                    <a:pt x="1081" y="1728"/>
                  </a:lnTo>
                  <a:lnTo>
                    <a:pt x="1095" y="1731"/>
                  </a:lnTo>
                  <a:lnTo>
                    <a:pt x="1107" y="1733"/>
                  </a:lnTo>
                  <a:lnTo>
                    <a:pt x="1120" y="1739"/>
                  </a:lnTo>
                  <a:lnTo>
                    <a:pt x="1133" y="1745"/>
                  </a:lnTo>
                  <a:lnTo>
                    <a:pt x="1144" y="1755"/>
                  </a:lnTo>
                  <a:lnTo>
                    <a:pt x="1153" y="1764"/>
                  </a:lnTo>
                  <a:lnTo>
                    <a:pt x="1163" y="1773"/>
                  </a:lnTo>
                  <a:lnTo>
                    <a:pt x="1172" y="1784"/>
                  </a:lnTo>
                  <a:lnTo>
                    <a:pt x="1180" y="1793"/>
                  </a:lnTo>
                  <a:lnTo>
                    <a:pt x="1187" y="1804"/>
                  </a:lnTo>
                  <a:lnTo>
                    <a:pt x="1193" y="1815"/>
                  </a:lnTo>
                  <a:lnTo>
                    <a:pt x="1199" y="1827"/>
                  </a:lnTo>
                  <a:lnTo>
                    <a:pt x="1209" y="1851"/>
                  </a:lnTo>
                  <a:lnTo>
                    <a:pt x="1217" y="1877"/>
                  </a:lnTo>
                  <a:lnTo>
                    <a:pt x="1224" y="1907"/>
                  </a:lnTo>
                  <a:lnTo>
                    <a:pt x="1229" y="1939"/>
                  </a:lnTo>
                  <a:lnTo>
                    <a:pt x="1237" y="1952"/>
                  </a:lnTo>
                  <a:lnTo>
                    <a:pt x="1257" y="1981"/>
                  </a:lnTo>
                  <a:lnTo>
                    <a:pt x="1277" y="2012"/>
                  </a:lnTo>
                  <a:lnTo>
                    <a:pt x="1289" y="2029"/>
                  </a:lnTo>
                  <a:lnTo>
                    <a:pt x="1296" y="2041"/>
                  </a:lnTo>
                  <a:lnTo>
                    <a:pt x="1305" y="2052"/>
                  </a:lnTo>
                  <a:lnTo>
                    <a:pt x="1317" y="2061"/>
                  </a:lnTo>
                  <a:lnTo>
                    <a:pt x="1331" y="2071"/>
                  </a:lnTo>
                  <a:lnTo>
                    <a:pt x="1345" y="2079"/>
                  </a:lnTo>
                  <a:lnTo>
                    <a:pt x="1361" y="2087"/>
                  </a:lnTo>
                  <a:lnTo>
                    <a:pt x="1379" y="2093"/>
                  </a:lnTo>
                  <a:lnTo>
                    <a:pt x="1396" y="2100"/>
                  </a:lnTo>
                  <a:lnTo>
                    <a:pt x="1433" y="2112"/>
                  </a:lnTo>
                  <a:lnTo>
                    <a:pt x="1469" y="2122"/>
                  </a:lnTo>
                  <a:lnTo>
                    <a:pt x="1502" y="2132"/>
                  </a:lnTo>
                  <a:lnTo>
                    <a:pt x="1530" y="2144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accent1">
                  <a:lumMod val="20000"/>
                  <a:lumOff val="8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95" b="0" i="0" u="none" strike="noStrike" kern="1200" cap="none" spc="0" normalizeH="0" baseline="0" noProof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3" name="Freeform 3"/>
            <p:cNvSpPr>
              <a:spLocks/>
            </p:cNvSpPr>
            <p:nvPr/>
          </p:nvSpPr>
          <p:spPr bwMode="auto">
            <a:xfrm>
              <a:off x="5752413" y="2392437"/>
              <a:ext cx="7782" cy="9668"/>
            </a:xfrm>
            <a:custGeom>
              <a:avLst/>
              <a:gdLst>
                <a:gd name="T0" fmla="*/ 67 w 108"/>
                <a:gd name="T1" fmla="*/ 0 h 132"/>
                <a:gd name="T2" fmla="*/ 0 w 108"/>
                <a:gd name="T3" fmla="*/ 89 h 132"/>
                <a:gd name="T4" fmla="*/ 4 w 108"/>
                <a:gd name="T5" fmla="*/ 93 h 132"/>
                <a:gd name="T6" fmla="*/ 7 w 108"/>
                <a:gd name="T7" fmla="*/ 97 h 132"/>
                <a:gd name="T8" fmla="*/ 7 w 108"/>
                <a:gd name="T9" fmla="*/ 102 h 132"/>
                <a:gd name="T10" fmla="*/ 7 w 108"/>
                <a:gd name="T11" fmla="*/ 108 h 132"/>
                <a:gd name="T12" fmla="*/ 4 w 108"/>
                <a:gd name="T13" fmla="*/ 121 h 132"/>
                <a:gd name="T14" fmla="*/ 0 w 108"/>
                <a:gd name="T15" fmla="*/ 132 h 132"/>
                <a:gd name="T16" fmla="*/ 108 w 108"/>
                <a:gd name="T17" fmla="*/ 132 h 132"/>
                <a:gd name="T18" fmla="*/ 67 w 108"/>
                <a:gd name="T19" fmla="*/ 0 h 13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08"/>
                <a:gd name="T31" fmla="*/ 0 h 132"/>
                <a:gd name="T32" fmla="*/ 108 w 108"/>
                <a:gd name="T33" fmla="*/ 132 h 13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08" h="132">
                  <a:moveTo>
                    <a:pt x="67" y="0"/>
                  </a:moveTo>
                  <a:lnTo>
                    <a:pt x="0" y="89"/>
                  </a:lnTo>
                  <a:lnTo>
                    <a:pt x="4" y="93"/>
                  </a:lnTo>
                  <a:lnTo>
                    <a:pt x="7" y="97"/>
                  </a:lnTo>
                  <a:lnTo>
                    <a:pt x="7" y="102"/>
                  </a:lnTo>
                  <a:lnTo>
                    <a:pt x="7" y="108"/>
                  </a:lnTo>
                  <a:lnTo>
                    <a:pt x="4" y="121"/>
                  </a:lnTo>
                  <a:lnTo>
                    <a:pt x="0" y="132"/>
                  </a:lnTo>
                  <a:lnTo>
                    <a:pt x="108" y="132"/>
                  </a:lnTo>
                  <a:lnTo>
                    <a:pt x="67" y="0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accent1">
                  <a:lumMod val="20000"/>
                  <a:lumOff val="8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95" b="0" i="0" u="none" strike="noStrike" kern="1200" cap="none" spc="0" normalizeH="0" baseline="0" noProof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4" name="Freeform 4"/>
            <p:cNvSpPr>
              <a:spLocks/>
            </p:cNvSpPr>
            <p:nvPr/>
          </p:nvSpPr>
          <p:spPr bwMode="auto">
            <a:xfrm>
              <a:off x="5745574" y="2399040"/>
              <a:ext cx="3066" cy="4716"/>
            </a:xfrm>
            <a:custGeom>
              <a:avLst/>
              <a:gdLst>
                <a:gd name="T0" fmla="*/ 0 w 42"/>
                <a:gd name="T1" fmla="*/ 61 h 67"/>
                <a:gd name="T2" fmla="*/ 7 w 42"/>
                <a:gd name="T3" fmla="*/ 59 h 67"/>
                <a:gd name="T4" fmla="*/ 14 w 42"/>
                <a:gd name="T5" fmla="*/ 59 h 67"/>
                <a:gd name="T6" fmla="*/ 20 w 42"/>
                <a:gd name="T7" fmla="*/ 59 h 67"/>
                <a:gd name="T8" fmla="*/ 26 w 42"/>
                <a:gd name="T9" fmla="*/ 59 h 67"/>
                <a:gd name="T10" fmla="*/ 36 w 42"/>
                <a:gd name="T11" fmla="*/ 63 h 67"/>
                <a:gd name="T12" fmla="*/ 42 w 42"/>
                <a:gd name="T13" fmla="*/ 67 h 67"/>
                <a:gd name="T14" fmla="*/ 42 w 42"/>
                <a:gd name="T15" fmla="*/ 0 h 67"/>
                <a:gd name="T16" fmla="*/ 30 w 42"/>
                <a:gd name="T17" fmla="*/ 15 h 67"/>
                <a:gd name="T18" fmla="*/ 19 w 42"/>
                <a:gd name="T19" fmla="*/ 28 h 67"/>
                <a:gd name="T20" fmla="*/ 10 w 42"/>
                <a:gd name="T21" fmla="*/ 44 h 67"/>
                <a:gd name="T22" fmla="*/ 0 w 42"/>
                <a:gd name="T23" fmla="*/ 61 h 6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2"/>
                <a:gd name="T37" fmla="*/ 0 h 67"/>
                <a:gd name="T38" fmla="*/ 42 w 42"/>
                <a:gd name="T39" fmla="*/ 67 h 67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2" h="67">
                  <a:moveTo>
                    <a:pt x="0" y="61"/>
                  </a:moveTo>
                  <a:lnTo>
                    <a:pt x="7" y="59"/>
                  </a:lnTo>
                  <a:lnTo>
                    <a:pt x="14" y="59"/>
                  </a:lnTo>
                  <a:lnTo>
                    <a:pt x="20" y="59"/>
                  </a:lnTo>
                  <a:lnTo>
                    <a:pt x="26" y="59"/>
                  </a:lnTo>
                  <a:lnTo>
                    <a:pt x="36" y="63"/>
                  </a:lnTo>
                  <a:lnTo>
                    <a:pt x="42" y="67"/>
                  </a:lnTo>
                  <a:lnTo>
                    <a:pt x="42" y="0"/>
                  </a:lnTo>
                  <a:lnTo>
                    <a:pt x="30" y="15"/>
                  </a:lnTo>
                  <a:lnTo>
                    <a:pt x="19" y="28"/>
                  </a:lnTo>
                  <a:lnTo>
                    <a:pt x="10" y="44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accent1">
                  <a:lumMod val="20000"/>
                  <a:lumOff val="8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95" b="0" i="0" u="none" strike="noStrike" kern="1200" cap="none" spc="0" normalizeH="0" baseline="0" noProof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5" name="Freeform 122"/>
            <p:cNvSpPr>
              <a:spLocks/>
            </p:cNvSpPr>
            <p:nvPr/>
          </p:nvSpPr>
          <p:spPr bwMode="auto">
            <a:xfrm>
              <a:off x="5112413" y="2209916"/>
              <a:ext cx="171909" cy="213412"/>
            </a:xfrm>
            <a:custGeom>
              <a:avLst/>
              <a:gdLst>
                <a:gd name="T0" fmla="*/ 2271 w 2386"/>
                <a:gd name="T1" fmla="*/ 2839 h 2965"/>
                <a:gd name="T2" fmla="*/ 2277 w 2386"/>
                <a:gd name="T3" fmla="*/ 2652 h 2965"/>
                <a:gd name="T4" fmla="*/ 2375 w 2386"/>
                <a:gd name="T5" fmla="*/ 2372 h 2965"/>
                <a:gd name="T6" fmla="*/ 2247 w 2386"/>
                <a:gd name="T7" fmla="*/ 2226 h 2965"/>
                <a:gd name="T8" fmla="*/ 2131 w 2386"/>
                <a:gd name="T9" fmla="*/ 1802 h 2965"/>
                <a:gd name="T10" fmla="*/ 2039 w 2386"/>
                <a:gd name="T11" fmla="*/ 1519 h 2965"/>
                <a:gd name="T12" fmla="*/ 2143 w 2386"/>
                <a:gd name="T13" fmla="*/ 1357 h 2965"/>
                <a:gd name="T14" fmla="*/ 2073 w 2386"/>
                <a:gd name="T15" fmla="*/ 1176 h 2965"/>
                <a:gd name="T16" fmla="*/ 1879 w 2386"/>
                <a:gd name="T17" fmla="*/ 1072 h 2965"/>
                <a:gd name="T18" fmla="*/ 1991 w 2386"/>
                <a:gd name="T19" fmla="*/ 876 h 2965"/>
                <a:gd name="T20" fmla="*/ 1959 w 2386"/>
                <a:gd name="T21" fmla="*/ 637 h 2965"/>
                <a:gd name="T22" fmla="*/ 2027 w 2386"/>
                <a:gd name="T23" fmla="*/ 467 h 2965"/>
                <a:gd name="T24" fmla="*/ 1915 w 2386"/>
                <a:gd name="T25" fmla="*/ 340 h 2965"/>
                <a:gd name="T26" fmla="*/ 1874 w 2386"/>
                <a:gd name="T27" fmla="*/ 448 h 2965"/>
                <a:gd name="T28" fmla="*/ 1686 w 2386"/>
                <a:gd name="T29" fmla="*/ 467 h 2965"/>
                <a:gd name="T30" fmla="*/ 1865 w 2386"/>
                <a:gd name="T31" fmla="*/ 677 h 2965"/>
                <a:gd name="T32" fmla="*/ 1741 w 2386"/>
                <a:gd name="T33" fmla="*/ 620 h 2965"/>
                <a:gd name="T34" fmla="*/ 1629 w 2386"/>
                <a:gd name="T35" fmla="*/ 440 h 2965"/>
                <a:gd name="T36" fmla="*/ 1659 w 2386"/>
                <a:gd name="T37" fmla="*/ 127 h 2965"/>
                <a:gd name="T38" fmla="*/ 1566 w 2386"/>
                <a:gd name="T39" fmla="*/ 352 h 2965"/>
                <a:gd name="T40" fmla="*/ 1460 w 2386"/>
                <a:gd name="T41" fmla="*/ 657 h 2965"/>
                <a:gd name="T42" fmla="*/ 1376 w 2386"/>
                <a:gd name="T43" fmla="*/ 968 h 2965"/>
                <a:gd name="T44" fmla="*/ 1578 w 2386"/>
                <a:gd name="T45" fmla="*/ 1104 h 2965"/>
                <a:gd name="T46" fmla="*/ 1685 w 2386"/>
                <a:gd name="T47" fmla="*/ 1362 h 2965"/>
                <a:gd name="T48" fmla="*/ 1678 w 2386"/>
                <a:gd name="T49" fmla="*/ 1529 h 2965"/>
                <a:gd name="T50" fmla="*/ 1598 w 2386"/>
                <a:gd name="T51" fmla="*/ 1509 h 2965"/>
                <a:gd name="T52" fmla="*/ 1545 w 2386"/>
                <a:gd name="T53" fmla="*/ 1162 h 2965"/>
                <a:gd name="T54" fmla="*/ 1369 w 2386"/>
                <a:gd name="T55" fmla="*/ 1244 h 2965"/>
                <a:gd name="T56" fmla="*/ 1225 w 2386"/>
                <a:gd name="T57" fmla="*/ 1622 h 2965"/>
                <a:gd name="T58" fmla="*/ 1040 w 2386"/>
                <a:gd name="T59" fmla="*/ 1738 h 2965"/>
                <a:gd name="T60" fmla="*/ 821 w 2386"/>
                <a:gd name="T61" fmla="*/ 1631 h 2965"/>
                <a:gd name="T62" fmla="*/ 844 w 2386"/>
                <a:gd name="T63" fmla="*/ 1534 h 2965"/>
                <a:gd name="T64" fmla="*/ 976 w 2386"/>
                <a:gd name="T65" fmla="*/ 1671 h 2965"/>
                <a:gd name="T66" fmla="*/ 1224 w 2386"/>
                <a:gd name="T67" fmla="*/ 1391 h 2965"/>
                <a:gd name="T68" fmla="*/ 1324 w 2386"/>
                <a:gd name="T69" fmla="*/ 1261 h 2965"/>
                <a:gd name="T70" fmla="*/ 1294 w 2386"/>
                <a:gd name="T71" fmla="*/ 850 h 2965"/>
                <a:gd name="T72" fmla="*/ 1354 w 2386"/>
                <a:gd name="T73" fmla="*/ 469 h 2965"/>
                <a:gd name="T74" fmla="*/ 1497 w 2386"/>
                <a:gd name="T75" fmla="*/ 204 h 2965"/>
                <a:gd name="T76" fmla="*/ 1282 w 2386"/>
                <a:gd name="T77" fmla="*/ 3 h 2965"/>
                <a:gd name="T78" fmla="*/ 1068 w 2386"/>
                <a:gd name="T79" fmla="*/ 311 h 2965"/>
                <a:gd name="T80" fmla="*/ 888 w 2386"/>
                <a:gd name="T81" fmla="*/ 449 h 2965"/>
                <a:gd name="T82" fmla="*/ 884 w 2386"/>
                <a:gd name="T83" fmla="*/ 611 h 2965"/>
                <a:gd name="T84" fmla="*/ 832 w 2386"/>
                <a:gd name="T85" fmla="*/ 816 h 2965"/>
                <a:gd name="T86" fmla="*/ 912 w 2386"/>
                <a:gd name="T87" fmla="*/ 1057 h 2965"/>
                <a:gd name="T88" fmla="*/ 775 w 2386"/>
                <a:gd name="T89" fmla="*/ 1046 h 2965"/>
                <a:gd name="T90" fmla="*/ 568 w 2386"/>
                <a:gd name="T91" fmla="*/ 878 h 2965"/>
                <a:gd name="T92" fmla="*/ 559 w 2386"/>
                <a:gd name="T93" fmla="*/ 1088 h 2965"/>
                <a:gd name="T94" fmla="*/ 587 w 2386"/>
                <a:gd name="T95" fmla="*/ 1232 h 2965"/>
                <a:gd name="T96" fmla="*/ 260 w 2386"/>
                <a:gd name="T97" fmla="*/ 1430 h 2965"/>
                <a:gd name="T98" fmla="*/ 55 w 2386"/>
                <a:gd name="T99" fmla="*/ 1705 h 2965"/>
                <a:gd name="T100" fmla="*/ 61 w 2386"/>
                <a:gd name="T101" fmla="*/ 1889 h 2965"/>
                <a:gd name="T102" fmla="*/ 321 w 2386"/>
                <a:gd name="T103" fmla="*/ 1955 h 2965"/>
                <a:gd name="T104" fmla="*/ 421 w 2386"/>
                <a:gd name="T105" fmla="*/ 2150 h 2965"/>
                <a:gd name="T106" fmla="*/ 576 w 2386"/>
                <a:gd name="T107" fmla="*/ 2146 h 2965"/>
                <a:gd name="T108" fmla="*/ 760 w 2386"/>
                <a:gd name="T109" fmla="*/ 2214 h 2965"/>
                <a:gd name="T110" fmla="*/ 830 w 2386"/>
                <a:gd name="T111" fmla="*/ 2471 h 2965"/>
                <a:gd name="T112" fmla="*/ 1285 w 2386"/>
                <a:gd name="T113" fmla="*/ 2631 h 2965"/>
                <a:gd name="T114" fmla="*/ 1525 w 2386"/>
                <a:gd name="T115" fmla="*/ 2809 h 2965"/>
                <a:gd name="T116" fmla="*/ 1797 w 2386"/>
                <a:gd name="T117" fmla="*/ 2720 h 2965"/>
                <a:gd name="T118" fmla="*/ 1943 w 2386"/>
                <a:gd name="T119" fmla="*/ 2815 h 2965"/>
                <a:gd name="T120" fmla="*/ 2077 w 2386"/>
                <a:gd name="T121" fmla="*/ 2901 h 2965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2386"/>
                <a:gd name="T184" fmla="*/ 0 h 2965"/>
                <a:gd name="T185" fmla="*/ 2386 w 2386"/>
                <a:gd name="T186" fmla="*/ 2965 h 2965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2386" h="2965">
                  <a:moveTo>
                    <a:pt x="2181" y="2960"/>
                  </a:moveTo>
                  <a:lnTo>
                    <a:pt x="2181" y="2965"/>
                  </a:lnTo>
                  <a:lnTo>
                    <a:pt x="2193" y="2963"/>
                  </a:lnTo>
                  <a:lnTo>
                    <a:pt x="2202" y="2963"/>
                  </a:lnTo>
                  <a:lnTo>
                    <a:pt x="2206" y="2961"/>
                  </a:lnTo>
                  <a:lnTo>
                    <a:pt x="2211" y="2960"/>
                  </a:lnTo>
                  <a:lnTo>
                    <a:pt x="2217" y="2957"/>
                  </a:lnTo>
                  <a:lnTo>
                    <a:pt x="2223" y="2953"/>
                  </a:lnTo>
                  <a:lnTo>
                    <a:pt x="2229" y="2948"/>
                  </a:lnTo>
                  <a:lnTo>
                    <a:pt x="2233" y="2941"/>
                  </a:lnTo>
                  <a:lnTo>
                    <a:pt x="2235" y="2933"/>
                  </a:lnTo>
                  <a:lnTo>
                    <a:pt x="2237" y="2924"/>
                  </a:lnTo>
                  <a:lnTo>
                    <a:pt x="2238" y="2904"/>
                  </a:lnTo>
                  <a:lnTo>
                    <a:pt x="2241" y="2881"/>
                  </a:lnTo>
                  <a:lnTo>
                    <a:pt x="2243" y="2873"/>
                  </a:lnTo>
                  <a:lnTo>
                    <a:pt x="2247" y="2865"/>
                  </a:lnTo>
                  <a:lnTo>
                    <a:pt x="2253" y="2857"/>
                  </a:lnTo>
                  <a:lnTo>
                    <a:pt x="2258" y="2851"/>
                  </a:lnTo>
                  <a:lnTo>
                    <a:pt x="2271" y="2839"/>
                  </a:lnTo>
                  <a:lnTo>
                    <a:pt x="2285" y="2827"/>
                  </a:lnTo>
                  <a:lnTo>
                    <a:pt x="2298" y="2815"/>
                  </a:lnTo>
                  <a:lnTo>
                    <a:pt x="2309" y="2801"/>
                  </a:lnTo>
                  <a:lnTo>
                    <a:pt x="2313" y="2793"/>
                  </a:lnTo>
                  <a:lnTo>
                    <a:pt x="2317" y="2785"/>
                  </a:lnTo>
                  <a:lnTo>
                    <a:pt x="2318" y="2777"/>
                  </a:lnTo>
                  <a:lnTo>
                    <a:pt x="2319" y="2767"/>
                  </a:lnTo>
                  <a:lnTo>
                    <a:pt x="2319" y="2757"/>
                  </a:lnTo>
                  <a:lnTo>
                    <a:pt x="2318" y="2748"/>
                  </a:lnTo>
                  <a:lnTo>
                    <a:pt x="2315" y="2740"/>
                  </a:lnTo>
                  <a:lnTo>
                    <a:pt x="2313" y="2732"/>
                  </a:lnTo>
                  <a:lnTo>
                    <a:pt x="2306" y="2716"/>
                  </a:lnTo>
                  <a:lnTo>
                    <a:pt x="2298" y="2703"/>
                  </a:lnTo>
                  <a:lnTo>
                    <a:pt x="2290" y="2691"/>
                  </a:lnTo>
                  <a:lnTo>
                    <a:pt x="2283" y="2679"/>
                  </a:lnTo>
                  <a:lnTo>
                    <a:pt x="2281" y="2672"/>
                  </a:lnTo>
                  <a:lnTo>
                    <a:pt x="2279" y="2665"/>
                  </a:lnTo>
                  <a:lnTo>
                    <a:pt x="2278" y="2659"/>
                  </a:lnTo>
                  <a:lnTo>
                    <a:pt x="2277" y="2652"/>
                  </a:lnTo>
                  <a:lnTo>
                    <a:pt x="2278" y="2635"/>
                  </a:lnTo>
                  <a:lnTo>
                    <a:pt x="2282" y="2620"/>
                  </a:lnTo>
                  <a:lnTo>
                    <a:pt x="2287" y="2607"/>
                  </a:lnTo>
                  <a:lnTo>
                    <a:pt x="2294" y="2596"/>
                  </a:lnTo>
                  <a:lnTo>
                    <a:pt x="2302" y="2585"/>
                  </a:lnTo>
                  <a:lnTo>
                    <a:pt x="2311" y="2577"/>
                  </a:lnTo>
                  <a:lnTo>
                    <a:pt x="2321" y="2569"/>
                  </a:lnTo>
                  <a:lnTo>
                    <a:pt x="2331" y="2561"/>
                  </a:lnTo>
                  <a:lnTo>
                    <a:pt x="2342" y="2553"/>
                  </a:lnTo>
                  <a:lnTo>
                    <a:pt x="2351" y="2545"/>
                  </a:lnTo>
                  <a:lnTo>
                    <a:pt x="2360" y="2536"/>
                  </a:lnTo>
                  <a:lnTo>
                    <a:pt x="2368" y="2527"/>
                  </a:lnTo>
                  <a:lnTo>
                    <a:pt x="2375" y="2515"/>
                  </a:lnTo>
                  <a:lnTo>
                    <a:pt x="2380" y="2501"/>
                  </a:lnTo>
                  <a:lnTo>
                    <a:pt x="2384" y="2485"/>
                  </a:lnTo>
                  <a:lnTo>
                    <a:pt x="2386" y="2466"/>
                  </a:lnTo>
                  <a:lnTo>
                    <a:pt x="2383" y="2432"/>
                  </a:lnTo>
                  <a:lnTo>
                    <a:pt x="2379" y="2402"/>
                  </a:lnTo>
                  <a:lnTo>
                    <a:pt x="2375" y="2372"/>
                  </a:lnTo>
                  <a:lnTo>
                    <a:pt x="2374" y="2346"/>
                  </a:lnTo>
                  <a:lnTo>
                    <a:pt x="2355" y="2344"/>
                  </a:lnTo>
                  <a:lnTo>
                    <a:pt x="2332" y="2340"/>
                  </a:lnTo>
                  <a:lnTo>
                    <a:pt x="2307" y="2334"/>
                  </a:lnTo>
                  <a:lnTo>
                    <a:pt x="2282" y="2326"/>
                  </a:lnTo>
                  <a:lnTo>
                    <a:pt x="2270" y="2320"/>
                  </a:lnTo>
                  <a:lnTo>
                    <a:pt x="2259" y="2315"/>
                  </a:lnTo>
                  <a:lnTo>
                    <a:pt x="2249" y="2308"/>
                  </a:lnTo>
                  <a:lnTo>
                    <a:pt x="2241" y="2303"/>
                  </a:lnTo>
                  <a:lnTo>
                    <a:pt x="2233" y="2296"/>
                  </a:lnTo>
                  <a:lnTo>
                    <a:pt x="2227" y="2288"/>
                  </a:lnTo>
                  <a:lnTo>
                    <a:pt x="2225" y="2282"/>
                  </a:lnTo>
                  <a:lnTo>
                    <a:pt x="2223" y="2274"/>
                  </a:lnTo>
                  <a:lnTo>
                    <a:pt x="2223" y="2267"/>
                  </a:lnTo>
                  <a:lnTo>
                    <a:pt x="2226" y="2259"/>
                  </a:lnTo>
                  <a:lnTo>
                    <a:pt x="2229" y="2252"/>
                  </a:lnTo>
                  <a:lnTo>
                    <a:pt x="2233" y="2244"/>
                  </a:lnTo>
                  <a:lnTo>
                    <a:pt x="2241" y="2232"/>
                  </a:lnTo>
                  <a:lnTo>
                    <a:pt x="2247" y="2226"/>
                  </a:lnTo>
                  <a:lnTo>
                    <a:pt x="2241" y="2111"/>
                  </a:lnTo>
                  <a:lnTo>
                    <a:pt x="2222" y="2099"/>
                  </a:lnTo>
                  <a:lnTo>
                    <a:pt x="2203" y="2088"/>
                  </a:lnTo>
                  <a:lnTo>
                    <a:pt x="2186" y="2076"/>
                  </a:lnTo>
                  <a:lnTo>
                    <a:pt x="2169" y="2063"/>
                  </a:lnTo>
                  <a:lnTo>
                    <a:pt x="2161" y="2056"/>
                  </a:lnTo>
                  <a:lnTo>
                    <a:pt x="2154" y="2048"/>
                  </a:lnTo>
                  <a:lnTo>
                    <a:pt x="2147" y="2039"/>
                  </a:lnTo>
                  <a:lnTo>
                    <a:pt x="2142" y="2030"/>
                  </a:lnTo>
                  <a:lnTo>
                    <a:pt x="2138" y="2020"/>
                  </a:lnTo>
                  <a:lnTo>
                    <a:pt x="2135" y="2010"/>
                  </a:lnTo>
                  <a:lnTo>
                    <a:pt x="2133" y="1998"/>
                  </a:lnTo>
                  <a:lnTo>
                    <a:pt x="2133" y="1984"/>
                  </a:lnTo>
                  <a:lnTo>
                    <a:pt x="2133" y="1934"/>
                  </a:lnTo>
                  <a:lnTo>
                    <a:pt x="2133" y="1896"/>
                  </a:lnTo>
                  <a:lnTo>
                    <a:pt x="2133" y="1862"/>
                  </a:lnTo>
                  <a:lnTo>
                    <a:pt x="2133" y="1822"/>
                  </a:lnTo>
                  <a:lnTo>
                    <a:pt x="2133" y="1811"/>
                  </a:lnTo>
                  <a:lnTo>
                    <a:pt x="2131" y="1802"/>
                  </a:lnTo>
                  <a:lnTo>
                    <a:pt x="2130" y="1795"/>
                  </a:lnTo>
                  <a:lnTo>
                    <a:pt x="2129" y="1789"/>
                  </a:lnTo>
                  <a:lnTo>
                    <a:pt x="2126" y="1783"/>
                  </a:lnTo>
                  <a:lnTo>
                    <a:pt x="2123" y="1778"/>
                  </a:lnTo>
                  <a:lnTo>
                    <a:pt x="2121" y="1774"/>
                  </a:lnTo>
                  <a:lnTo>
                    <a:pt x="2117" y="1771"/>
                  </a:lnTo>
                  <a:lnTo>
                    <a:pt x="2099" y="1758"/>
                  </a:lnTo>
                  <a:lnTo>
                    <a:pt x="2078" y="1738"/>
                  </a:lnTo>
                  <a:lnTo>
                    <a:pt x="2073" y="1722"/>
                  </a:lnTo>
                  <a:lnTo>
                    <a:pt x="2066" y="1695"/>
                  </a:lnTo>
                  <a:lnTo>
                    <a:pt x="2059" y="1662"/>
                  </a:lnTo>
                  <a:lnTo>
                    <a:pt x="2053" y="1626"/>
                  </a:lnTo>
                  <a:lnTo>
                    <a:pt x="2046" y="1591"/>
                  </a:lnTo>
                  <a:lnTo>
                    <a:pt x="2041" y="1562"/>
                  </a:lnTo>
                  <a:lnTo>
                    <a:pt x="2038" y="1541"/>
                  </a:lnTo>
                  <a:lnTo>
                    <a:pt x="2037" y="1533"/>
                  </a:lnTo>
                  <a:lnTo>
                    <a:pt x="2037" y="1527"/>
                  </a:lnTo>
                  <a:lnTo>
                    <a:pt x="2038" y="1523"/>
                  </a:lnTo>
                  <a:lnTo>
                    <a:pt x="2039" y="1519"/>
                  </a:lnTo>
                  <a:lnTo>
                    <a:pt x="2042" y="1517"/>
                  </a:lnTo>
                  <a:lnTo>
                    <a:pt x="2049" y="1511"/>
                  </a:lnTo>
                  <a:lnTo>
                    <a:pt x="2057" y="1509"/>
                  </a:lnTo>
                  <a:lnTo>
                    <a:pt x="2074" y="1506"/>
                  </a:lnTo>
                  <a:lnTo>
                    <a:pt x="2090" y="1502"/>
                  </a:lnTo>
                  <a:lnTo>
                    <a:pt x="2099" y="1495"/>
                  </a:lnTo>
                  <a:lnTo>
                    <a:pt x="2107" y="1485"/>
                  </a:lnTo>
                  <a:lnTo>
                    <a:pt x="2114" y="1474"/>
                  </a:lnTo>
                  <a:lnTo>
                    <a:pt x="2121" y="1463"/>
                  </a:lnTo>
                  <a:lnTo>
                    <a:pt x="2126" y="1451"/>
                  </a:lnTo>
                  <a:lnTo>
                    <a:pt x="2129" y="1439"/>
                  </a:lnTo>
                  <a:lnTo>
                    <a:pt x="2131" y="1429"/>
                  </a:lnTo>
                  <a:lnTo>
                    <a:pt x="2133" y="1418"/>
                  </a:lnTo>
                  <a:lnTo>
                    <a:pt x="2138" y="1418"/>
                  </a:lnTo>
                  <a:lnTo>
                    <a:pt x="2133" y="1406"/>
                  </a:lnTo>
                  <a:lnTo>
                    <a:pt x="2130" y="1386"/>
                  </a:lnTo>
                  <a:lnTo>
                    <a:pt x="2126" y="1370"/>
                  </a:lnTo>
                  <a:lnTo>
                    <a:pt x="2137" y="1363"/>
                  </a:lnTo>
                  <a:lnTo>
                    <a:pt x="2143" y="1357"/>
                  </a:lnTo>
                  <a:lnTo>
                    <a:pt x="2149" y="1349"/>
                  </a:lnTo>
                  <a:lnTo>
                    <a:pt x="2153" y="1341"/>
                  </a:lnTo>
                  <a:lnTo>
                    <a:pt x="2155" y="1331"/>
                  </a:lnTo>
                  <a:lnTo>
                    <a:pt x="2157" y="1322"/>
                  </a:lnTo>
                  <a:lnTo>
                    <a:pt x="2157" y="1310"/>
                  </a:lnTo>
                  <a:lnTo>
                    <a:pt x="2157" y="1298"/>
                  </a:lnTo>
                  <a:lnTo>
                    <a:pt x="2155" y="1285"/>
                  </a:lnTo>
                  <a:lnTo>
                    <a:pt x="2154" y="1274"/>
                  </a:lnTo>
                  <a:lnTo>
                    <a:pt x="2151" y="1264"/>
                  </a:lnTo>
                  <a:lnTo>
                    <a:pt x="2147" y="1254"/>
                  </a:lnTo>
                  <a:lnTo>
                    <a:pt x="2143" y="1245"/>
                  </a:lnTo>
                  <a:lnTo>
                    <a:pt x="2138" y="1238"/>
                  </a:lnTo>
                  <a:lnTo>
                    <a:pt x="2133" y="1230"/>
                  </a:lnTo>
                  <a:lnTo>
                    <a:pt x="2126" y="1225"/>
                  </a:lnTo>
                  <a:lnTo>
                    <a:pt x="2114" y="1213"/>
                  </a:lnTo>
                  <a:lnTo>
                    <a:pt x="2101" y="1201"/>
                  </a:lnTo>
                  <a:lnTo>
                    <a:pt x="2089" y="1190"/>
                  </a:lnTo>
                  <a:lnTo>
                    <a:pt x="2078" y="1177"/>
                  </a:lnTo>
                  <a:lnTo>
                    <a:pt x="2073" y="1176"/>
                  </a:lnTo>
                  <a:lnTo>
                    <a:pt x="2069" y="1176"/>
                  </a:lnTo>
                  <a:lnTo>
                    <a:pt x="2065" y="1177"/>
                  </a:lnTo>
                  <a:lnTo>
                    <a:pt x="2061" y="1178"/>
                  </a:lnTo>
                  <a:lnTo>
                    <a:pt x="2057" y="1180"/>
                  </a:lnTo>
                  <a:lnTo>
                    <a:pt x="2050" y="1182"/>
                  </a:lnTo>
                  <a:lnTo>
                    <a:pt x="2042" y="1184"/>
                  </a:lnTo>
                  <a:lnTo>
                    <a:pt x="2030" y="1184"/>
                  </a:lnTo>
                  <a:lnTo>
                    <a:pt x="2018" y="1182"/>
                  </a:lnTo>
                  <a:lnTo>
                    <a:pt x="2006" y="1180"/>
                  </a:lnTo>
                  <a:lnTo>
                    <a:pt x="1993" y="1174"/>
                  </a:lnTo>
                  <a:lnTo>
                    <a:pt x="1978" y="1166"/>
                  </a:lnTo>
                  <a:lnTo>
                    <a:pt x="1965" y="1158"/>
                  </a:lnTo>
                  <a:lnTo>
                    <a:pt x="1950" y="1148"/>
                  </a:lnTo>
                  <a:lnTo>
                    <a:pt x="1937" y="1137"/>
                  </a:lnTo>
                  <a:lnTo>
                    <a:pt x="1923" y="1125"/>
                  </a:lnTo>
                  <a:lnTo>
                    <a:pt x="1910" y="1112"/>
                  </a:lnTo>
                  <a:lnTo>
                    <a:pt x="1899" y="1098"/>
                  </a:lnTo>
                  <a:lnTo>
                    <a:pt x="1889" y="1085"/>
                  </a:lnTo>
                  <a:lnTo>
                    <a:pt x="1879" y="1072"/>
                  </a:lnTo>
                  <a:lnTo>
                    <a:pt x="1871" y="1058"/>
                  </a:lnTo>
                  <a:lnTo>
                    <a:pt x="1866" y="1045"/>
                  </a:lnTo>
                  <a:lnTo>
                    <a:pt x="1862" y="1033"/>
                  </a:lnTo>
                  <a:lnTo>
                    <a:pt x="1862" y="1021"/>
                  </a:lnTo>
                  <a:lnTo>
                    <a:pt x="1862" y="1008"/>
                  </a:lnTo>
                  <a:lnTo>
                    <a:pt x="1863" y="996"/>
                  </a:lnTo>
                  <a:lnTo>
                    <a:pt x="1866" y="984"/>
                  </a:lnTo>
                  <a:lnTo>
                    <a:pt x="1869" y="974"/>
                  </a:lnTo>
                  <a:lnTo>
                    <a:pt x="1873" y="965"/>
                  </a:lnTo>
                  <a:lnTo>
                    <a:pt x="1877" y="956"/>
                  </a:lnTo>
                  <a:lnTo>
                    <a:pt x="1882" y="949"/>
                  </a:lnTo>
                  <a:lnTo>
                    <a:pt x="1887" y="942"/>
                  </a:lnTo>
                  <a:lnTo>
                    <a:pt x="1901" y="930"/>
                  </a:lnTo>
                  <a:lnTo>
                    <a:pt x="1915" y="920"/>
                  </a:lnTo>
                  <a:lnTo>
                    <a:pt x="1930" y="912"/>
                  </a:lnTo>
                  <a:lnTo>
                    <a:pt x="1946" y="902"/>
                  </a:lnTo>
                  <a:lnTo>
                    <a:pt x="1962" y="894"/>
                  </a:lnTo>
                  <a:lnTo>
                    <a:pt x="1977" y="885"/>
                  </a:lnTo>
                  <a:lnTo>
                    <a:pt x="1991" y="876"/>
                  </a:lnTo>
                  <a:lnTo>
                    <a:pt x="2003" y="862"/>
                  </a:lnTo>
                  <a:lnTo>
                    <a:pt x="2010" y="856"/>
                  </a:lnTo>
                  <a:lnTo>
                    <a:pt x="2014" y="848"/>
                  </a:lnTo>
                  <a:lnTo>
                    <a:pt x="2019" y="838"/>
                  </a:lnTo>
                  <a:lnTo>
                    <a:pt x="2023" y="829"/>
                  </a:lnTo>
                  <a:lnTo>
                    <a:pt x="2026" y="818"/>
                  </a:lnTo>
                  <a:lnTo>
                    <a:pt x="2029" y="806"/>
                  </a:lnTo>
                  <a:lnTo>
                    <a:pt x="2030" y="794"/>
                  </a:lnTo>
                  <a:lnTo>
                    <a:pt x="2030" y="780"/>
                  </a:lnTo>
                  <a:lnTo>
                    <a:pt x="2029" y="762"/>
                  </a:lnTo>
                  <a:lnTo>
                    <a:pt x="2026" y="746"/>
                  </a:lnTo>
                  <a:lnTo>
                    <a:pt x="2022" y="732"/>
                  </a:lnTo>
                  <a:lnTo>
                    <a:pt x="2017" y="719"/>
                  </a:lnTo>
                  <a:lnTo>
                    <a:pt x="2010" y="707"/>
                  </a:lnTo>
                  <a:lnTo>
                    <a:pt x="2003" y="695"/>
                  </a:lnTo>
                  <a:lnTo>
                    <a:pt x="1995" y="684"/>
                  </a:lnTo>
                  <a:lnTo>
                    <a:pt x="1987" y="675"/>
                  </a:lnTo>
                  <a:lnTo>
                    <a:pt x="1973" y="655"/>
                  </a:lnTo>
                  <a:lnTo>
                    <a:pt x="1959" y="637"/>
                  </a:lnTo>
                  <a:lnTo>
                    <a:pt x="1954" y="628"/>
                  </a:lnTo>
                  <a:lnTo>
                    <a:pt x="1950" y="619"/>
                  </a:lnTo>
                  <a:lnTo>
                    <a:pt x="1947" y="609"/>
                  </a:lnTo>
                  <a:lnTo>
                    <a:pt x="1946" y="600"/>
                  </a:lnTo>
                  <a:lnTo>
                    <a:pt x="1947" y="589"/>
                  </a:lnTo>
                  <a:lnTo>
                    <a:pt x="1950" y="581"/>
                  </a:lnTo>
                  <a:lnTo>
                    <a:pt x="1954" y="576"/>
                  </a:lnTo>
                  <a:lnTo>
                    <a:pt x="1961" y="571"/>
                  </a:lnTo>
                  <a:lnTo>
                    <a:pt x="1975" y="564"/>
                  </a:lnTo>
                  <a:lnTo>
                    <a:pt x="1993" y="557"/>
                  </a:lnTo>
                  <a:lnTo>
                    <a:pt x="2001" y="553"/>
                  </a:lnTo>
                  <a:lnTo>
                    <a:pt x="2009" y="549"/>
                  </a:lnTo>
                  <a:lnTo>
                    <a:pt x="2015" y="543"/>
                  </a:lnTo>
                  <a:lnTo>
                    <a:pt x="2022" y="535"/>
                  </a:lnTo>
                  <a:lnTo>
                    <a:pt x="2027" y="525"/>
                  </a:lnTo>
                  <a:lnTo>
                    <a:pt x="2030" y="513"/>
                  </a:lnTo>
                  <a:lnTo>
                    <a:pt x="2031" y="497"/>
                  </a:lnTo>
                  <a:lnTo>
                    <a:pt x="2030" y="479"/>
                  </a:lnTo>
                  <a:lnTo>
                    <a:pt x="2027" y="467"/>
                  </a:lnTo>
                  <a:lnTo>
                    <a:pt x="2023" y="456"/>
                  </a:lnTo>
                  <a:lnTo>
                    <a:pt x="2017" y="448"/>
                  </a:lnTo>
                  <a:lnTo>
                    <a:pt x="2010" y="441"/>
                  </a:lnTo>
                  <a:lnTo>
                    <a:pt x="2001" y="436"/>
                  </a:lnTo>
                  <a:lnTo>
                    <a:pt x="1991" y="431"/>
                  </a:lnTo>
                  <a:lnTo>
                    <a:pt x="1981" y="427"/>
                  </a:lnTo>
                  <a:lnTo>
                    <a:pt x="1970" y="423"/>
                  </a:lnTo>
                  <a:lnTo>
                    <a:pt x="1961" y="419"/>
                  </a:lnTo>
                  <a:lnTo>
                    <a:pt x="1950" y="415"/>
                  </a:lnTo>
                  <a:lnTo>
                    <a:pt x="1941" y="411"/>
                  </a:lnTo>
                  <a:lnTo>
                    <a:pt x="1933" y="405"/>
                  </a:lnTo>
                  <a:lnTo>
                    <a:pt x="1926" y="399"/>
                  </a:lnTo>
                  <a:lnTo>
                    <a:pt x="1921" y="392"/>
                  </a:lnTo>
                  <a:lnTo>
                    <a:pt x="1917" y="383"/>
                  </a:lnTo>
                  <a:lnTo>
                    <a:pt x="1915" y="371"/>
                  </a:lnTo>
                  <a:lnTo>
                    <a:pt x="1915" y="359"/>
                  </a:lnTo>
                  <a:lnTo>
                    <a:pt x="1914" y="349"/>
                  </a:lnTo>
                  <a:lnTo>
                    <a:pt x="1914" y="345"/>
                  </a:lnTo>
                  <a:lnTo>
                    <a:pt x="1915" y="340"/>
                  </a:lnTo>
                  <a:lnTo>
                    <a:pt x="1918" y="335"/>
                  </a:lnTo>
                  <a:lnTo>
                    <a:pt x="1922" y="328"/>
                  </a:lnTo>
                  <a:lnTo>
                    <a:pt x="1893" y="333"/>
                  </a:lnTo>
                  <a:lnTo>
                    <a:pt x="1865" y="340"/>
                  </a:lnTo>
                  <a:lnTo>
                    <a:pt x="1853" y="344"/>
                  </a:lnTo>
                  <a:lnTo>
                    <a:pt x="1843" y="349"/>
                  </a:lnTo>
                  <a:lnTo>
                    <a:pt x="1839" y="353"/>
                  </a:lnTo>
                  <a:lnTo>
                    <a:pt x="1835" y="356"/>
                  </a:lnTo>
                  <a:lnTo>
                    <a:pt x="1833" y="360"/>
                  </a:lnTo>
                  <a:lnTo>
                    <a:pt x="1831" y="365"/>
                  </a:lnTo>
                  <a:lnTo>
                    <a:pt x="1849" y="385"/>
                  </a:lnTo>
                  <a:lnTo>
                    <a:pt x="1863" y="403"/>
                  </a:lnTo>
                  <a:lnTo>
                    <a:pt x="1871" y="417"/>
                  </a:lnTo>
                  <a:lnTo>
                    <a:pt x="1877" y="429"/>
                  </a:lnTo>
                  <a:lnTo>
                    <a:pt x="1878" y="435"/>
                  </a:lnTo>
                  <a:lnTo>
                    <a:pt x="1878" y="439"/>
                  </a:lnTo>
                  <a:lnTo>
                    <a:pt x="1878" y="443"/>
                  </a:lnTo>
                  <a:lnTo>
                    <a:pt x="1877" y="445"/>
                  </a:lnTo>
                  <a:lnTo>
                    <a:pt x="1874" y="448"/>
                  </a:lnTo>
                  <a:lnTo>
                    <a:pt x="1871" y="451"/>
                  </a:lnTo>
                  <a:lnTo>
                    <a:pt x="1867" y="452"/>
                  </a:lnTo>
                  <a:lnTo>
                    <a:pt x="1863" y="452"/>
                  </a:lnTo>
                  <a:lnTo>
                    <a:pt x="1853" y="452"/>
                  </a:lnTo>
                  <a:lnTo>
                    <a:pt x="1841" y="448"/>
                  </a:lnTo>
                  <a:lnTo>
                    <a:pt x="1825" y="443"/>
                  </a:lnTo>
                  <a:lnTo>
                    <a:pt x="1809" y="435"/>
                  </a:lnTo>
                  <a:lnTo>
                    <a:pt x="1790" y="424"/>
                  </a:lnTo>
                  <a:lnTo>
                    <a:pt x="1770" y="411"/>
                  </a:lnTo>
                  <a:lnTo>
                    <a:pt x="1750" y="395"/>
                  </a:lnTo>
                  <a:lnTo>
                    <a:pt x="1729" y="377"/>
                  </a:lnTo>
                  <a:lnTo>
                    <a:pt x="1717" y="392"/>
                  </a:lnTo>
                  <a:lnTo>
                    <a:pt x="1703" y="409"/>
                  </a:lnTo>
                  <a:lnTo>
                    <a:pt x="1697" y="420"/>
                  </a:lnTo>
                  <a:lnTo>
                    <a:pt x="1691" y="431"/>
                  </a:lnTo>
                  <a:lnTo>
                    <a:pt x="1687" y="441"/>
                  </a:lnTo>
                  <a:lnTo>
                    <a:pt x="1685" y="453"/>
                  </a:lnTo>
                  <a:lnTo>
                    <a:pt x="1685" y="460"/>
                  </a:lnTo>
                  <a:lnTo>
                    <a:pt x="1686" y="467"/>
                  </a:lnTo>
                  <a:lnTo>
                    <a:pt x="1687" y="473"/>
                  </a:lnTo>
                  <a:lnTo>
                    <a:pt x="1690" y="480"/>
                  </a:lnTo>
                  <a:lnTo>
                    <a:pt x="1694" y="487"/>
                  </a:lnTo>
                  <a:lnTo>
                    <a:pt x="1698" y="495"/>
                  </a:lnTo>
                  <a:lnTo>
                    <a:pt x="1703" y="501"/>
                  </a:lnTo>
                  <a:lnTo>
                    <a:pt x="1710" y="509"/>
                  </a:lnTo>
                  <a:lnTo>
                    <a:pt x="1718" y="516"/>
                  </a:lnTo>
                  <a:lnTo>
                    <a:pt x="1727" y="524"/>
                  </a:lnTo>
                  <a:lnTo>
                    <a:pt x="1738" y="532"/>
                  </a:lnTo>
                  <a:lnTo>
                    <a:pt x="1750" y="541"/>
                  </a:lnTo>
                  <a:lnTo>
                    <a:pt x="1778" y="557"/>
                  </a:lnTo>
                  <a:lnTo>
                    <a:pt x="1813" y="576"/>
                  </a:lnTo>
                  <a:lnTo>
                    <a:pt x="1817" y="581"/>
                  </a:lnTo>
                  <a:lnTo>
                    <a:pt x="1826" y="595"/>
                  </a:lnTo>
                  <a:lnTo>
                    <a:pt x="1839" y="615"/>
                  </a:lnTo>
                  <a:lnTo>
                    <a:pt x="1851" y="640"/>
                  </a:lnTo>
                  <a:lnTo>
                    <a:pt x="1857" y="652"/>
                  </a:lnTo>
                  <a:lnTo>
                    <a:pt x="1862" y="665"/>
                  </a:lnTo>
                  <a:lnTo>
                    <a:pt x="1865" y="677"/>
                  </a:lnTo>
                  <a:lnTo>
                    <a:pt x="1866" y="689"/>
                  </a:lnTo>
                  <a:lnTo>
                    <a:pt x="1866" y="701"/>
                  </a:lnTo>
                  <a:lnTo>
                    <a:pt x="1863" y="711"/>
                  </a:lnTo>
                  <a:lnTo>
                    <a:pt x="1861" y="716"/>
                  </a:lnTo>
                  <a:lnTo>
                    <a:pt x="1858" y="720"/>
                  </a:lnTo>
                  <a:lnTo>
                    <a:pt x="1854" y="723"/>
                  </a:lnTo>
                  <a:lnTo>
                    <a:pt x="1850" y="727"/>
                  </a:lnTo>
                  <a:lnTo>
                    <a:pt x="1843" y="723"/>
                  </a:lnTo>
                  <a:lnTo>
                    <a:pt x="1837" y="717"/>
                  </a:lnTo>
                  <a:lnTo>
                    <a:pt x="1831" y="712"/>
                  </a:lnTo>
                  <a:lnTo>
                    <a:pt x="1827" y="707"/>
                  </a:lnTo>
                  <a:lnTo>
                    <a:pt x="1818" y="693"/>
                  </a:lnTo>
                  <a:lnTo>
                    <a:pt x="1810" y="680"/>
                  </a:lnTo>
                  <a:lnTo>
                    <a:pt x="1802" y="664"/>
                  </a:lnTo>
                  <a:lnTo>
                    <a:pt x="1794" y="649"/>
                  </a:lnTo>
                  <a:lnTo>
                    <a:pt x="1783" y="636"/>
                  </a:lnTo>
                  <a:lnTo>
                    <a:pt x="1771" y="624"/>
                  </a:lnTo>
                  <a:lnTo>
                    <a:pt x="1755" y="623"/>
                  </a:lnTo>
                  <a:lnTo>
                    <a:pt x="1741" y="620"/>
                  </a:lnTo>
                  <a:lnTo>
                    <a:pt x="1726" y="616"/>
                  </a:lnTo>
                  <a:lnTo>
                    <a:pt x="1713" y="611"/>
                  </a:lnTo>
                  <a:lnTo>
                    <a:pt x="1699" y="605"/>
                  </a:lnTo>
                  <a:lnTo>
                    <a:pt x="1687" y="597"/>
                  </a:lnTo>
                  <a:lnTo>
                    <a:pt x="1677" y="589"/>
                  </a:lnTo>
                  <a:lnTo>
                    <a:pt x="1666" y="581"/>
                  </a:lnTo>
                  <a:lnTo>
                    <a:pt x="1657" y="572"/>
                  </a:lnTo>
                  <a:lnTo>
                    <a:pt x="1649" y="563"/>
                  </a:lnTo>
                  <a:lnTo>
                    <a:pt x="1641" y="553"/>
                  </a:lnTo>
                  <a:lnTo>
                    <a:pt x="1634" y="545"/>
                  </a:lnTo>
                  <a:lnTo>
                    <a:pt x="1630" y="536"/>
                  </a:lnTo>
                  <a:lnTo>
                    <a:pt x="1625" y="528"/>
                  </a:lnTo>
                  <a:lnTo>
                    <a:pt x="1622" y="521"/>
                  </a:lnTo>
                  <a:lnTo>
                    <a:pt x="1621" y="515"/>
                  </a:lnTo>
                  <a:lnTo>
                    <a:pt x="1619" y="499"/>
                  </a:lnTo>
                  <a:lnTo>
                    <a:pt x="1621" y="483"/>
                  </a:lnTo>
                  <a:lnTo>
                    <a:pt x="1622" y="468"/>
                  </a:lnTo>
                  <a:lnTo>
                    <a:pt x="1625" y="453"/>
                  </a:lnTo>
                  <a:lnTo>
                    <a:pt x="1629" y="440"/>
                  </a:lnTo>
                  <a:lnTo>
                    <a:pt x="1633" y="427"/>
                  </a:lnTo>
                  <a:lnTo>
                    <a:pt x="1638" y="413"/>
                  </a:lnTo>
                  <a:lnTo>
                    <a:pt x="1643" y="400"/>
                  </a:lnTo>
                  <a:lnTo>
                    <a:pt x="1655" y="375"/>
                  </a:lnTo>
                  <a:lnTo>
                    <a:pt x="1667" y="351"/>
                  </a:lnTo>
                  <a:lnTo>
                    <a:pt x="1681" y="325"/>
                  </a:lnTo>
                  <a:lnTo>
                    <a:pt x="1693" y="299"/>
                  </a:lnTo>
                  <a:lnTo>
                    <a:pt x="1695" y="285"/>
                  </a:lnTo>
                  <a:lnTo>
                    <a:pt x="1699" y="248"/>
                  </a:lnTo>
                  <a:lnTo>
                    <a:pt x="1701" y="223"/>
                  </a:lnTo>
                  <a:lnTo>
                    <a:pt x="1701" y="195"/>
                  </a:lnTo>
                  <a:lnTo>
                    <a:pt x="1698" y="163"/>
                  </a:lnTo>
                  <a:lnTo>
                    <a:pt x="1693" y="130"/>
                  </a:lnTo>
                  <a:lnTo>
                    <a:pt x="1686" y="124"/>
                  </a:lnTo>
                  <a:lnTo>
                    <a:pt x="1679" y="122"/>
                  </a:lnTo>
                  <a:lnTo>
                    <a:pt x="1674" y="120"/>
                  </a:lnTo>
                  <a:lnTo>
                    <a:pt x="1669" y="120"/>
                  </a:lnTo>
                  <a:lnTo>
                    <a:pt x="1663" y="123"/>
                  </a:lnTo>
                  <a:lnTo>
                    <a:pt x="1659" y="127"/>
                  </a:lnTo>
                  <a:lnTo>
                    <a:pt x="1657" y="131"/>
                  </a:lnTo>
                  <a:lnTo>
                    <a:pt x="1653" y="138"/>
                  </a:lnTo>
                  <a:lnTo>
                    <a:pt x="1647" y="153"/>
                  </a:lnTo>
                  <a:lnTo>
                    <a:pt x="1643" y="172"/>
                  </a:lnTo>
                  <a:lnTo>
                    <a:pt x="1639" y="195"/>
                  </a:lnTo>
                  <a:lnTo>
                    <a:pt x="1637" y="217"/>
                  </a:lnTo>
                  <a:lnTo>
                    <a:pt x="1634" y="243"/>
                  </a:lnTo>
                  <a:lnTo>
                    <a:pt x="1631" y="265"/>
                  </a:lnTo>
                  <a:lnTo>
                    <a:pt x="1627" y="288"/>
                  </a:lnTo>
                  <a:lnTo>
                    <a:pt x="1623" y="308"/>
                  </a:lnTo>
                  <a:lnTo>
                    <a:pt x="1621" y="317"/>
                  </a:lnTo>
                  <a:lnTo>
                    <a:pt x="1618" y="325"/>
                  </a:lnTo>
                  <a:lnTo>
                    <a:pt x="1614" y="332"/>
                  </a:lnTo>
                  <a:lnTo>
                    <a:pt x="1610" y="339"/>
                  </a:lnTo>
                  <a:lnTo>
                    <a:pt x="1606" y="343"/>
                  </a:lnTo>
                  <a:lnTo>
                    <a:pt x="1602" y="345"/>
                  </a:lnTo>
                  <a:lnTo>
                    <a:pt x="1597" y="347"/>
                  </a:lnTo>
                  <a:lnTo>
                    <a:pt x="1590" y="347"/>
                  </a:lnTo>
                  <a:lnTo>
                    <a:pt x="1566" y="352"/>
                  </a:lnTo>
                  <a:lnTo>
                    <a:pt x="1545" y="359"/>
                  </a:lnTo>
                  <a:lnTo>
                    <a:pt x="1526" y="365"/>
                  </a:lnTo>
                  <a:lnTo>
                    <a:pt x="1510" y="372"/>
                  </a:lnTo>
                  <a:lnTo>
                    <a:pt x="1497" y="380"/>
                  </a:lnTo>
                  <a:lnTo>
                    <a:pt x="1485" y="388"/>
                  </a:lnTo>
                  <a:lnTo>
                    <a:pt x="1476" y="396"/>
                  </a:lnTo>
                  <a:lnTo>
                    <a:pt x="1468" y="404"/>
                  </a:lnTo>
                  <a:lnTo>
                    <a:pt x="1461" y="413"/>
                  </a:lnTo>
                  <a:lnTo>
                    <a:pt x="1457" y="423"/>
                  </a:lnTo>
                  <a:lnTo>
                    <a:pt x="1453" y="432"/>
                  </a:lnTo>
                  <a:lnTo>
                    <a:pt x="1449" y="443"/>
                  </a:lnTo>
                  <a:lnTo>
                    <a:pt x="1444" y="463"/>
                  </a:lnTo>
                  <a:lnTo>
                    <a:pt x="1440" y="485"/>
                  </a:lnTo>
                  <a:lnTo>
                    <a:pt x="1437" y="505"/>
                  </a:lnTo>
                  <a:lnTo>
                    <a:pt x="1437" y="525"/>
                  </a:lnTo>
                  <a:lnTo>
                    <a:pt x="1438" y="548"/>
                  </a:lnTo>
                  <a:lnTo>
                    <a:pt x="1441" y="569"/>
                  </a:lnTo>
                  <a:lnTo>
                    <a:pt x="1450" y="615"/>
                  </a:lnTo>
                  <a:lnTo>
                    <a:pt x="1460" y="657"/>
                  </a:lnTo>
                  <a:lnTo>
                    <a:pt x="1464" y="679"/>
                  </a:lnTo>
                  <a:lnTo>
                    <a:pt x="1466" y="699"/>
                  </a:lnTo>
                  <a:lnTo>
                    <a:pt x="1468" y="716"/>
                  </a:lnTo>
                  <a:lnTo>
                    <a:pt x="1468" y="733"/>
                  </a:lnTo>
                  <a:lnTo>
                    <a:pt x="1466" y="741"/>
                  </a:lnTo>
                  <a:lnTo>
                    <a:pt x="1464" y="748"/>
                  </a:lnTo>
                  <a:lnTo>
                    <a:pt x="1461" y="754"/>
                  </a:lnTo>
                  <a:lnTo>
                    <a:pt x="1457" y="761"/>
                  </a:lnTo>
                  <a:lnTo>
                    <a:pt x="1453" y="766"/>
                  </a:lnTo>
                  <a:lnTo>
                    <a:pt x="1448" y="772"/>
                  </a:lnTo>
                  <a:lnTo>
                    <a:pt x="1441" y="777"/>
                  </a:lnTo>
                  <a:lnTo>
                    <a:pt x="1434" y="780"/>
                  </a:lnTo>
                  <a:lnTo>
                    <a:pt x="1422" y="810"/>
                  </a:lnTo>
                  <a:lnTo>
                    <a:pt x="1412" y="840"/>
                  </a:lnTo>
                  <a:lnTo>
                    <a:pt x="1402" y="868"/>
                  </a:lnTo>
                  <a:lnTo>
                    <a:pt x="1393" y="894"/>
                  </a:lnTo>
                  <a:lnTo>
                    <a:pt x="1385" y="920"/>
                  </a:lnTo>
                  <a:lnTo>
                    <a:pt x="1378" y="945"/>
                  </a:lnTo>
                  <a:lnTo>
                    <a:pt x="1376" y="968"/>
                  </a:lnTo>
                  <a:lnTo>
                    <a:pt x="1374" y="990"/>
                  </a:lnTo>
                  <a:lnTo>
                    <a:pt x="1373" y="1029"/>
                  </a:lnTo>
                  <a:lnTo>
                    <a:pt x="1373" y="1060"/>
                  </a:lnTo>
                  <a:lnTo>
                    <a:pt x="1374" y="1073"/>
                  </a:lnTo>
                  <a:lnTo>
                    <a:pt x="1377" y="1085"/>
                  </a:lnTo>
                  <a:lnTo>
                    <a:pt x="1381" y="1096"/>
                  </a:lnTo>
                  <a:lnTo>
                    <a:pt x="1386" y="1104"/>
                  </a:lnTo>
                  <a:lnTo>
                    <a:pt x="1390" y="1106"/>
                  </a:lnTo>
                  <a:lnTo>
                    <a:pt x="1394" y="1109"/>
                  </a:lnTo>
                  <a:lnTo>
                    <a:pt x="1400" y="1112"/>
                  </a:lnTo>
                  <a:lnTo>
                    <a:pt x="1406" y="1113"/>
                  </a:lnTo>
                  <a:lnTo>
                    <a:pt x="1420" y="1116"/>
                  </a:lnTo>
                  <a:lnTo>
                    <a:pt x="1437" y="1116"/>
                  </a:lnTo>
                  <a:lnTo>
                    <a:pt x="1458" y="1113"/>
                  </a:lnTo>
                  <a:lnTo>
                    <a:pt x="1484" y="1109"/>
                  </a:lnTo>
                  <a:lnTo>
                    <a:pt x="1514" y="1102"/>
                  </a:lnTo>
                  <a:lnTo>
                    <a:pt x="1549" y="1093"/>
                  </a:lnTo>
                  <a:lnTo>
                    <a:pt x="1564" y="1097"/>
                  </a:lnTo>
                  <a:lnTo>
                    <a:pt x="1578" y="1104"/>
                  </a:lnTo>
                  <a:lnTo>
                    <a:pt x="1591" y="1110"/>
                  </a:lnTo>
                  <a:lnTo>
                    <a:pt x="1603" y="1118"/>
                  </a:lnTo>
                  <a:lnTo>
                    <a:pt x="1615" y="1128"/>
                  </a:lnTo>
                  <a:lnTo>
                    <a:pt x="1626" y="1140"/>
                  </a:lnTo>
                  <a:lnTo>
                    <a:pt x="1637" y="1152"/>
                  </a:lnTo>
                  <a:lnTo>
                    <a:pt x="1645" y="1164"/>
                  </a:lnTo>
                  <a:lnTo>
                    <a:pt x="1654" y="1178"/>
                  </a:lnTo>
                  <a:lnTo>
                    <a:pt x="1661" y="1193"/>
                  </a:lnTo>
                  <a:lnTo>
                    <a:pt x="1669" y="1209"/>
                  </a:lnTo>
                  <a:lnTo>
                    <a:pt x="1674" y="1225"/>
                  </a:lnTo>
                  <a:lnTo>
                    <a:pt x="1679" y="1242"/>
                  </a:lnTo>
                  <a:lnTo>
                    <a:pt x="1685" y="1261"/>
                  </a:lnTo>
                  <a:lnTo>
                    <a:pt x="1689" y="1280"/>
                  </a:lnTo>
                  <a:lnTo>
                    <a:pt x="1693" y="1298"/>
                  </a:lnTo>
                  <a:lnTo>
                    <a:pt x="1695" y="1315"/>
                  </a:lnTo>
                  <a:lnTo>
                    <a:pt x="1695" y="1330"/>
                  </a:lnTo>
                  <a:lnTo>
                    <a:pt x="1693" y="1343"/>
                  </a:lnTo>
                  <a:lnTo>
                    <a:pt x="1690" y="1354"/>
                  </a:lnTo>
                  <a:lnTo>
                    <a:pt x="1685" y="1362"/>
                  </a:lnTo>
                  <a:lnTo>
                    <a:pt x="1679" y="1369"/>
                  </a:lnTo>
                  <a:lnTo>
                    <a:pt x="1673" y="1375"/>
                  </a:lnTo>
                  <a:lnTo>
                    <a:pt x="1665" y="1381"/>
                  </a:lnTo>
                  <a:lnTo>
                    <a:pt x="1649" y="1390"/>
                  </a:lnTo>
                  <a:lnTo>
                    <a:pt x="1634" y="1401"/>
                  </a:lnTo>
                  <a:lnTo>
                    <a:pt x="1627" y="1407"/>
                  </a:lnTo>
                  <a:lnTo>
                    <a:pt x="1622" y="1415"/>
                  </a:lnTo>
                  <a:lnTo>
                    <a:pt x="1618" y="1425"/>
                  </a:lnTo>
                  <a:lnTo>
                    <a:pt x="1614" y="1437"/>
                  </a:lnTo>
                  <a:lnTo>
                    <a:pt x="1614" y="1443"/>
                  </a:lnTo>
                  <a:lnTo>
                    <a:pt x="1615" y="1450"/>
                  </a:lnTo>
                  <a:lnTo>
                    <a:pt x="1617" y="1458"/>
                  </a:lnTo>
                  <a:lnTo>
                    <a:pt x="1618" y="1465"/>
                  </a:lnTo>
                  <a:lnTo>
                    <a:pt x="1625" y="1477"/>
                  </a:lnTo>
                  <a:lnTo>
                    <a:pt x="1633" y="1489"/>
                  </a:lnTo>
                  <a:lnTo>
                    <a:pt x="1642" y="1499"/>
                  </a:lnTo>
                  <a:lnTo>
                    <a:pt x="1654" y="1510"/>
                  </a:lnTo>
                  <a:lnTo>
                    <a:pt x="1665" y="1519"/>
                  </a:lnTo>
                  <a:lnTo>
                    <a:pt x="1678" y="1529"/>
                  </a:lnTo>
                  <a:lnTo>
                    <a:pt x="1702" y="1543"/>
                  </a:lnTo>
                  <a:lnTo>
                    <a:pt x="1723" y="1557"/>
                  </a:lnTo>
                  <a:lnTo>
                    <a:pt x="1731" y="1562"/>
                  </a:lnTo>
                  <a:lnTo>
                    <a:pt x="1737" y="1567"/>
                  </a:lnTo>
                  <a:lnTo>
                    <a:pt x="1741" y="1571"/>
                  </a:lnTo>
                  <a:lnTo>
                    <a:pt x="1741" y="1575"/>
                  </a:lnTo>
                  <a:lnTo>
                    <a:pt x="1727" y="1575"/>
                  </a:lnTo>
                  <a:lnTo>
                    <a:pt x="1714" y="1575"/>
                  </a:lnTo>
                  <a:lnTo>
                    <a:pt x="1701" y="1573"/>
                  </a:lnTo>
                  <a:lnTo>
                    <a:pt x="1687" y="1570"/>
                  </a:lnTo>
                  <a:lnTo>
                    <a:pt x="1674" y="1566"/>
                  </a:lnTo>
                  <a:lnTo>
                    <a:pt x="1662" y="1562"/>
                  </a:lnTo>
                  <a:lnTo>
                    <a:pt x="1650" y="1555"/>
                  </a:lnTo>
                  <a:lnTo>
                    <a:pt x="1638" y="1549"/>
                  </a:lnTo>
                  <a:lnTo>
                    <a:pt x="1629" y="1542"/>
                  </a:lnTo>
                  <a:lnTo>
                    <a:pt x="1619" y="1534"/>
                  </a:lnTo>
                  <a:lnTo>
                    <a:pt x="1611" y="1526"/>
                  </a:lnTo>
                  <a:lnTo>
                    <a:pt x="1603" y="1517"/>
                  </a:lnTo>
                  <a:lnTo>
                    <a:pt x="1598" y="1509"/>
                  </a:lnTo>
                  <a:lnTo>
                    <a:pt x="1594" y="1498"/>
                  </a:lnTo>
                  <a:lnTo>
                    <a:pt x="1591" y="1489"/>
                  </a:lnTo>
                  <a:lnTo>
                    <a:pt x="1590" y="1478"/>
                  </a:lnTo>
                  <a:lnTo>
                    <a:pt x="1591" y="1459"/>
                  </a:lnTo>
                  <a:lnTo>
                    <a:pt x="1594" y="1439"/>
                  </a:lnTo>
                  <a:lnTo>
                    <a:pt x="1598" y="1419"/>
                  </a:lnTo>
                  <a:lnTo>
                    <a:pt x="1603" y="1399"/>
                  </a:lnTo>
                  <a:lnTo>
                    <a:pt x="1621" y="1354"/>
                  </a:lnTo>
                  <a:lnTo>
                    <a:pt x="1645" y="1298"/>
                  </a:lnTo>
                  <a:lnTo>
                    <a:pt x="1634" y="1289"/>
                  </a:lnTo>
                  <a:lnTo>
                    <a:pt x="1625" y="1277"/>
                  </a:lnTo>
                  <a:lnTo>
                    <a:pt x="1618" y="1265"/>
                  </a:lnTo>
                  <a:lnTo>
                    <a:pt x="1610" y="1253"/>
                  </a:lnTo>
                  <a:lnTo>
                    <a:pt x="1598" y="1226"/>
                  </a:lnTo>
                  <a:lnTo>
                    <a:pt x="1585" y="1201"/>
                  </a:lnTo>
                  <a:lnTo>
                    <a:pt x="1577" y="1189"/>
                  </a:lnTo>
                  <a:lnTo>
                    <a:pt x="1568" y="1178"/>
                  </a:lnTo>
                  <a:lnTo>
                    <a:pt x="1557" y="1169"/>
                  </a:lnTo>
                  <a:lnTo>
                    <a:pt x="1545" y="1162"/>
                  </a:lnTo>
                  <a:lnTo>
                    <a:pt x="1538" y="1158"/>
                  </a:lnTo>
                  <a:lnTo>
                    <a:pt x="1530" y="1156"/>
                  </a:lnTo>
                  <a:lnTo>
                    <a:pt x="1522" y="1154"/>
                  </a:lnTo>
                  <a:lnTo>
                    <a:pt x="1513" y="1153"/>
                  </a:lnTo>
                  <a:lnTo>
                    <a:pt x="1504" y="1152"/>
                  </a:lnTo>
                  <a:lnTo>
                    <a:pt x="1493" y="1152"/>
                  </a:lnTo>
                  <a:lnTo>
                    <a:pt x="1482" y="1152"/>
                  </a:lnTo>
                  <a:lnTo>
                    <a:pt x="1470" y="1153"/>
                  </a:lnTo>
                  <a:lnTo>
                    <a:pt x="1450" y="1157"/>
                  </a:lnTo>
                  <a:lnTo>
                    <a:pt x="1434" y="1161"/>
                  </a:lnTo>
                  <a:lnTo>
                    <a:pt x="1418" y="1166"/>
                  </a:lnTo>
                  <a:lnTo>
                    <a:pt x="1406" y="1174"/>
                  </a:lnTo>
                  <a:lnTo>
                    <a:pt x="1401" y="1178"/>
                  </a:lnTo>
                  <a:lnTo>
                    <a:pt x="1396" y="1184"/>
                  </a:lnTo>
                  <a:lnTo>
                    <a:pt x="1390" y="1189"/>
                  </a:lnTo>
                  <a:lnTo>
                    <a:pt x="1386" y="1196"/>
                  </a:lnTo>
                  <a:lnTo>
                    <a:pt x="1378" y="1209"/>
                  </a:lnTo>
                  <a:lnTo>
                    <a:pt x="1373" y="1225"/>
                  </a:lnTo>
                  <a:lnTo>
                    <a:pt x="1369" y="1244"/>
                  </a:lnTo>
                  <a:lnTo>
                    <a:pt x="1366" y="1265"/>
                  </a:lnTo>
                  <a:lnTo>
                    <a:pt x="1365" y="1289"/>
                  </a:lnTo>
                  <a:lnTo>
                    <a:pt x="1366" y="1315"/>
                  </a:lnTo>
                  <a:lnTo>
                    <a:pt x="1368" y="1345"/>
                  </a:lnTo>
                  <a:lnTo>
                    <a:pt x="1370" y="1378"/>
                  </a:lnTo>
                  <a:lnTo>
                    <a:pt x="1374" y="1414"/>
                  </a:lnTo>
                  <a:lnTo>
                    <a:pt x="1380" y="1454"/>
                  </a:lnTo>
                  <a:lnTo>
                    <a:pt x="1341" y="1474"/>
                  </a:lnTo>
                  <a:lnTo>
                    <a:pt x="1314" y="1490"/>
                  </a:lnTo>
                  <a:lnTo>
                    <a:pt x="1305" y="1497"/>
                  </a:lnTo>
                  <a:lnTo>
                    <a:pt x="1297" y="1503"/>
                  </a:lnTo>
                  <a:lnTo>
                    <a:pt x="1290" y="1509"/>
                  </a:lnTo>
                  <a:lnTo>
                    <a:pt x="1286" y="1515"/>
                  </a:lnTo>
                  <a:lnTo>
                    <a:pt x="1274" y="1539"/>
                  </a:lnTo>
                  <a:lnTo>
                    <a:pt x="1260" y="1575"/>
                  </a:lnTo>
                  <a:lnTo>
                    <a:pt x="1250" y="1589"/>
                  </a:lnTo>
                  <a:lnTo>
                    <a:pt x="1242" y="1601"/>
                  </a:lnTo>
                  <a:lnTo>
                    <a:pt x="1234" y="1613"/>
                  </a:lnTo>
                  <a:lnTo>
                    <a:pt x="1225" y="1622"/>
                  </a:lnTo>
                  <a:lnTo>
                    <a:pt x="1217" y="1630"/>
                  </a:lnTo>
                  <a:lnTo>
                    <a:pt x="1208" y="1638"/>
                  </a:lnTo>
                  <a:lnTo>
                    <a:pt x="1200" y="1643"/>
                  </a:lnTo>
                  <a:lnTo>
                    <a:pt x="1192" y="1649"/>
                  </a:lnTo>
                  <a:lnTo>
                    <a:pt x="1174" y="1657"/>
                  </a:lnTo>
                  <a:lnTo>
                    <a:pt x="1158" y="1662"/>
                  </a:lnTo>
                  <a:lnTo>
                    <a:pt x="1142" y="1666"/>
                  </a:lnTo>
                  <a:lnTo>
                    <a:pt x="1128" y="1669"/>
                  </a:lnTo>
                  <a:lnTo>
                    <a:pt x="1113" y="1671"/>
                  </a:lnTo>
                  <a:lnTo>
                    <a:pt x="1100" y="1675"/>
                  </a:lnTo>
                  <a:lnTo>
                    <a:pt x="1086" y="1679"/>
                  </a:lnTo>
                  <a:lnTo>
                    <a:pt x="1074" y="1686"/>
                  </a:lnTo>
                  <a:lnTo>
                    <a:pt x="1068" y="1690"/>
                  </a:lnTo>
                  <a:lnTo>
                    <a:pt x="1062" y="1695"/>
                  </a:lnTo>
                  <a:lnTo>
                    <a:pt x="1057" y="1702"/>
                  </a:lnTo>
                  <a:lnTo>
                    <a:pt x="1053" y="1709"/>
                  </a:lnTo>
                  <a:lnTo>
                    <a:pt x="1048" y="1717"/>
                  </a:lnTo>
                  <a:lnTo>
                    <a:pt x="1044" y="1726"/>
                  </a:lnTo>
                  <a:lnTo>
                    <a:pt x="1040" y="1738"/>
                  </a:lnTo>
                  <a:lnTo>
                    <a:pt x="1037" y="1750"/>
                  </a:lnTo>
                  <a:lnTo>
                    <a:pt x="1020" y="1733"/>
                  </a:lnTo>
                  <a:lnTo>
                    <a:pt x="1001" y="1719"/>
                  </a:lnTo>
                  <a:lnTo>
                    <a:pt x="982" y="1709"/>
                  </a:lnTo>
                  <a:lnTo>
                    <a:pt x="965" y="1701"/>
                  </a:lnTo>
                  <a:lnTo>
                    <a:pt x="946" y="1693"/>
                  </a:lnTo>
                  <a:lnTo>
                    <a:pt x="928" y="1687"/>
                  </a:lnTo>
                  <a:lnTo>
                    <a:pt x="910" y="1683"/>
                  </a:lnTo>
                  <a:lnTo>
                    <a:pt x="894" y="1679"/>
                  </a:lnTo>
                  <a:lnTo>
                    <a:pt x="878" y="1675"/>
                  </a:lnTo>
                  <a:lnTo>
                    <a:pt x="865" y="1671"/>
                  </a:lnTo>
                  <a:lnTo>
                    <a:pt x="852" y="1666"/>
                  </a:lnTo>
                  <a:lnTo>
                    <a:pt x="841" y="1659"/>
                  </a:lnTo>
                  <a:lnTo>
                    <a:pt x="836" y="1657"/>
                  </a:lnTo>
                  <a:lnTo>
                    <a:pt x="832" y="1653"/>
                  </a:lnTo>
                  <a:lnTo>
                    <a:pt x="828" y="1647"/>
                  </a:lnTo>
                  <a:lnTo>
                    <a:pt x="825" y="1643"/>
                  </a:lnTo>
                  <a:lnTo>
                    <a:pt x="822" y="1638"/>
                  </a:lnTo>
                  <a:lnTo>
                    <a:pt x="821" y="1631"/>
                  </a:lnTo>
                  <a:lnTo>
                    <a:pt x="820" y="1625"/>
                  </a:lnTo>
                  <a:lnTo>
                    <a:pt x="820" y="1617"/>
                  </a:lnTo>
                  <a:lnTo>
                    <a:pt x="818" y="1609"/>
                  </a:lnTo>
                  <a:lnTo>
                    <a:pt x="816" y="1601"/>
                  </a:lnTo>
                  <a:lnTo>
                    <a:pt x="810" y="1593"/>
                  </a:lnTo>
                  <a:lnTo>
                    <a:pt x="805" y="1585"/>
                  </a:lnTo>
                  <a:lnTo>
                    <a:pt x="792" y="1570"/>
                  </a:lnTo>
                  <a:lnTo>
                    <a:pt x="781" y="1557"/>
                  </a:lnTo>
                  <a:lnTo>
                    <a:pt x="779" y="1551"/>
                  </a:lnTo>
                  <a:lnTo>
                    <a:pt x="777" y="1546"/>
                  </a:lnTo>
                  <a:lnTo>
                    <a:pt x="777" y="1543"/>
                  </a:lnTo>
                  <a:lnTo>
                    <a:pt x="777" y="1541"/>
                  </a:lnTo>
                  <a:lnTo>
                    <a:pt x="780" y="1539"/>
                  </a:lnTo>
                  <a:lnTo>
                    <a:pt x="781" y="1538"/>
                  </a:lnTo>
                  <a:lnTo>
                    <a:pt x="789" y="1535"/>
                  </a:lnTo>
                  <a:lnTo>
                    <a:pt x="801" y="1533"/>
                  </a:lnTo>
                  <a:lnTo>
                    <a:pt x="817" y="1533"/>
                  </a:lnTo>
                  <a:lnTo>
                    <a:pt x="837" y="1533"/>
                  </a:lnTo>
                  <a:lnTo>
                    <a:pt x="844" y="1534"/>
                  </a:lnTo>
                  <a:lnTo>
                    <a:pt x="850" y="1535"/>
                  </a:lnTo>
                  <a:lnTo>
                    <a:pt x="856" y="1538"/>
                  </a:lnTo>
                  <a:lnTo>
                    <a:pt x="860" y="1541"/>
                  </a:lnTo>
                  <a:lnTo>
                    <a:pt x="868" y="1547"/>
                  </a:lnTo>
                  <a:lnTo>
                    <a:pt x="874" y="1557"/>
                  </a:lnTo>
                  <a:lnTo>
                    <a:pt x="885" y="1579"/>
                  </a:lnTo>
                  <a:lnTo>
                    <a:pt x="893" y="1605"/>
                  </a:lnTo>
                  <a:lnTo>
                    <a:pt x="898" y="1617"/>
                  </a:lnTo>
                  <a:lnTo>
                    <a:pt x="904" y="1629"/>
                  </a:lnTo>
                  <a:lnTo>
                    <a:pt x="910" y="1641"/>
                  </a:lnTo>
                  <a:lnTo>
                    <a:pt x="918" y="1650"/>
                  </a:lnTo>
                  <a:lnTo>
                    <a:pt x="924" y="1655"/>
                  </a:lnTo>
                  <a:lnTo>
                    <a:pt x="929" y="1659"/>
                  </a:lnTo>
                  <a:lnTo>
                    <a:pt x="936" y="1662"/>
                  </a:lnTo>
                  <a:lnTo>
                    <a:pt x="942" y="1666"/>
                  </a:lnTo>
                  <a:lnTo>
                    <a:pt x="949" y="1669"/>
                  </a:lnTo>
                  <a:lnTo>
                    <a:pt x="957" y="1670"/>
                  </a:lnTo>
                  <a:lnTo>
                    <a:pt x="966" y="1671"/>
                  </a:lnTo>
                  <a:lnTo>
                    <a:pt x="976" y="1671"/>
                  </a:lnTo>
                  <a:lnTo>
                    <a:pt x="984" y="1670"/>
                  </a:lnTo>
                  <a:lnTo>
                    <a:pt x="992" y="1669"/>
                  </a:lnTo>
                  <a:lnTo>
                    <a:pt x="998" y="1665"/>
                  </a:lnTo>
                  <a:lnTo>
                    <a:pt x="1006" y="1661"/>
                  </a:lnTo>
                  <a:lnTo>
                    <a:pt x="1020" y="1650"/>
                  </a:lnTo>
                  <a:lnTo>
                    <a:pt x="1033" y="1637"/>
                  </a:lnTo>
                  <a:lnTo>
                    <a:pt x="1046" y="1619"/>
                  </a:lnTo>
                  <a:lnTo>
                    <a:pt x="1060" y="1601"/>
                  </a:lnTo>
                  <a:lnTo>
                    <a:pt x="1074" y="1581"/>
                  </a:lnTo>
                  <a:lnTo>
                    <a:pt x="1088" y="1558"/>
                  </a:lnTo>
                  <a:lnTo>
                    <a:pt x="1102" y="1535"/>
                  </a:lnTo>
                  <a:lnTo>
                    <a:pt x="1117" y="1511"/>
                  </a:lnTo>
                  <a:lnTo>
                    <a:pt x="1133" y="1489"/>
                  </a:lnTo>
                  <a:lnTo>
                    <a:pt x="1150" y="1465"/>
                  </a:lnTo>
                  <a:lnTo>
                    <a:pt x="1169" y="1442"/>
                  </a:lnTo>
                  <a:lnTo>
                    <a:pt x="1189" y="1421"/>
                  </a:lnTo>
                  <a:lnTo>
                    <a:pt x="1200" y="1410"/>
                  </a:lnTo>
                  <a:lnTo>
                    <a:pt x="1212" y="1401"/>
                  </a:lnTo>
                  <a:lnTo>
                    <a:pt x="1224" y="1391"/>
                  </a:lnTo>
                  <a:lnTo>
                    <a:pt x="1236" y="1382"/>
                  </a:lnTo>
                  <a:lnTo>
                    <a:pt x="1238" y="1366"/>
                  </a:lnTo>
                  <a:lnTo>
                    <a:pt x="1242" y="1351"/>
                  </a:lnTo>
                  <a:lnTo>
                    <a:pt x="1246" y="1339"/>
                  </a:lnTo>
                  <a:lnTo>
                    <a:pt x="1250" y="1329"/>
                  </a:lnTo>
                  <a:lnTo>
                    <a:pt x="1256" y="1319"/>
                  </a:lnTo>
                  <a:lnTo>
                    <a:pt x="1261" y="1311"/>
                  </a:lnTo>
                  <a:lnTo>
                    <a:pt x="1266" y="1305"/>
                  </a:lnTo>
                  <a:lnTo>
                    <a:pt x="1272" y="1301"/>
                  </a:lnTo>
                  <a:lnTo>
                    <a:pt x="1282" y="1293"/>
                  </a:lnTo>
                  <a:lnTo>
                    <a:pt x="1293" y="1288"/>
                  </a:lnTo>
                  <a:lnTo>
                    <a:pt x="1302" y="1285"/>
                  </a:lnTo>
                  <a:lnTo>
                    <a:pt x="1312" y="1281"/>
                  </a:lnTo>
                  <a:lnTo>
                    <a:pt x="1314" y="1280"/>
                  </a:lnTo>
                  <a:lnTo>
                    <a:pt x="1318" y="1277"/>
                  </a:lnTo>
                  <a:lnTo>
                    <a:pt x="1320" y="1274"/>
                  </a:lnTo>
                  <a:lnTo>
                    <a:pt x="1322" y="1272"/>
                  </a:lnTo>
                  <a:lnTo>
                    <a:pt x="1322" y="1266"/>
                  </a:lnTo>
                  <a:lnTo>
                    <a:pt x="1324" y="1261"/>
                  </a:lnTo>
                  <a:lnTo>
                    <a:pt x="1322" y="1254"/>
                  </a:lnTo>
                  <a:lnTo>
                    <a:pt x="1321" y="1246"/>
                  </a:lnTo>
                  <a:lnTo>
                    <a:pt x="1314" y="1226"/>
                  </a:lnTo>
                  <a:lnTo>
                    <a:pt x="1304" y="1198"/>
                  </a:lnTo>
                  <a:lnTo>
                    <a:pt x="1288" y="1164"/>
                  </a:lnTo>
                  <a:lnTo>
                    <a:pt x="1265" y="1117"/>
                  </a:lnTo>
                  <a:lnTo>
                    <a:pt x="1260" y="1106"/>
                  </a:lnTo>
                  <a:lnTo>
                    <a:pt x="1256" y="1094"/>
                  </a:lnTo>
                  <a:lnTo>
                    <a:pt x="1253" y="1082"/>
                  </a:lnTo>
                  <a:lnTo>
                    <a:pt x="1252" y="1069"/>
                  </a:lnTo>
                  <a:lnTo>
                    <a:pt x="1250" y="1056"/>
                  </a:lnTo>
                  <a:lnTo>
                    <a:pt x="1249" y="1041"/>
                  </a:lnTo>
                  <a:lnTo>
                    <a:pt x="1250" y="1026"/>
                  </a:lnTo>
                  <a:lnTo>
                    <a:pt x="1252" y="1012"/>
                  </a:lnTo>
                  <a:lnTo>
                    <a:pt x="1256" y="981"/>
                  </a:lnTo>
                  <a:lnTo>
                    <a:pt x="1262" y="949"/>
                  </a:lnTo>
                  <a:lnTo>
                    <a:pt x="1272" y="916"/>
                  </a:lnTo>
                  <a:lnTo>
                    <a:pt x="1282" y="884"/>
                  </a:lnTo>
                  <a:lnTo>
                    <a:pt x="1294" y="850"/>
                  </a:lnTo>
                  <a:lnTo>
                    <a:pt x="1308" y="818"/>
                  </a:lnTo>
                  <a:lnTo>
                    <a:pt x="1322" y="786"/>
                  </a:lnTo>
                  <a:lnTo>
                    <a:pt x="1336" y="756"/>
                  </a:lnTo>
                  <a:lnTo>
                    <a:pt x="1362" y="700"/>
                  </a:lnTo>
                  <a:lnTo>
                    <a:pt x="1386" y="653"/>
                  </a:lnTo>
                  <a:lnTo>
                    <a:pt x="1394" y="633"/>
                  </a:lnTo>
                  <a:lnTo>
                    <a:pt x="1398" y="617"/>
                  </a:lnTo>
                  <a:lnTo>
                    <a:pt x="1401" y="603"/>
                  </a:lnTo>
                  <a:lnTo>
                    <a:pt x="1400" y="589"/>
                  </a:lnTo>
                  <a:lnTo>
                    <a:pt x="1397" y="577"/>
                  </a:lnTo>
                  <a:lnTo>
                    <a:pt x="1393" y="568"/>
                  </a:lnTo>
                  <a:lnTo>
                    <a:pt x="1386" y="559"/>
                  </a:lnTo>
                  <a:lnTo>
                    <a:pt x="1381" y="548"/>
                  </a:lnTo>
                  <a:lnTo>
                    <a:pt x="1374" y="539"/>
                  </a:lnTo>
                  <a:lnTo>
                    <a:pt x="1368" y="528"/>
                  </a:lnTo>
                  <a:lnTo>
                    <a:pt x="1362" y="516"/>
                  </a:lnTo>
                  <a:lnTo>
                    <a:pt x="1358" y="503"/>
                  </a:lnTo>
                  <a:lnTo>
                    <a:pt x="1356" y="488"/>
                  </a:lnTo>
                  <a:lnTo>
                    <a:pt x="1354" y="469"/>
                  </a:lnTo>
                  <a:lnTo>
                    <a:pt x="1357" y="449"/>
                  </a:lnTo>
                  <a:lnTo>
                    <a:pt x="1362" y="425"/>
                  </a:lnTo>
                  <a:lnTo>
                    <a:pt x="1369" y="405"/>
                  </a:lnTo>
                  <a:lnTo>
                    <a:pt x="1376" y="389"/>
                  </a:lnTo>
                  <a:lnTo>
                    <a:pt x="1384" y="376"/>
                  </a:lnTo>
                  <a:lnTo>
                    <a:pt x="1392" y="367"/>
                  </a:lnTo>
                  <a:lnTo>
                    <a:pt x="1400" y="359"/>
                  </a:lnTo>
                  <a:lnTo>
                    <a:pt x="1409" y="353"/>
                  </a:lnTo>
                  <a:lnTo>
                    <a:pt x="1417" y="348"/>
                  </a:lnTo>
                  <a:lnTo>
                    <a:pt x="1426" y="343"/>
                  </a:lnTo>
                  <a:lnTo>
                    <a:pt x="1434" y="337"/>
                  </a:lnTo>
                  <a:lnTo>
                    <a:pt x="1444" y="329"/>
                  </a:lnTo>
                  <a:lnTo>
                    <a:pt x="1452" y="321"/>
                  </a:lnTo>
                  <a:lnTo>
                    <a:pt x="1461" y="309"/>
                  </a:lnTo>
                  <a:lnTo>
                    <a:pt x="1469" y="293"/>
                  </a:lnTo>
                  <a:lnTo>
                    <a:pt x="1478" y="275"/>
                  </a:lnTo>
                  <a:lnTo>
                    <a:pt x="1486" y="249"/>
                  </a:lnTo>
                  <a:lnTo>
                    <a:pt x="1494" y="220"/>
                  </a:lnTo>
                  <a:lnTo>
                    <a:pt x="1497" y="204"/>
                  </a:lnTo>
                  <a:lnTo>
                    <a:pt x="1498" y="189"/>
                  </a:lnTo>
                  <a:lnTo>
                    <a:pt x="1500" y="176"/>
                  </a:lnTo>
                  <a:lnTo>
                    <a:pt x="1500" y="164"/>
                  </a:lnTo>
                  <a:lnTo>
                    <a:pt x="1497" y="152"/>
                  </a:lnTo>
                  <a:lnTo>
                    <a:pt x="1494" y="143"/>
                  </a:lnTo>
                  <a:lnTo>
                    <a:pt x="1490" y="132"/>
                  </a:lnTo>
                  <a:lnTo>
                    <a:pt x="1485" y="124"/>
                  </a:lnTo>
                  <a:lnTo>
                    <a:pt x="1477" y="116"/>
                  </a:lnTo>
                  <a:lnTo>
                    <a:pt x="1469" y="108"/>
                  </a:lnTo>
                  <a:lnTo>
                    <a:pt x="1458" y="100"/>
                  </a:lnTo>
                  <a:lnTo>
                    <a:pt x="1446" y="94"/>
                  </a:lnTo>
                  <a:lnTo>
                    <a:pt x="1417" y="79"/>
                  </a:lnTo>
                  <a:lnTo>
                    <a:pt x="1380" y="64"/>
                  </a:lnTo>
                  <a:lnTo>
                    <a:pt x="1362" y="55"/>
                  </a:lnTo>
                  <a:lnTo>
                    <a:pt x="1346" y="46"/>
                  </a:lnTo>
                  <a:lnTo>
                    <a:pt x="1332" y="36"/>
                  </a:lnTo>
                  <a:lnTo>
                    <a:pt x="1320" y="27"/>
                  </a:lnTo>
                  <a:lnTo>
                    <a:pt x="1298" y="12"/>
                  </a:lnTo>
                  <a:lnTo>
                    <a:pt x="1282" y="3"/>
                  </a:lnTo>
                  <a:lnTo>
                    <a:pt x="1274" y="0"/>
                  </a:lnTo>
                  <a:lnTo>
                    <a:pt x="1266" y="0"/>
                  </a:lnTo>
                  <a:lnTo>
                    <a:pt x="1258" y="3"/>
                  </a:lnTo>
                  <a:lnTo>
                    <a:pt x="1252" y="8"/>
                  </a:lnTo>
                  <a:lnTo>
                    <a:pt x="1242" y="18"/>
                  </a:lnTo>
                  <a:lnTo>
                    <a:pt x="1233" y="30"/>
                  </a:lnTo>
                  <a:lnTo>
                    <a:pt x="1222" y="44"/>
                  </a:lnTo>
                  <a:lnTo>
                    <a:pt x="1212" y="64"/>
                  </a:lnTo>
                  <a:lnTo>
                    <a:pt x="1201" y="87"/>
                  </a:lnTo>
                  <a:lnTo>
                    <a:pt x="1185" y="126"/>
                  </a:lnTo>
                  <a:lnTo>
                    <a:pt x="1176" y="148"/>
                  </a:lnTo>
                  <a:lnTo>
                    <a:pt x="1165" y="173"/>
                  </a:lnTo>
                  <a:lnTo>
                    <a:pt x="1152" y="199"/>
                  </a:lnTo>
                  <a:lnTo>
                    <a:pt x="1137" y="225"/>
                  </a:lnTo>
                  <a:lnTo>
                    <a:pt x="1121" y="252"/>
                  </a:lnTo>
                  <a:lnTo>
                    <a:pt x="1101" y="276"/>
                  </a:lnTo>
                  <a:lnTo>
                    <a:pt x="1090" y="288"/>
                  </a:lnTo>
                  <a:lnTo>
                    <a:pt x="1080" y="300"/>
                  </a:lnTo>
                  <a:lnTo>
                    <a:pt x="1068" y="311"/>
                  </a:lnTo>
                  <a:lnTo>
                    <a:pt x="1056" y="320"/>
                  </a:lnTo>
                  <a:lnTo>
                    <a:pt x="1042" y="329"/>
                  </a:lnTo>
                  <a:lnTo>
                    <a:pt x="1028" y="337"/>
                  </a:lnTo>
                  <a:lnTo>
                    <a:pt x="1013" y="345"/>
                  </a:lnTo>
                  <a:lnTo>
                    <a:pt x="998" y="352"/>
                  </a:lnTo>
                  <a:lnTo>
                    <a:pt x="982" y="357"/>
                  </a:lnTo>
                  <a:lnTo>
                    <a:pt x="965" y="361"/>
                  </a:lnTo>
                  <a:lnTo>
                    <a:pt x="946" y="364"/>
                  </a:lnTo>
                  <a:lnTo>
                    <a:pt x="928" y="365"/>
                  </a:lnTo>
                  <a:lnTo>
                    <a:pt x="917" y="375"/>
                  </a:lnTo>
                  <a:lnTo>
                    <a:pt x="909" y="385"/>
                  </a:lnTo>
                  <a:lnTo>
                    <a:pt x="902" y="395"/>
                  </a:lnTo>
                  <a:lnTo>
                    <a:pt x="896" y="404"/>
                  </a:lnTo>
                  <a:lnTo>
                    <a:pt x="892" y="412"/>
                  </a:lnTo>
                  <a:lnTo>
                    <a:pt x="889" y="420"/>
                  </a:lnTo>
                  <a:lnTo>
                    <a:pt x="888" y="428"/>
                  </a:lnTo>
                  <a:lnTo>
                    <a:pt x="886" y="436"/>
                  </a:lnTo>
                  <a:lnTo>
                    <a:pt x="888" y="443"/>
                  </a:lnTo>
                  <a:lnTo>
                    <a:pt x="888" y="449"/>
                  </a:lnTo>
                  <a:lnTo>
                    <a:pt x="890" y="456"/>
                  </a:lnTo>
                  <a:lnTo>
                    <a:pt x="892" y="463"/>
                  </a:lnTo>
                  <a:lnTo>
                    <a:pt x="898" y="475"/>
                  </a:lnTo>
                  <a:lnTo>
                    <a:pt x="905" y="485"/>
                  </a:lnTo>
                  <a:lnTo>
                    <a:pt x="913" y="497"/>
                  </a:lnTo>
                  <a:lnTo>
                    <a:pt x="920" y="507"/>
                  </a:lnTo>
                  <a:lnTo>
                    <a:pt x="924" y="517"/>
                  </a:lnTo>
                  <a:lnTo>
                    <a:pt x="926" y="528"/>
                  </a:lnTo>
                  <a:lnTo>
                    <a:pt x="926" y="533"/>
                  </a:lnTo>
                  <a:lnTo>
                    <a:pt x="925" y="539"/>
                  </a:lnTo>
                  <a:lnTo>
                    <a:pt x="922" y="545"/>
                  </a:lnTo>
                  <a:lnTo>
                    <a:pt x="920" y="551"/>
                  </a:lnTo>
                  <a:lnTo>
                    <a:pt x="914" y="556"/>
                  </a:lnTo>
                  <a:lnTo>
                    <a:pt x="909" y="563"/>
                  </a:lnTo>
                  <a:lnTo>
                    <a:pt x="901" y="569"/>
                  </a:lnTo>
                  <a:lnTo>
                    <a:pt x="892" y="576"/>
                  </a:lnTo>
                  <a:lnTo>
                    <a:pt x="890" y="588"/>
                  </a:lnTo>
                  <a:lnTo>
                    <a:pt x="886" y="599"/>
                  </a:lnTo>
                  <a:lnTo>
                    <a:pt x="884" y="611"/>
                  </a:lnTo>
                  <a:lnTo>
                    <a:pt x="878" y="621"/>
                  </a:lnTo>
                  <a:lnTo>
                    <a:pt x="869" y="641"/>
                  </a:lnTo>
                  <a:lnTo>
                    <a:pt x="857" y="659"/>
                  </a:lnTo>
                  <a:lnTo>
                    <a:pt x="832" y="691"/>
                  </a:lnTo>
                  <a:lnTo>
                    <a:pt x="808" y="719"/>
                  </a:lnTo>
                  <a:lnTo>
                    <a:pt x="799" y="730"/>
                  </a:lnTo>
                  <a:lnTo>
                    <a:pt x="791" y="744"/>
                  </a:lnTo>
                  <a:lnTo>
                    <a:pt x="788" y="749"/>
                  </a:lnTo>
                  <a:lnTo>
                    <a:pt x="787" y="754"/>
                  </a:lnTo>
                  <a:lnTo>
                    <a:pt x="785" y="761"/>
                  </a:lnTo>
                  <a:lnTo>
                    <a:pt x="785" y="766"/>
                  </a:lnTo>
                  <a:lnTo>
                    <a:pt x="787" y="773"/>
                  </a:lnTo>
                  <a:lnTo>
                    <a:pt x="789" y="778"/>
                  </a:lnTo>
                  <a:lnTo>
                    <a:pt x="792" y="785"/>
                  </a:lnTo>
                  <a:lnTo>
                    <a:pt x="797" y="790"/>
                  </a:lnTo>
                  <a:lnTo>
                    <a:pt x="804" y="797"/>
                  </a:lnTo>
                  <a:lnTo>
                    <a:pt x="812" y="804"/>
                  </a:lnTo>
                  <a:lnTo>
                    <a:pt x="821" y="809"/>
                  </a:lnTo>
                  <a:lnTo>
                    <a:pt x="832" y="816"/>
                  </a:lnTo>
                  <a:lnTo>
                    <a:pt x="845" y="825"/>
                  </a:lnTo>
                  <a:lnTo>
                    <a:pt x="856" y="833"/>
                  </a:lnTo>
                  <a:lnTo>
                    <a:pt x="864" y="844"/>
                  </a:lnTo>
                  <a:lnTo>
                    <a:pt x="870" y="853"/>
                  </a:lnTo>
                  <a:lnTo>
                    <a:pt x="876" y="864"/>
                  </a:lnTo>
                  <a:lnTo>
                    <a:pt x="880" y="876"/>
                  </a:lnTo>
                  <a:lnTo>
                    <a:pt x="882" y="886"/>
                  </a:lnTo>
                  <a:lnTo>
                    <a:pt x="884" y="898"/>
                  </a:lnTo>
                  <a:lnTo>
                    <a:pt x="888" y="921"/>
                  </a:lnTo>
                  <a:lnTo>
                    <a:pt x="890" y="944"/>
                  </a:lnTo>
                  <a:lnTo>
                    <a:pt x="894" y="956"/>
                  </a:lnTo>
                  <a:lnTo>
                    <a:pt x="898" y="965"/>
                  </a:lnTo>
                  <a:lnTo>
                    <a:pt x="902" y="976"/>
                  </a:lnTo>
                  <a:lnTo>
                    <a:pt x="910" y="985"/>
                  </a:lnTo>
                  <a:lnTo>
                    <a:pt x="910" y="990"/>
                  </a:lnTo>
                  <a:lnTo>
                    <a:pt x="913" y="1004"/>
                  </a:lnTo>
                  <a:lnTo>
                    <a:pt x="914" y="1024"/>
                  </a:lnTo>
                  <a:lnTo>
                    <a:pt x="913" y="1046"/>
                  </a:lnTo>
                  <a:lnTo>
                    <a:pt x="912" y="1057"/>
                  </a:lnTo>
                  <a:lnTo>
                    <a:pt x="909" y="1069"/>
                  </a:lnTo>
                  <a:lnTo>
                    <a:pt x="905" y="1080"/>
                  </a:lnTo>
                  <a:lnTo>
                    <a:pt x="900" y="1089"/>
                  </a:lnTo>
                  <a:lnTo>
                    <a:pt x="893" y="1097"/>
                  </a:lnTo>
                  <a:lnTo>
                    <a:pt x="885" y="1104"/>
                  </a:lnTo>
                  <a:lnTo>
                    <a:pt x="880" y="1106"/>
                  </a:lnTo>
                  <a:lnTo>
                    <a:pt x="874" y="1109"/>
                  </a:lnTo>
                  <a:lnTo>
                    <a:pt x="868" y="1110"/>
                  </a:lnTo>
                  <a:lnTo>
                    <a:pt x="862" y="1112"/>
                  </a:lnTo>
                  <a:lnTo>
                    <a:pt x="854" y="1112"/>
                  </a:lnTo>
                  <a:lnTo>
                    <a:pt x="846" y="1112"/>
                  </a:lnTo>
                  <a:lnTo>
                    <a:pt x="838" y="1109"/>
                  </a:lnTo>
                  <a:lnTo>
                    <a:pt x="832" y="1106"/>
                  </a:lnTo>
                  <a:lnTo>
                    <a:pt x="824" y="1102"/>
                  </a:lnTo>
                  <a:lnTo>
                    <a:pt x="817" y="1097"/>
                  </a:lnTo>
                  <a:lnTo>
                    <a:pt x="809" y="1090"/>
                  </a:lnTo>
                  <a:lnTo>
                    <a:pt x="803" y="1084"/>
                  </a:lnTo>
                  <a:lnTo>
                    <a:pt x="788" y="1066"/>
                  </a:lnTo>
                  <a:lnTo>
                    <a:pt x="775" y="1046"/>
                  </a:lnTo>
                  <a:lnTo>
                    <a:pt x="761" y="1024"/>
                  </a:lnTo>
                  <a:lnTo>
                    <a:pt x="748" y="1000"/>
                  </a:lnTo>
                  <a:lnTo>
                    <a:pt x="720" y="945"/>
                  </a:lnTo>
                  <a:lnTo>
                    <a:pt x="692" y="886"/>
                  </a:lnTo>
                  <a:lnTo>
                    <a:pt x="679" y="858"/>
                  </a:lnTo>
                  <a:lnTo>
                    <a:pt x="664" y="829"/>
                  </a:lnTo>
                  <a:lnTo>
                    <a:pt x="649" y="801"/>
                  </a:lnTo>
                  <a:lnTo>
                    <a:pt x="633" y="774"/>
                  </a:lnTo>
                  <a:lnTo>
                    <a:pt x="625" y="786"/>
                  </a:lnTo>
                  <a:lnTo>
                    <a:pt x="615" y="798"/>
                  </a:lnTo>
                  <a:lnTo>
                    <a:pt x="604" y="809"/>
                  </a:lnTo>
                  <a:lnTo>
                    <a:pt x="593" y="820"/>
                  </a:lnTo>
                  <a:lnTo>
                    <a:pt x="583" y="830"/>
                  </a:lnTo>
                  <a:lnTo>
                    <a:pt x="575" y="842"/>
                  </a:lnTo>
                  <a:lnTo>
                    <a:pt x="572" y="849"/>
                  </a:lnTo>
                  <a:lnTo>
                    <a:pt x="569" y="856"/>
                  </a:lnTo>
                  <a:lnTo>
                    <a:pt x="568" y="862"/>
                  </a:lnTo>
                  <a:lnTo>
                    <a:pt x="567" y="870"/>
                  </a:lnTo>
                  <a:lnTo>
                    <a:pt x="568" y="878"/>
                  </a:lnTo>
                  <a:lnTo>
                    <a:pt x="569" y="885"/>
                  </a:lnTo>
                  <a:lnTo>
                    <a:pt x="572" y="893"/>
                  </a:lnTo>
                  <a:lnTo>
                    <a:pt x="575" y="900"/>
                  </a:lnTo>
                  <a:lnTo>
                    <a:pt x="583" y="913"/>
                  </a:lnTo>
                  <a:lnTo>
                    <a:pt x="591" y="926"/>
                  </a:lnTo>
                  <a:lnTo>
                    <a:pt x="600" y="940"/>
                  </a:lnTo>
                  <a:lnTo>
                    <a:pt x="608" y="956"/>
                  </a:lnTo>
                  <a:lnTo>
                    <a:pt x="611" y="964"/>
                  </a:lnTo>
                  <a:lnTo>
                    <a:pt x="613" y="972"/>
                  </a:lnTo>
                  <a:lnTo>
                    <a:pt x="615" y="981"/>
                  </a:lnTo>
                  <a:lnTo>
                    <a:pt x="615" y="990"/>
                  </a:lnTo>
                  <a:lnTo>
                    <a:pt x="615" y="1004"/>
                  </a:lnTo>
                  <a:lnTo>
                    <a:pt x="612" y="1014"/>
                  </a:lnTo>
                  <a:lnTo>
                    <a:pt x="609" y="1025"/>
                  </a:lnTo>
                  <a:lnTo>
                    <a:pt x="605" y="1033"/>
                  </a:lnTo>
                  <a:lnTo>
                    <a:pt x="595" y="1049"/>
                  </a:lnTo>
                  <a:lnTo>
                    <a:pt x="581" y="1062"/>
                  </a:lnTo>
                  <a:lnTo>
                    <a:pt x="569" y="1074"/>
                  </a:lnTo>
                  <a:lnTo>
                    <a:pt x="559" y="1088"/>
                  </a:lnTo>
                  <a:lnTo>
                    <a:pt x="555" y="1096"/>
                  </a:lnTo>
                  <a:lnTo>
                    <a:pt x="552" y="1104"/>
                  </a:lnTo>
                  <a:lnTo>
                    <a:pt x="549" y="1113"/>
                  </a:lnTo>
                  <a:lnTo>
                    <a:pt x="549" y="1124"/>
                  </a:lnTo>
                  <a:lnTo>
                    <a:pt x="549" y="1128"/>
                  </a:lnTo>
                  <a:lnTo>
                    <a:pt x="551" y="1132"/>
                  </a:lnTo>
                  <a:lnTo>
                    <a:pt x="553" y="1137"/>
                  </a:lnTo>
                  <a:lnTo>
                    <a:pt x="556" y="1141"/>
                  </a:lnTo>
                  <a:lnTo>
                    <a:pt x="563" y="1149"/>
                  </a:lnTo>
                  <a:lnTo>
                    <a:pt x="569" y="1158"/>
                  </a:lnTo>
                  <a:lnTo>
                    <a:pt x="577" y="1168"/>
                  </a:lnTo>
                  <a:lnTo>
                    <a:pt x="584" y="1177"/>
                  </a:lnTo>
                  <a:lnTo>
                    <a:pt x="587" y="1184"/>
                  </a:lnTo>
                  <a:lnTo>
                    <a:pt x="589" y="1189"/>
                  </a:lnTo>
                  <a:lnTo>
                    <a:pt x="591" y="1196"/>
                  </a:lnTo>
                  <a:lnTo>
                    <a:pt x="591" y="1202"/>
                  </a:lnTo>
                  <a:lnTo>
                    <a:pt x="591" y="1212"/>
                  </a:lnTo>
                  <a:lnTo>
                    <a:pt x="589" y="1221"/>
                  </a:lnTo>
                  <a:lnTo>
                    <a:pt x="587" y="1232"/>
                  </a:lnTo>
                  <a:lnTo>
                    <a:pt x="584" y="1240"/>
                  </a:lnTo>
                  <a:lnTo>
                    <a:pt x="579" y="1249"/>
                  </a:lnTo>
                  <a:lnTo>
                    <a:pt x="575" y="1258"/>
                  </a:lnTo>
                  <a:lnTo>
                    <a:pt x="569" y="1266"/>
                  </a:lnTo>
                  <a:lnTo>
                    <a:pt x="563" y="1274"/>
                  </a:lnTo>
                  <a:lnTo>
                    <a:pt x="548" y="1290"/>
                  </a:lnTo>
                  <a:lnTo>
                    <a:pt x="532" y="1304"/>
                  </a:lnTo>
                  <a:lnTo>
                    <a:pt x="513" y="1317"/>
                  </a:lnTo>
                  <a:lnTo>
                    <a:pt x="495" y="1330"/>
                  </a:lnTo>
                  <a:lnTo>
                    <a:pt x="475" y="1341"/>
                  </a:lnTo>
                  <a:lnTo>
                    <a:pt x="453" y="1351"/>
                  </a:lnTo>
                  <a:lnTo>
                    <a:pt x="433" y="1361"/>
                  </a:lnTo>
                  <a:lnTo>
                    <a:pt x="413" y="1369"/>
                  </a:lnTo>
                  <a:lnTo>
                    <a:pt x="376" y="1383"/>
                  </a:lnTo>
                  <a:lnTo>
                    <a:pt x="344" y="1394"/>
                  </a:lnTo>
                  <a:lnTo>
                    <a:pt x="321" y="1402"/>
                  </a:lnTo>
                  <a:lnTo>
                    <a:pt x="300" y="1411"/>
                  </a:lnTo>
                  <a:lnTo>
                    <a:pt x="279" y="1421"/>
                  </a:lnTo>
                  <a:lnTo>
                    <a:pt x="260" y="1430"/>
                  </a:lnTo>
                  <a:lnTo>
                    <a:pt x="224" y="1449"/>
                  </a:lnTo>
                  <a:lnTo>
                    <a:pt x="189" y="1470"/>
                  </a:lnTo>
                  <a:lnTo>
                    <a:pt x="156" y="1490"/>
                  </a:lnTo>
                  <a:lnTo>
                    <a:pt x="123" y="1510"/>
                  </a:lnTo>
                  <a:lnTo>
                    <a:pt x="105" y="1519"/>
                  </a:lnTo>
                  <a:lnTo>
                    <a:pt x="88" y="1527"/>
                  </a:lnTo>
                  <a:lnTo>
                    <a:pt x="68" y="1537"/>
                  </a:lnTo>
                  <a:lnTo>
                    <a:pt x="49" y="1545"/>
                  </a:lnTo>
                  <a:lnTo>
                    <a:pt x="53" y="1555"/>
                  </a:lnTo>
                  <a:lnTo>
                    <a:pt x="57" y="1563"/>
                  </a:lnTo>
                  <a:lnTo>
                    <a:pt x="60" y="1570"/>
                  </a:lnTo>
                  <a:lnTo>
                    <a:pt x="61" y="1581"/>
                  </a:lnTo>
                  <a:lnTo>
                    <a:pt x="61" y="1613"/>
                  </a:lnTo>
                  <a:lnTo>
                    <a:pt x="61" y="1630"/>
                  </a:lnTo>
                  <a:lnTo>
                    <a:pt x="61" y="1647"/>
                  </a:lnTo>
                  <a:lnTo>
                    <a:pt x="61" y="1671"/>
                  </a:lnTo>
                  <a:lnTo>
                    <a:pt x="60" y="1683"/>
                  </a:lnTo>
                  <a:lnTo>
                    <a:pt x="59" y="1694"/>
                  </a:lnTo>
                  <a:lnTo>
                    <a:pt x="55" y="1705"/>
                  </a:lnTo>
                  <a:lnTo>
                    <a:pt x="52" y="1714"/>
                  </a:lnTo>
                  <a:lnTo>
                    <a:pt x="42" y="1733"/>
                  </a:lnTo>
                  <a:lnTo>
                    <a:pt x="31" y="1749"/>
                  </a:lnTo>
                  <a:lnTo>
                    <a:pt x="20" y="1765"/>
                  </a:lnTo>
                  <a:lnTo>
                    <a:pt x="11" y="1782"/>
                  </a:lnTo>
                  <a:lnTo>
                    <a:pt x="7" y="1791"/>
                  </a:lnTo>
                  <a:lnTo>
                    <a:pt x="3" y="1801"/>
                  </a:lnTo>
                  <a:lnTo>
                    <a:pt x="2" y="1811"/>
                  </a:lnTo>
                  <a:lnTo>
                    <a:pt x="0" y="1822"/>
                  </a:lnTo>
                  <a:lnTo>
                    <a:pt x="2" y="1830"/>
                  </a:lnTo>
                  <a:lnTo>
                    <a:pt x="2" y="1837"/>
                  </a:lnTo>
                  <a:lnTo>
                    <a:pt x="4" y="1843"/>
                  </a:lnTo>
                  <a:lnTo>
                    <a:pt x="6" y="1849"/>
                  </a:lnTo>
                  <a:lnTo>
                    <a:pt x="12" y="1859"/>
                  </a:lnTo>
                  <a:lnTo>
                    <a:pt x="20" y="1869"/>
                  </a:lnTo>
                  <a:lnTo>
                    <a:pt x="28" y="1875"/>
                  </a:lnTo>
                  <a:lnTo>
                    <a:pt x="39" y="1881"/>
                  </a:lnTo>
                  <a:lnTo>
                    <a:pt x="49" y="1886"/>
                  </a:lnTo>
                  <a:lnTo>
                    <a:pt x="61" y="1889"/>
                  </a:lnTo>
                  <a:lnTo>
                    <a:pt x="61" y="1899"/>
                  </a:lnTo>
                  <a:lnTo>
                    <a:pt x="63" y="1908"/>
                  </a:lnTo>
                  <a:lnTo>
                    <a:pt x="65" y="1916"/>
                  </a:lnTo>
                  <a:lnTo>
                    <a:pt x="69" y="1923"/>
                  </a:lnTo>
                  <a:lnTo>
                    <a:pt x="73" y="1930"/>
                  </a:lnTo>
                  <a:lnTo>
                    <a:pt x="79" y="1935"/>
                  </a:lnTo>
                  <a:lnTo>
                    <a:pt x="85" y="1940"/>
                  </a:lnTo>
                  <a:lnTo>
                    <a:pt x="92" y="1943"/>
                  </a:lnTo>
                  <a:lnTo>
                    <a:pt x="99" y="1947"/>
                  </a:lnTo>
                  <a:lnTo>
                    <a:pt x="107" y="1950"/>
                  </a:lnTo>
                  <a:lnTo>
                    <a:pt x="116" y="1951"/>
                  </a:lnTo>
                  <a:lnTo>
                    <a:pt x="124" y="1952"/>
                  </a:lnTo>
                  <a:lnTo>
                    <a:pt x="143" y="1954"/>
                  </a:lnTo>
                  <a:lnTo>
                    <a:pt x="163" y="1954"/>
                  </a:lnTo>
                  <a:lnTo>
                    <a:pt x="207" y="1954"/>
                  </a:lnTo>
                  <a:lnTo>
                    <a:pt x="248" y="1954"/>
                  </a:lnTo>
                  <a:lnTo>
                    <a:pt x="284" y="1954"/>
                  </a:lnTo>
                  <a:lnTo>
                    <a:pt x="313" y="1954"/>
                  </a:lnTo>
                  <a:lnTo>
                    <a:pt x="321" y="1955"/>
                  </a:lnTo>
                  <a:lnTo>
                    <a:pt x="329" y="1956"/>
                  </a:lnTo>
                  <a:lnTo>
                    <a:pt x="336" y="1959"/>
                  </a:lnTo>
                  <a:lnTo>
                    <a:pt x="341" y="1963"/>
                  </a:lnTo>
                  <a:lnTo>
                    <a:pt x="347" y="1967"/>
                  </a:lnTo>
                  <a:lnTo>
                    <a:pt x="352" y="1974"/>
                  </a:lnTo>
                  <a:lnTo>
                    <a:pt x="356" y="1979"/>
                  </a:lnTo>
                  <a:lnTo>
                    <a:pt x="359" y="1986"/>
                  </a:lnTo>
                  <a:lnTo>
                    <a:pt x="365" y="2002"/>
                  </a:lnTo>
                  <a:lnTo>
                    <a:pt x="371" y="2019"/>
                  </a:lnTo>
                  <a:lnTo>
                    <a:pt x="375" y="2038"/>
                  </a:lnTo>
                  <a:lnTo>
                    <a:pt x="379" y="2056"/>
                  </a:lnTo>
                  <a:lnTo>
                    <a:pt x="383" y="2075"/>
                  </a:lnTo>
                  <a:lnTo>
                    <a:pt x="388" y="2094"/>
                  </a:lnTo>
                  <a:lnTo>
                    <a:pt x="393" y="2111"/>
                  </a:lnTo>
                  <a:lnTo>
                    <a:pt x="400" y="2127"/>
                  </a:lnTo>
                  <a:lnTo>
                    <a:pt x="404" y="2134"/>
                  </a:lnTo>
                  <a:lnTo>
                    <a:pt x="409" y="2140"/>
                  </a:lnTo>
                  <a:lnTo>
                    <a:pt x="415" y="2146"/>
                  </a:lnTo>
                  <a:lnTo>
                    <a:pt x="421" y="2150"/>
                  </a:lnTo>
                  <a:lnTo>
                    <a:pt x="428" y="2154"/>
                  </a:lnTo>
                  <a:lnTo>
                    <a:pt x="435" y="2156"/>
                  </a:lnTo>
                  <a:lnTo>
                    <a:pt x="443" y="2159"/>
                  </a:lnTo>
                  <a:lnTo>
                    <a:pt x="452" y="2159"/>
                  </a:lnTo>
                  <a:lnTo>
                    <a:pt x="464" y="2158"/>
                  </a:lnTo>
                  <a:lnTo>
                    <a:pt x="475" y="2155"/>
                  </a:lnTo>
                  <a:lnTo>
                    <a:pt x="484" y="2151"/>
                  </a:lnTo>
                  <a:lnTo>
                    <a:pt x="495" y="2146"/>
                  </a:lnTo>
                  <a:lnTo>
                    <a:pt x="505" y="2142"/>
                  </a:lnTo>
                  <a:lnTo>
                    <a:pt x="515" y="2136"/>
                  </a:lnTo>
                  <a:lnTo>
                    <a:pt x="525" y="2132"/>
                  </a:lnTo>
                  <a:lnTo>
                    <a:pt x="537" y="2128"/>
                  </a:lnTo>
                  <a:lnTo>
                    <a:pt x="541" y="2136"/>
                  </a:lnTo>
                  <a:lnTo>
                    <a:pt x="547" y="2143"/>
                  </a:lnTo>
                  <a:lnTo>
                    <a:pt x="551" y="2144"/>
                  </a:lnTo>
                  <a:lnTo>
                    <a:pt x="556" y="2146"/>
                  </a:lnTo>
                  <a:lnTo>
                    <a:pt x="560" y="2147"/>
                  </a:lnTo>
                  <a:lnTo>
                    <a:pt x="567" y="2147"/>
                  </a:lnTo>
                  <a:lnTo>
                    <a:pt x="576" y="2146"/>
                  </a:lnTo>
                  <a:lnTo>
                    <a:pt x="583" y="2142"/>
                  </a:lnTo>
                  <a:lnTo>
                    <a:pt x="589" y="2138"/>
                  </a:lnTo>
                  <a:lnTo>
                    <a:pt x="596" y="2132"/>
                  </a:lnTo>
                  <a:lnTo>
                    <a:pt x="603" y="2126"/>
                  </a:lnTo>
                  <a:lnTo>
                    <a:pt x="608" y="2122"/>
                  </a:lnTo>
                  <a:lnTo>
                    <a:pt x="615" y="2118"/>
                  </a:lnTo>
                  <a:lnTo>
                    <a:pt x="621" y="2116"/>
                  </a:lnTo>
                  <a:lnTo>
                    <a:pt x="627" y="2118"/>
                  </a:lnTo>
                  <a:lnTo>
                    <a:pt x="633" y="2120"/>
                  </a:lnTo>
                  <a:lnTo>
                    <a:pt x="643" y="2123"/>
                  </a:lnTo>
                  <a:lnTo>
                    <a:pt x="653" y="2128"/>
                  </a:lnTo>
                  <a:lnTo>
                    <a:pt x="676" y="2140"/>
                  </a:lnTo>
                  <a:lnTo>
                    <a:pt x="700" y="2156"/>
                  </a:lnTo>
                  <a:lnTo>
                    <a:pt x="723" y="2172"/>
                  </a:lnTo>
                  <a:lnTo>
                    <a:pt x="741" y="2188"/>
                  </a:lnTo>
                  <a:lnTo>
                    <a:pt x="749" y="2195"/>
                  </a:lnTo>
                  <a:lnTo>
                    <a:pt x="755" y="2202"/>
                  </a:lnTo>
                  <a:lnTo>
                    <a:pt x="759" y="2208"/>
                  </a:lnTo>
                  <a:lnTo>
                    <a:pt x="760" y="2214"/>
                  </a:lnTo>
                  <a:lnTo>
                    <a:pt x="760" y="2230"/>
                  </a:lnTo>
                  <a:lnTo>
                    <a:pt x="760" y="2242"/>
                  </a:lnTo>
                  <a:lnTo>
                    <a:pt x="760" y="2252"/>
                  </a:lnTo>
                  <a:lnTo>
                    <a:pt x="760" y="2262"/>
                  </a:lnTo>
                  <a:lnTo>
                    <a:pt x="761" y="2278"/>
                  </a:lnTo>
                  <a:lnTo>
                    <a:pt x="767" y="2298"/>
                  </a:lnTo>
                  <a:lnTo>
                    <a:pt x="775" y="2320"/>
                  </a:lnTo>
                  <a:lnTo>
                    <a:pt x="784" y="2339"/>
                  </a:lnTo>
                  <a:lnTo>
                    <a:pt x="789" y="2348"/>
                  </a:lnTo>
                  <a:lnTo>
                    <a:pt x="795" y="2358"/>
                  </a:lnTo>
                  <a:lnTo>
                    <a:pt x="799" y="2367"/>
                  </a:lnTo>
                  <a:lnTo>
                    <a:pt x="801" y="2376"/>
                  </a:lnTo>
                  <a:lnTo>
                    <a:pt x="805" y="2395"/>
                  </a:lnTo>
                  <a:lnTo>
                    <a:pt x="808" y="2414"/>
                  </a:lnTo>
                  <a:lnTo>
                    <a:pt x="812" y="2431"/>
                  </a:lnTo>
                  <a:lnTo>
                    <a:pt x="817" y="2448"/>
                  </a:lnTo>
                  <a:lnTo>
                    <a:pt x="820" y="2456"/>
                  </a:lnTo>
                  <a:lnTo>
                    <a:pt x="825" y="2464"/>
                  </a:lnTo>
                  <a:lnTo>
                    <a:pt x="830" y="2471"/>
                  </a:lnTo>
                  <a:lnTo>
                    <a:pt x="837" y="2478"/>
                  </a:lnTo>
                  <a:lnTo>
                    <a:pt x="952" y="2478"/>
                  </a:lnTo>
                  <a:lnTo>
                    <a:pt x="977" y="2508"/>
                  </a:lnTo>
                  <a:lnTo>
                    <a:pt x="1001" y="2533"/>
                  </a:lnTo>
                  <a:lnTo>
                    <a:pt x="1013" y="2544"/>
                  </a:lnTo>
                  <a:lnTo>
                    <a:pt x="1026" y="2555"/>
                  </a:lnTo>
                  <a:lnTo>
                    <a:pt x="1040" y="2565"/>
                  </a:lnTo>
                  <a:lnTo>
                    <a:pt x="1054" y="2575"/>
                  </a:lnTo>
                  <a:lnTo>
                    <a:pt x="1068" y="2580"/>
                  </a:lnTo>
                  <a:lnTo>
                    <a:pt x="1081" y="2587"/>
                  </a:lnTo>
                  <a:lnTo>
                    <a:pt x="1097" y="2591"/>
                  </a:lnTo>
                  <a:lnTo>
                    <a:pt x="1113" y="2596"/>
                  </a:lnTo>
                  <a:lnTo>
                    <a:pt x="1145" y="2603"/>
                  </a:lnTo>
                  <a:lnTo>
                    <a:pt x="1180" y="2609"/>
                  </a:lnTo>
                  <a:lnTo>
                    <a:pt x="1213" y="2615"/>
                  </a:lnTo>
                  <a:lnTo>
                    <a:pt x="1244" y="2620"/>
                  </a:lnTo>
                  <a:lnTo>
                    <a:pt x="1258" y="2623"/>
                  </a:lnTo>
                  <a:lnTo>
                    <a:pt x="1272" y="2627"/>
                  </a:lnTo>
                  <a:lnTo>
                    <a:pt x="1285" y="2631"/>
                  </a:lnTo>
                  <a:lnTo>
                    <a:pt x="1296" y="2635"/>
                  </a:lnTo>
                  <a:lnTo>
                    <a:pt x="1313" y="2645"/>
                  </a:lnTo>
                  <a:lnTo>
                    <a:pt x="1329" y="2657"/>
                  </a:lnTo>
                  <a:lnTo>
                    <a:pt x="1342" y="2671"/>
                  </a:lnTo>
                  <a:lnTo>
                    <a:pt x="1354" y="2685"/>
                  </a:lnTo>
                  <a:lnTo>
                    <a:pt x="1377" y="2713"/>
                  </a:lnTo>
                  <a:lnTo>
                    <a:pt x="1397" y="2743"/>
                  </a:lnTo>
                  <a:lnTo>
                    <a:pt x="1406" y="2756"/>
                  </a:lnTo>
                  <a:lnTo>
                    <a:pt x="1418" y="2768"/>
                  </a:lnTo>
                  <a:lnTo>
                    <a:pt x="1430" y="2780"/>
                  </a:lnTo>
                  <a:lnTo>
                    <a:pt x="1445" y="2789"/>
                  </a:lnTo>
                  <a:lnTo>
                    <a:pt x="1452" y="2793"/>
                  </a:lnTo>
                  <a:lnTo>
                    <a:pt x="1461" y="2797"/>
                  </a:lnTo>
                  <a:lnTo>
                    <a:pt x="1469" y="2801"/>
                  </a:lnTo>
                  <a:lnTo>
                    <a:pt x="1478" y="2804"/>
                  </a:lnTo>
                  <a:lnTo>
                    <a:pt x="1489" y="2807"/>
                  </a:lnTo>
                  <a:lnTo>
                    <a:pt x="1500" y="2808"/>
                  </a:lnTo>
                  <a:lnTo>
                    <a:pt x="1512" y="2809"/>
                  </a:lnTo>
                  <a:lnTo>
                    <a:pt x="1525" y="2809"/>
                  </a:lnTo>
                  <a:lnTo>
                    <a:pt x="1556" y="2811"/>
                  </a:lnTo>
                  <a:lnTo>
                    <a:pt x="1585" y="2815"/>
                  </a:lnTo>
                  <a:lnTo>
                    <a:pt x="1614" y="2820"/>
                  </a:lnTo>
                  <a:lnTo>
                    <a:pt x="1645" y="2821"/>
                  </a:lnTo>
                  <a:lnTo>
                    <a:pt x="1658" y="2820"/>
                  </a:lnTo>
                  <a:lnTo>
                    <a:pt x="1669" y="2817"/>
                  </a:lnTo>
                  <a:lnTo>
                    <a:pt x="1679" y="2812"/>
                  </a:lnTo>
                  <a:lnTo>
                    <a:pt x="1689" y="2805"/>
                  </a:lnTo>
                  <a:lnTo>
                    <a:pt x="1697" y="2797"/>
                  </a:lnTo>
                  <a:lnTo>
                    <a:pt x="1705" y="2789"/>
                  </a:lnTo>
                  <a:lnTo>
                    <a:pt x="1711" y="2780"/>
                  </a:lnTo>
                  <a:lnTo>
                    <a:pt x="1719" y="2771"/>
                  </a:lnTo>
                  <a:lnTo>
                    <a:pt x="1733" y="2751"/>
                  </a:lnTo>
                  <a:lnTo>
                    <a:pt x="1749" y="2735"/>
                  </a:lnTo>
                  <a:lnTo>
                    <a:pt x="1758" y="2728"/>
                  </a:lnTo>
                  <a:lnTo>
                    <a:pt x="1767" y="2723"/>
                  </a:lnTo>
                  <a:lnTo>
                    <a:pt x="1778" y="2720"/>
                  </a:lnTo>
                  <a:lnTo>
                    <a:pt x="1789" y="2719"/>
                  </a:lnTo>
                  <a:lnTo>
                    <a:pt x="1797" y="2720"/>
                  </a:lnTo>
                  <a:lnTo>
                    <a:pt x="1803" y="2721"/>
                  </a:lnTo>
                  <a:lnTo>
                    <a:pt x="1810" y="2725"/>
                  </a:lnTo>
                  <a:lnTo>
                    <a:pt x="1817" y="2731"/>
                  </a:lnTo>
                  <a:lnTo>
                    <a:pt x="1827" y="2743"/>
                  </a:lnTo>
                  <a:lnTo>
                    <a:pt x="1838" y="2757"/>
                  </a:lnTo>
                  <a:lnTo>
                    <a:pt x="1847" y="2773"/>
                  </a:lnTo>
                  <a:lnTo>
                    <a:pt x="1857" y="2788"/>
                  </a:lnTo>
                  <a:lnTo>
                    <a:pt x="1865" y="2800"/>
                  </a:lnTo>
                  <a:lnTo>
                    <a:pt x="1874" y="2809"/>
                  </a:lnTo>
                  <a:lnTo>
                    <a:pt x="1879" y="2816"/>
                  </a:lnTo>
                  <a:lnTo>
                    <a:pt x="1885" y="2821"/>
                  </a:lnTo>
                  <a:lnTo>
                    <a:pt x="1890" y="2824"/>
                  </a:lnTo>
                  <a:lnTo>
                    <a:pt x="1897" y="2827"/>
                  </a:lnTo>
                  <a:lnTo>
                    <a:pt x="1902" y="2827"/>
                  </a:lnTo>
                  <a:lnTo>
                    <a:pt x="1907" y="2827"/>
                  </a:lnTo>
                  <a:lnTo>
                    <a:pt x="1914" y="2825"/>
                  </a:lnTo>
                  <a:lnTo>
                    <a:pt x="1919" y="2824"/>
                  </a:lnTo>
                  <a:lnTo>
                    <a:pt x="1931" y="2819"/>
                  </a:lnTo>
                  <a:lnTo>
                    <a:pt x="1943" y="2815"/>
                  </a:lnTo>
                  <a:lnTo>
                    <a:pt x="1950" y="2813"/>
                  </a:lnTo>
                  <a:lnTo>
                    <a:pt x="1957" y="2813"/>
                  </a:lnTo>
                  <a:lnTo>
                    <a:pt x="1963" y="2813"/>
                  </a:lnTo>
                  <a:lnTo>
                    <a:pt x="1970" y="2815"/>
                  </a:lnTo>
                  <a:lnTo>
                    <a:pt x="1977" y="2819"/>
                  </a:lnTo>
                  <a:lnTo>
                    <a:pt x="1982" y="2823"/>
                  </a:lnTo>
                  <a:lnTo>
                    <a:pt x="1986" y="2827"/>
                  </a:lnTo>
                  <a:lnTo>
                    <a:pt x="1990" y="2832"/>
                  </a:lnTo>
                  <a:lnTo>
                    <a:pt x="1997" y="2841"/>
                  </a:lnTo>
                  <a:lnTo>
                    <a:pt x="2002" y="2852"/>
                  </a:lnTo>
                  <a:lnTo>
                    <a:pt x="2006" y="2861"/>
                  </a:lnTo>
                  <a:lnTo>
                    <a:pt x="2010" y="2871"/>
                  </a:lnTo>
                  <a:lnTo>
                    <a:pt x="2017" y="2880"/>
                  </a:lnTo>
                  <a:lnTo>
                    <a:pt x="2025" y="2888"/>
                  </a:lnTo>
                  <a:lnTo>
                    <a:pt x="2035" y="2895"/>
                  </a:lnTo>
                  <a:lnTo>
                    <a:pt x="2046" y="2899"/>
                  </a:lnTo>
                  <a:lnTo>
                    <a:pt x="2057" y="2900"/>
                  </a:lnTo>
                  <a:lnTo>
                    <a:pt x="2066" y="2901"/>
                  </a:lnTo>
                  <a:lnTo>
                    <a:pt x="2077" y="2901"/>
                  </a:lnTo>
                  <a:lnTo>
                    <a:pt x="2087" y="2901"/>
                  </a:lnTo>
                  <a:lnTo>
                    <a:pt x="2098" y="2903"/>
                  </a:lnTo>
                  <a:lnTo>
                    <a:pt x="2109" y="2905"/>
                  </a:lnTo>
                  <a:lnTo>
                    <a:pt x="2119" y="2911"/>
                  </a:lnTo>
                  <a:lnTo>
                    <a:pt x="2129" y="2917"/>
                  </a:lnTo>
                  <a:lnTo>
                    <a:pt x="2137" y="2925"/>
                  </a:lnTo>
                  <a:lnTo>
                    <a:pt x="2145" y="2933"/>
                  </a:lnTo>
                  <a:lnTo>
                    <a:pt x="2153" y="2940"/>
                  </a:lnTo>
                  <a:lnTo>
                    <a:pt x="2161" y="2948"/>
                  </a:lnTo>
                  <a:lnTo>
                    <a:pt x="2170" y="2955"/>
                  </a:lnTo>
                  <a:lnTo>
                    <a:pt x="2181" y="2960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accent1">
                  <a:lumMod val="20000"/>
                  <a:lumOff val="8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95" b="0" i="0" u="none" strike="noStrike" kern="1200" cap="none" spc="0" normalizeH="0" baseline="0" noProof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6" name="Freeform 10"/>
            <p:cNvSpPr>
              <a:spLocks/>
            </p:cNvSpPr>
            <p:nvPr/>
          </p:nvSpPr>
          <p:spPr bwMode="auto">
            <a:xfrm>
              <a:off x="4712943" y="2474029"/>
              <a:ext cx="53294" cy="68622"/>
            </a:xfrm>
            <a:custGeom>
              <a:avLst/>
              <a:gdLst>
                <a:gd name="T0" fmla="*/ 712 w 741"/>
                <a:gd name="T1" fmla="*/ 569 h 951"/>
                <a:gd name="T2" fmla="*/ 684 w 741"/>
                <a:gd name="T3" fmla="*/ 576 h 951"/>
                <a:gd name="T4" fmla="*/ 656 w 741"/>
                <a:gd name="T5" fmla="*/ 552 h 951"/>
                <a:gd name="T6" fmla="*/ 627 w 741"/>
                <a:gd name="T7" fmla="*/ 575 h 951"/>
                <a:gd name="T8" fmla="*/ 596 w 741"/>
                <a:gd name="T9" fmla="*/ 643 h 951"/>
                <a:gd name="T10" fmla="*/ 605 w 741"/>
                <a:gd name="T11" fmla="*/ 659 h 951"/>
                <a:gd name="T12" fmla="*/ 625 w 741"/>
                <a:gd name="T13" fmla="*/ 672 h 951"/>
                <a:gd name="T14" fmla="*/ 627 w 741"/>
                <a:gd name="T15" fmla="*/ 759 h 951"/>
                <a:gd name="T16" fmla="*/ 575 w 741"/>
                <a:gd name="T17" fmla="*/ 819 h 951"/>
                <a:gd name="T18" fmla="*/ 560 w 741"/>
                <a:gd name="T19" fmla="*/ 879 h 951"/>
                <a:gd name="T20" fmla="*/ 520 w 741"/>
                <a:gd name="T21" fmla="*/ 927 h 951"/>
                <a:gd name="T22" fmla="*/ 463 w 741"/>
                <a:gd name="T23" fmla="*/ 929 h 951"/>
                <a:gd name="T24" fmla="*/ 436 w 741"/>
                <a:gd name="T25" fmla="*/ 893 h 951"/>
                <a:gd name="T26" fmla="*/ 412 w 741"/>
                <a:gd name="T27" fmla="*/ 869 h 951"/>
                <a:gd name="T28" fmla="*/ 365 w 741"/>
                <a:gd name="T29" fmla="*/ 869 h 951"/>
                <a:gd name="T30" fmla="*/ 301 w 741"/>
                <a:gd name="T31" fmla="*/ 903 h 951"/>
                <a:gd name="T32" fmla="*/ 277 w 741"/>
                <a:gd name="T33" fmla="*/ 941 h 951"/>
                <a:gd name="T34" fmla="*/ 258 w 741"/>
                <a:gd name="T35" fmla="*/ 937 h 951"/>
                <a:gd name="T36" fmla="*/ 204 w 741"/>
                <a:gd name="T37" fmla="*/ 875 h 951"/>
                <a:gd name="T38" fmla="*/ 178 w 741"/>
                <a:gd name="T39" fmla="*/ 872 h 951"/>
                <a:gd name="T40" fmla="*/ 150 w 741"/>
                <a:gd name="T41" fmla="*/ 819 h 951"/>
                <a:gd name="T42" fmla="*/ 134 w 741"/>
                <a:gd name="T43" fmla="*/ 676 h 951"/>
                <a:gd name="T44" fmla="*/ 120 w 741"/>
                <a:gd name="T45" fmla="*/ 580 h 951"/>
                <a:gd name="T46" fmla="*/ 80 w 741"/>
                <a:gd name="T47" fmla="*/ 519 h 951"/>
                <a:gd name="T48" fmla="*/ 71 w 741"/>
                <a:gd name="T49" fmla="*/ 494 h 951"/>
                <a:gd name="T50" fmla="*/ 83 w 741"/>
                <a:gd name="T51" fmla="*/ 471 h 951"/>
                <a:gd name="T52" fmla="*/ 72 w 741"/>
                <a:gd name="T53" fmla="*/ 412 h 951"/>
                <a:gd name="T54" fmla="*/ 34 w 741"/>
                <a:gd name="T55" fmla="*/ 314 h 951"/>
                <a:gd name="T56" fmla="*/ 28 w 741"/>
                <a:gd name="T57" fmla="*/ 227 h 951"/>
                <a:gd name="T58" fmla="*/ 10 w 741"/>
                <a:gd name="T59" fmla="*/ 155 h 951"/>
                <a:gd name="T60" fmla="*/ 136 w 741"/>
                <a:gd name="T61" fmla="*/ 219 h 951"/>
                <a:gd name="T62" fmla="*/ 171 w 741"/>
                <a:gd name="T63" fmla="*/ 230 h 951"/>
                <a:gd name="T64" fmla="*/ 206 w 741"/>
                <a:gd name="T65" fmla="*/ 204 h 951"/>
                <a:gd name="T66" fmla="*/ 236 w 741"/>
                <a:gd name="T67" fmla="*/ 158 h 951"/>
                <a:gd name="T68" fmla="*/ 262 w 741"/>
                <a:gd name="T69" fmla="*/ 147 h 951"/>
                <a:gd name="T70" fmla="*/ 324 w 741"/>
                <a:gd name="T71" fmla="*/ 160 h 951"/>
                <a:gd name="T72" fmla="*/ 403 w 741"/>
                <a:gd name="T73" fmla="*/ 188 h 951"/>
                <a:gd name="T74" fmla="*/ 411 w 741"/>
                <a:gd name="T75" fmla="*/ 143 h 951"/>
                <a:gd name="T76" fmla="*/ 371 w 741"/>
                <a:gd name="T77" fmla="*/ 80 h 951"/>
                <a:gd name="T78" fmla="*/ 369 w 741"/>
                <a:gd name="T79" fmla="*/ 46 h 951"/>
                <a:gd name="T80" fmla="*/ 388 w 741"/>
                <a:gd name="T81" fmla="*/ 2 h 951"/>
                <a:gd name="T82" fmla="*/ 428 w 741"/>
                <a:gd name="T83" fmla="*/ 30 h 951"/>
                <a:gd name="T84" fmla="*/ 485 w 741"/>
                <a:gd name="T85" fmla="*/ 62 h 951"/>
                <a:gd name="T86" fmla="*/ 560 w 741"/>
                <a:gd name="T87" fmla="*/ 83 h 951"/>
                <a:gd name="T88" fmla="*/ 559 w 741"/>
                <a:gd name="T89" fmla="*/ 156 h 951"/>
                <a:gd name="T90" fmla="*/ 608 w 741"/>
                <a:gd name="T91" fmla="*/ 171 h 951"/>
                <a:gd name="T92" fmla="*/ 671 w 741"/>
                <a:gd name="T93" fmla="*/ 192 h 951"/>
                <a:gd name="T94" fmla="*/ 712 w 741"/>
                <a:gd name="T95" fmla="*/ 228 h 951"/>
                <a:gd name="T96" fmla="*/ 713 w 741"/>
                <a:gd name="T97" fmla="*/ 264 h 951"/>
                <a:gd name="T98" fmla="*/ 681 w 741"/>
                <a:gd name="T99" fmla="*/ 315 h 951"/>
                <a:gd name="T100" fmla="*/ 675 w 741"/>
                <a:gd name="T101" fmla="*/ 358 h 951"/>
                <a:gd name="T102" fmla="*/ 708 w 741"/>
                <a:gd name="T103" fmla="*/ 407 h 951"/>
                <a:gd name="T104" fmla="*/ 740 w 741"/>
                <a:gd name="T105" fmla="*/ 450 h 951"/>
                <a:gd name="T106" fmla="*/ 729 w 741"/>
                <a:gd name="T107" fmla="*/ 542 h 951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741"/>
                <a:gd name="T163" fmla="*/ 0 h 951"/>
                <a:gd name="T164" fmla="*/ 741 w 741"/>
                <a:gd name="T165" fmla="*/ 951 h 951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741" h="951">
                  <a:moveTo>
                    <a:pt x="716" y="554"/>
                  </a:moveTo>
                  <a:lnTo>
                    <a:pt x="716" y="558"/>
                  </a:lnTo>
                  <a:lnTo>
                    <a:pt x="716" y="561"/>
                  </a:lnTo>
                  <a:lnTo>
                    <a:pt x="713" y="565"/>
                  </a:lnTo>
                  <a:lnTo>
                    <a:pt x="712" y="569"/>
                  </a:lnTo>
                  <a:lnTo>
                    <a:pt x="708" y="572"/>
                  </a:lnTo>
                  <a:lnTo>
                    <a:pt x="704" y="575"/>
                  </a:lnTo>
                  <a:lnTo>
                    <a:pt x="699" y="576"/>
                  </a:lnTo>
                  <a:lnTo>
                    <a:pt x="692" y="577"/>
                  </a:lnTo>
                  <a:lnTo>
                    <a:pt x="684" y="576"/>
                  </a:lnTo>
                  <a:lnTo>
                    <a:pt x="677" y="572"/>
                  </a:lnTo>
                  <a:lnTo>
                    <a:pt x="672" y="568"/>
                  </a:lnTo>
                  <a:lnTo>
                    <a:pt x="667" y="561"/>
                  </a:lnTo>
                  <a:lnTo>
                    <a:pt x="661" y="556"/>
                  </a:lnTo>
                  <a:lnTo>
                    <a:pt x="656" y="552"/>
                  </a:lnTo>
                  <a:lnTo>
                    <a:pt x="651" y="548"/>
                  </a:lnTo>
                  <a:lnTo>
                    <a:pt x="644" y="547"/>
                  </a:lnTo>
                  <a:lnTo>
                    <a:pt x="640" y="551"/>
                  </a:lnTo>
                  <a:lnTo>
                    <a:pt x="635" y="560"/>
                  </a:lnTo>
                  <a:lnTo>
                    <a:pt x="627" y="575"/>
                  </a:lnTo>
                  <a:lnTo>
                    <a:pt x="619" y="591"/>
                  </a:lnTo>
                  <a:lnTo>
                    <a:pt x="609" y="608"/>
                  </a:lnTo>
                  <a:lnTo>
                    <a:pt x="603" y="623"/>
                  </a:lnTo>
                  <a:lnTo>
                    <a:pt x="597" y="636"/>
                  </a:lnTo>
                  <a:lnTo>
                    <a:pt x="596" y="643"/>
                  </a:lnTo>
                  <a:lnTo>
                    <a:pt x="596" y="648"/>
                  </a:lnTo>
                  <a:lnTo>
                    <a:pt x="597" y="651"/>
                  </a:lnTo>
                  <a:lnTo>
                    <a:pt x="599" y="653"/>
                  </a:lnTo>
                  <a:lnTo>
                    <a:pt x="601" y="656"/>
                  </a:lnTo>
                  <a:lnTo>
                    <a:pt x="605" y="659"/>
                  </a:lnTo>
                  <a:lnTo>
                    <a:pt x="611" y="661"/>
                  </a:lnTo>
                  <a:lnTo>
                    <a:pt x="617" y="664"/>
                  </a:lnTo>
                  <a:lnTo>
                    <a:pt x="621" y="667"/>
                  </a:lnTo>
                  <a:lnTo>
                    <a:pt x="624" y="669"/>
                  </a:lnTo>
                  <a:lnTo>
                    <a:pt x="625" y="672"/>
                  </a:lnTo>
                  <a:lnTo>
                    <a:pt x="625" y="675"/>
                  </a:lnTo>
                  <a:lnTo>
                    <a:pt x="627" y="680"/>
                  </a:lnTo>
                  <a:lnTo>
                    <a:pt x="627" y="705"/>
                  </a:lnTo>
                  <a:lnTo>
                    <a:pt x="627" y="729"/>
                  </a:lnTo>
                  <a:lnTo>
                    <a:pt x="627" y="759"/>
                  </a:lnTo>
                  <a:lnTo>
                    <a:pt x="627" y="793"/>
                  </a:lnTo>
                  <a:lnTo>
                    <a:pt x="609" y="799"/>
                  </a:lnTo>
                  <a:lnTo>
                    <a:pt x="596" y="804"/>
                  </a:lnTo>
                  <a:lnTo>
                    <a:pt x="584" y="811"/>
                  </a:lnTo>
                  <a:lnTo>
                    <a:pt x="575" y="819"/>
                  </a:lnTo>
                  <a:lnTo>
                    <a:pt x="568" y="828"/>
                  </a:lnTo>
                  <a:lnTo>
                    <a:pt x="564" y="839"/>
                  </a:lnTo>
                  <a:lnTo>
                    <a:pt x="561" y="852"/>
                  </a:lnTo>
                  <a:lnTo>
                    <a:pt x="560" y="867"/>
                  </a:lnTo>
                  <a:lnTo>
                    <a:pt x="560" y="879"/>
                  </a:lnTo>
                  <a:lnTo>
                    <a:pt x="553" y="892"/>
                  </a:lnTo>
                  <a:lnTo>
                    <a:pt x="547" y="904"/>
                  </a:lnTo>
                  <a:lnTo>
                    <a:pt x="539" y="913"/>
                  </a:lnTo>
                  <a:lnTo>
                    <a:pt x="529" y="921"/>
                  </a:lnTo>
                  <a:lnTo>
                    <a:pt x="520" y="927"/>
                  </a:lnTo>
                  <a:lnTo>
                    <a:pt x="509" y="929"/>
                  </a:lnTo>
                  <a:lnTo>
                    <a:pt x="496" y="932"/>
                  </a:lnTo>
                  <a:lnTo>
                    <a:pt x="481" y="932"/>
                  </a:lnTo>
                  <a:lnTo>
                    <a:pt x="472" y="932"/>
                  </a:lnTo>
                  <a:lnTo>
                    <a:pt x="463" y="929"/>
                  </a:lnTo>
                  <a:lnTo>
                    <a:pt x="457" y="927"/>
                  </a:lnTo>
                  <a:lnTo>
                    <a:pt x="452" y="923"/>
                  </a:lnTo>
                  <a:lnTo>
                    <a:pt x="444" y="912"/>
                  </a:lnTo>
                  <a:lnTo>
                    <a:pt x="439" y="899"/>
                  </a:lnTo>
                  <a:lnTo>
                    <a:pt x="436" y="893"/>
                  </a:lnTo>
                  <a:lnTo>
                    <a:pt x="433" y="887"/>
                  </a:lnTo>
                  <a:lnTo>
                    <a:pt x="429" y="881"/>
                  </a:lnTo>
                  <a:lnTo>
                    <a:pt x="425" y="876"/>
                  </a:lnTo>
                  <a:lnTo>
                    <a:pt x="419" y="872"/>
                  </a:lnTo>
                  <a:lnTo>
                    <a:pt x="412" y="869"/>
                  </a:lnTo>
                  <a:lnTo>
                    <a:pt x="403" y="867"/>
                  </a:lnTo>
                  <a:lnTo>
                    <a:pt x="392" y="867"/>
                  </a:lnTo>
                  <a:lnTo>
                    <a:pt x="383" y="867"/>
                  </a:lnTo>
                  <a:lnTo>
                    <a:pt x="375" y="868"/>
                  </a:lnTo>
                  <a:lnTo>
                    <a:pt x="365" y="869"/>
                  </a:lnTo>
                  <a:lnTo>
                    <a:pt x="356" y="872"/>
                  </a:lnTo>
                  <a:lnTo>
                    <a:pt x="336" y="880"/>
                  </a:lnTo>
                  <a:lnTo>
                    <a:pt x="319" y="891"/>
                  </a:lnTo>
                  <a:lnTo>
                    <a:pt x="309" y="896"/>
                  </a:lnTo>
                  <a:lnTo>
                    <a:pt x="301" y="903"/>
                  </a:lnTo>
                  <a:lnTo>
                    <a:pt x="295" y="909"/>
                  </a:lnTo>
                  <a:lnTo>
                    <a:pt x="289" y="917"/>
                  </a:lnTo>
                  <a:lnTo>
                    <a:pt x="284" y="925"/>
                  </a:lnTo>
                  <a:lnTo>
                    <a:pt x="280" y="933"/>
                  </a:lnTo>
                  <a:lnTo>
                    <a:pt x="277" y="941"/>
                  </a:lnTo>
                  <a:lnTo>
                    <a:pt x="277" y="951"/>
                  </a:lnTo>
                  <a:lnTo>
                    <a:pt x="272" y="949"/>
                  </a:lnTo>
                  <a:lnTo>
                    <a:pt x="268" y="945"/>
                  </a:lnTo>
                  <a:lnTo>
                    <a:pt x="263" y="943"/>
                  </a:lnTo>
                  <a:lnTo>
                    <a:pt x="258" y="937"/>
                  </a:lnTo>
                  <a:lnTo>
                    <a:pt x="247" y="927"/>
                  </a:lnTo>
                  <a:lnTo>
                    <a:pt x="238" y="915"/>
                  </a:lnTo>
                  <a:lnTo>
                    <a:pt x="220" y="891"/>
                  </a:lnTo>
                  <a:lnTo>
                    <a:pt x="211" y="879"/>
                  </a:lnTo>
                  <a:lnTo>
                    <a:pt x="204" y="875"/>
                  </a:lnTo>
                  <a:lnTo>
                    <a:pt x="199" y="872"/>
                  </a:lnTo>
                  <a:lnTo>
                    <a:pt x="192" y="869"/>
                  </a:lnTo>
                  <a:lnTo>
                    <a:pt x="187" y="869"/>
                  </a:lnTo>
                  <a:lnTo>
                    <a:pt x="183" y="869"/>
                  </a:lnTo>
                  <a:lnTo>
                    <a:pt x="178" y="872"/>
                  </a:lnTo>
                  <a:lnTo>
                    <a:pt x="174" y="875"/>
                  </a:lnTo>
                  <a:lnTo>
                    <a:pt x="168" y="879"/>
                  </a:lnTo>
                  <a:lnTo>
                    <a:pt x="160" y="856"/>
                  </a:lnTo>
                  <a:lnTo>
                    <a:pt x="155" y="837"/>
                  </a:lnTo>
                  <a:lnTo>
                    <a:pt x="150" y="819"/>
                  </a:lnTo>
                  <a:lnTo>
                    <a:pt x="144" y="800"/>
                  </a:lnTo>
                  <a:lnTo>
                    <a:pt x="139" y="765"/>
                  </a:lnTo>
                  <a:lnTo>
                    <a:pt x="136" y="733"/>
                  </a:lnTo>
                  <a:lnTo>
                    <a:pt x="135" y="704"/>
                  </a:lnTo>
                  <a:lnTo>
                    <a:pt x="134" y="676"/>
                  </a:lnTo>
                  <a:lnTo>
                    <a:pt x="132" y="648"/>
                  </a:lnTo>
                  <a:lnTo>
                    <a:pt x="130" y="621"/>
                  </a:lnTo>
                  <a:lnTo>
                    <a:pt x="127" y="608"/>
                  </a:lnTo>
                  <a:lnTo>
                    <a:pt x="124" y="593"/>
                  </a:lnTo>
                  <a:lnTo>
                    <a:pt x="120" y="580"/>
                  </a:lnTo>
                  <a:lnTo>
                    <a:pt x="115" y="565"/>
                  </a:lnTo>
                  <a:lnTo>
                    <a:pt x="106" y="548"/>
                  </a:lnTo>
                  <a:lnTo>
                    <a:pt x="96" y="535"/>
                  </a:lnTo>
                  <a:lnTo>
                    <a:pt x="87" y="526"/>
                  </a:lnTo>
                  <a:lnTo>
                    <a:pt x="80" y="519"/>
                  </a:lnTo>
                  <a:lnTo>
                    <a:pt x="74" y="514"/>
                  </a:lnTo>
                  <a:lnTo>
                    <a:pt x="71" y="507"/>
                  </a:lnTo>
                  <a:lnTo>
                    <a:pt x="70" y="503"/>
                  </a:lnTo>
                  <a:lnTo>
                    <a:pt x="70" y="499"/>
                  </a:lnTo>
                  <a:lnTo>
                    <a:pt x="71" y="494"/>
                  </a:lnTo>
                  <a:lnTo>
                    <a:pt x="72" y="487"/>
                  </a:lnTo>
                  <a:lnTo>
                    <a:pt x="76" y="483"/>
                  </a:lnTo>
                  <a:lnTo>
                    <a:pt x="79" y="479"/>
                  </a:lnTo>
                  <a:lnTo>
                    <a:pt x="82" y="475"/>
                  </a:lnTo>
                  <a:lnTo>
                    <a:pt x="83" y="471"/>
                  </a:lnTo>
                  <a:lnTo>
                    <a:pt x="84" y="460"/>
                  </a:lnTo>
                  <a:lnTo>
                    <a:pt x="83" y="450"/>
                  </a:lnTo>
                  <a:lnTo>
                    <a:pt x="82" y="438"/>
                  </a:lnTo>
                  <a:lnTo>
                    <a:pt x="78" y="426"/>
                  </a:lnTo>
                  <a:lnTo>
                    <a:pt x="72" y="412"/>
                  </a:lnTo>
                  <a:lnTo>
                    <a:pt x="67" y="399"/>
                  </a:lnTo>
                  <a:lnTo>
                    <a:pt x="55" y="371"/>
                  </a:lnTo>
                  <a:lnTo>
                    <a:pt x="43" y="342"/>
                  </a:lnTo>
                  <a:lnTo>
                    <a:pt x="38" y="328"/>
                  </a:lnTo>
                  <a:lnTo>
                    <a:pt x="34" y="314"/>
                  </a:lnTo>
                  <a:lnTo>
                    <a:pt x="31" y="300"/>
                  </a:lnTo>
                  <a:lnTo>
                    <a:pt x="30" y="288"/>
                  </a:lnTo>
                  <a:lnTo>
                    <a:pt x="30" y="270"/>
                  </a:lnTo>
                  <a:lnTo>
                    <a:pt x="30" y="248"/>
                  </a:lnTo>
                  <a:lnTo>
                    <a:pt x="28" y="227"/>
                  </a:lnTo>
                  <a:lnTo>
                    <a:pt x="27" y="207"/>
                  </a:lnTo>
                  <a:lnTo>
                    <a:pt x="23" y="187"/>
                  </a:lnTo>
                  <a:lnTo>
                    <a:pt x="18" y="170"/>
                  </a:lnTo>
                  <a:lnTo>
                    <a:pt x="14" y="162"/>
                  </a:lnTo>
                  <a:lnTo>
                    <a:pt x="10" y="155"/>
                  </a:lnTo>
                  <a:lnTo>
                    <a:pt x="6" y="148"/>
                  </a:lnTo>
                  <a:lnTo>
                    <a:pt x="0" y="143"/>
                  </a:lnTo>
                  <a:lnTo>
                    <a:pt x="55" y="107"/>
                  </a:lnTo>
                  <a:lnTo>
                    <a:pt x="127" y="210"/>
                  </a:lnTo>
                  <a:lnTo>
                    <a:pt x="136" y="219"/>
                  </a:lnTo>
                  <a:lnTo>
                    <a:pt x="147" y="226"/>
                  </a:lnTo>
                  <a:lnTo>
                    <a:pt x="152" y="228"/>
                  </a:lnTo>
                  <a:lnTo>
                    <a:pt x="159" y="230"/>
                  </a:lnTo>
                  <a:lnTo>
                    <a:pt x="164" y="230"/>
                  </a:lnTo>
                  <a:lnTo>
                    <a:pt x="171" y="230"/>
                  </a:lnTo>
                  <a:lnTo>
                    <a:pt x="178" y="227"/>
                  </a:lnTo>
                  <a:lnTo>
                    <a:pt x="184" y="224"/>
                  </a:lnTo>
                  <a:lnTo>
                    <a:pt x="191" y="220"/>
                  </a:lnTo>
                  <a:lnTo>
                    <a:pt x="199" y="214"/>
                  </a:lnTo>
                  <a:lnTo>
                    <a:pt x="206" y="204"/>
                  </a:lnTo>
                  <a:lnTo>
                    <a:pt x="214" y="195"/>
                  </a:lnTo>
                  <a:lnTo>
                    <a:pt x="222" y="182"/>
                  </a:lnTo>
                  <a:lnTo>
                    <a:pt x="230" y="168"/>
                  </a:lnTo>
                  <a:lnTo>
                    <a:pt x="232" y="163"/>
                  </a:lnTo>
                  <a:lnTo>
                    <a:pt x="236" y="158"/>
                  </a:lnTo>
                  <a:lnTo>
                    <a:pt x="240" y="155"/>
                  </a:lnTo>
                  <a:lnTo>
                    <a:pt x="244" y="152"/>
                  </a:lnTo>
                  <a:lnTo>
                    <a:pt x="250" y="150"/>
                  </a:lnTo>
                  <a:lnTo>
                    <a:pt x="256" y="148"/>
                  </a:lnTo>
                  <a:lnTo>
                    <a:pt x="262" y="147"/>
                  </a:lnTo>
                  <a:lnTo>
                    <a:pt x="268" y="147"/>
                  </a:lnTo>
                  <a:lnTo>
                    <a:pt x="281" y="148"/>
                  </a:lnTo>
                  <a:lnTo>
                    <a:pt x="295" y="151"/>
                  </a:lnTo>
                  <a:lnTo>
                    <a:pt x="309" y="155"/>
                  </a:lnTo>
                  <a:lnTo>
                    <a:pt x="324" y="160"/>
                  </a:lnTo>
                  <a:lnTo>
                    <a:pt x="352" y="172"/>
                  </a:lnTo>
                  <a:lnTo>
                    <a:pt x="375" y="184"/>
                  </a:lnTo>
                  <a:lnTo>
                    <a:pt x="392" y="194"/>
                  </a:lnTo>
                  <a:lnTo>
                    <a:pt x="397" y="198"/>
                  </a:lnTo>
                  <a:lnTo>
                    <a:pt x="403" y="188"/>
                  </a:lnTo>
                  <a:lnTo>
                    <a:pt x="408" y="178"/>
                  </a:lnTo>
                  <a:lnTo>
                    <a:pt x="411" y="170"/>
                  </a:lnTo>
                  <a:lnTo>
                    <a:pt x="412" y="160"/>
                  </a:lnTo>
                  <a:lnTo>
                    <a:pt x="412" y="151"/>
                  </a:lnTo>
                  <a:lnTo>
                    <a:pt x="411" y="143"/>
                  </a:lnTo>
                  <a:lnTo>
                    <a:pt x="409" y="135"/>
                  </a:lnTo>
                  <a:lnTo>
                    <a:pt x="405" y="127"/>
                  </a:lnTo>
                  <a:lnTo>
                    <a:pt x="396" y="111"/>
                  </a:lnTo>
                  <a:lnTo>
                    <a:pt x="385" y="96"/>
                  </a:lnTo>
                  <a:lnTo>
                    <a:pt x="371" y="80"/>
                  </a:lnTo>
                  <a:lnTo>
                    <a:pt x="355" y="66"/>
                  </a:lnTo>
                  <a:lnTo>
                    <a:pt x="360" y="63"/>
                  </a:lnTo>
                  <a:lnTo>
                    <a:pt x="364" y="59"/>
                  </a:lnTo>
                  <a:lnTo>
                    <a:pt x="368" y="52"/>
                  </a:lnTo>
                  <a:lnTo>
                    <a:pt x="369" y="46"/>
                  </a:lnTo>
                  <a:lnTo>
                    <a:pt x="373" y="31"/>
                  </a:lnTo>
                  <a:lnTo>
                    <a:pt x="377" y="15"/>
                  </a:lnTo>
                  <a:lnTo>
                    <a:pt x="380" y="10"/>
                  </a:lnTo>
                  <a:lnTo>
                    <a:pt x="384" y="4"/>
                  </a:lnTo>
                  <a:lnTo>
                    <a:pt x="388" y="2"/>
                  </a:lnTo>
                  <a:lnTo>
                    <a:pt x="392" y="0"/>
                  </a:lnTo>
                  <a:lnTo>
                    <a:pt x="399" y="3"/>
                  </a:lnTo>
                  <a:lnTo>
                    <a:pt x="407" y="8"/>
                  </a:lnTo>
                  <a:lnTo>
                    <a:pt x="416" y="16"/>
                  </a:lnTo>
                  <a:lnTo>
                    <a:pt x="428" y="30"/>
                  </a:lnTo>
                  <a:lnTo>
                    <a:pt x="436" y="36"/>
                  </a:lnTo>
                  <a:lnTo>
                    <a:pt x="445" y="43"/>
                  </a:lnTo>
                  <a:lnTo>
                    <a:pt x="457" y="50"/>
                  </a:lnTo>
                  <a:lnTo>
                    <a:pt x="471" y="55"/>
                  </a:lnTo>
                  <a:lnTo>
                    <a:pt x="485" y="62"/>
                  </a:lnTo>
                  <a:lnTo>
                    <a:pt x="501" y="67"/>
                  </a:lnTo>
                  <a:lnTo>
                    <a:pt x="519" y="72"/>
                  </a:lnTo>
                  <a:lnTo>
                    <a:pt x="536" y="78"/>
                  </a:lnTo>
                  <a:lnTo>
                    <a:pt x="548" y="80"/>
                  </a:lnTo>
                  <a:lnTo>
                    <a:pt x="560" y="83"/>
                  </a:lnTo>
                  <a:lnTo>
                    <a:pt x="559" y="100"/>
                  </a:lnTo>
                  <a:lnTo>
                    <a:pt x="557" y="120"/>
                  </a:lnTo>
                  <a:lnTo>
                    <a:pt x="557" y="132"/>
                  </a:lnTo>
                  <a:lnTo>
                    <a:pt x="557" y="144"/>
                  </a:lnTo>
                  <a:lnTo>
                    <a:pt x="559" y="156"/>
                  </a:lnTo>
                  <a:lnTo>
                    <a:pt x="560" y="168"/>
                  </a:lnTo>
                  <a:lnTo>
                    <a:pt x="571" y="167"/>
                  </a:lnTo>
                  <a:lnTo>
                    <a:pt x="583" y="167"/>
                  </a:lnTo>
                  <a:lnTo>
                    <a:pt x="595" y="168"/>
                  </a:lnTo>
                  <a:lnTo>
                    <a:pt x="608" y="171"/>
                  </a:lnTo>
                  <a:lnTo>
                    <a:pt x="620" y="174"/>
                  </a:lnTo>
                  <a:lnTo>
                    <a:pt x="633" y="178"/>
                  </a:lnTo>
                  <a:lnTo>
                    <a:pt x="647" y="182"/>
                  </a:lnTo>
                  <a:lnTo>
                    <a:pt x="659" y="187"/>
                  </a:lnTo>
                  <a:lnTo>
                    <a:pt x="671" y="192"/>
                  </a:lnTo>
                  <a:lnTo>
                    <a:pt x="681" y="199"/>
                  </a:lnTo>
                  <a:lnTo>
                    <a:pt x="691" y="206"/>
                  </a:lnTo>
                  <a:lnTo>
                    <a:pt x="700" y="212"/>
                  </a:lnTo>
                  <a:lnTo>
                    <a:pt x="707" y="220"/>
                  </a:lnTo>
                  <a:lnTo>
                    <a:pt x="712" y="228"/>
                  </a:lnTo>
                  <a:lnTo>
                    <a:pt x="716" y="238"/>
                  </a:lnTo>
                  <a:lnTo>
                    <a:pt x="716" y="246"/>
                  </a:lnTo>
                  <a:lnTo>
                    <a:pt x="716" y="252"/>
                  </a:lnTo>
                  <a:lnTo>
                    <a:pt x="715" y="259"/>
                  </a:lnTo>
                  <a:lnTo>
                    <a:pt x="713" y="264"/>
                  </a:lnTo>
                  <a:lnTo>
                    <a:pt x="711" y="270"/>
                  </a:lnTo>
                  <a:lnTo>
                    <a:pt x="703" y="280"/>
                  </a:lnTo>
                  <a:lnTo>
                    <a:pt x="696" y="291"/>
                  </a:lnTo>
                  <a:lnTo>
                    <a:pt x="688" y="302"/>
                  </a:lnTo>
                  <a:lnTo>
                    <a:pt x="681" y="315"/>
                  </a:lnTo>
                  <a:lnTo>
                    <a:pt x="679" y="322"/>
                  </a:lnTo>
                  <a:lnTo>
                    <a:pt x="676" y="330"/>
                  </a:lnTo>
                  <a:lnTo>
                    <a:pt x="675" y="339"/>
                  </a:lnTo>
                  <a:lnTo>
                    <a:pt x="675" y="348"/>
                  </a:lnTo>
                  <a:lnTo>
                    <a:pt x="675" y="358"/>
                  </a:lnTo>
                  <a:lnTo>
                    <a:pt x="677" y="367"/>
                  </a:lnTo>
                  <a:lnTo>
                    <a:pt x="680" y="375"/>
                  </a:lnTo>
                  <a:lnTo>
                    <a:pt x="685" y="382"/>
                  </a:lnTo>
                  <a:lnTo>
                    <a:pt x="696" y="395"/>
                  </a:lnTo>
                  <a:lnTo>
                    <a:pt x="708" y="407"/>
                  </a:lnTo>
                  <a:lnTo>
                    <a:pt x="720" y="418"/>
                  </a:lnTo>
                  <a:lnTo>
                    <a:pt x="731" y="430"/>
                  </a:lnTo>
                  <a:lnTo>
                    <a:pt x="735" y="436"/>
                  </a:lnTo>
                  <a:lnTo>
                    <a:pt x="737" y="442"/>
                  </a:lnTo>
                  <a:lnTo>
                    <a:pt x="740" y="450"/>
                  </a:lnTo>
                  <a:lnTo>
                    <a:pt x="741" y="456"/>
                  </a:lnTo>
                  <a:lnTo>
                    <a:pt x="739" y="479"/>
                  </a:lnTo>
                  <a:lnTo>
                    <a:pt x="735" y="499"/>
                  </a:lnTo>
                  <a:lnTo>
                    <a:pt x="731" y="519"/>
                  </a:lnTo>
                  <a:lnTo>
                    <a:pt x="729" y="542"/>
                  </a:lnTo>
                  <a:lnTo>
                    <a:pt x="716" y="554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accent1">
                  <a:lumMod val="20000"/>
                  <a:lumOff val="8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95" b="0" i="0" u="none" strike="noStrike" kern="1200" cap="none" spc="0" normalizeH="0" baseline="0" noProof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7" name="Freeform 12"/>
            <p:cNvSpPr>
              <a:spLocks/>
            </p:cNvSpPr>
            <p:nvPr/>
          </p:nvSpPr>
          <p:spPr bwMode="auto">
            <a:xfrm>
              <a:off x="5189053" y="2563402"/>
              <a:ext cx="95505" cy="69565"/>
            </a:xfrm>
            <a:custGeom>
              <a:avLst/>
              <a:gdLst>
                <a:gd name="T0" fmla="*/ 880 w 1330"/>
                <a:gd name="T1" fmla="*/ 955 h 969"/>
                <a:gd name="T2" fmla="*/ 917 w 1330"/>
                <a:gd name="T3" fmla="*/ 937 h 969"/>
                <a:gd name="T4" fmla="*/ 933 w 1330"/>
                <a:gd name="T5" fmla="*/ 911 h 969"/>
                <a:gd name="T6" fmla="*/ 921 w 1330"/>
                <a:gd name="T7" fmla="*/ 881 h 969"/>
                <a:gd name="T8" fmla="*/ 868 w 1330"/>
                <a:gd name="T9" fmla="*/ 847 h 969"/>
                <a:gd name="T10" fmla="*/ 862 w 1330"/>
                <a:gd name="T11" fmla="*/ 825 h 969"/>
                <a:gd name="T12" fmla="*/ 921 w 1330"/>
                <a:gd name="T13" fmla="*/ 782 h 969"/>
                <a:gd name="T14" fmla="*/ 1072 w 1330"/>
                <a:gd name="T15" fmla="*/ 710 h 969"/>
                <a:gd name="T16" fmla="*/ 1117 w 1330"/>
                <a:gd name="T17" fmla="*/ 686 h 969"/>
                <a:gd name="T18" fmla="*/ 1252 w 1330"/>
                <a:gd name="T19" fmla="*/ 661 h 969"/>
                <a:gd name="T20" fmla="*/ 1287 w 1330"/>
                <a:gd name="T21" fmla="*/ 629 h 969"/>
                <a:gd name="T22" fmla="*/ 1273 w 1330"/>
                <a:gd name="T23" fmla="*/ 577 h 969"/>
                <a:gd name="T24" fmla="*/ 1258 w 1330"/>
                <a:gd name="T25" fmla="*/ 538 h 969"/>
                <a:gd name="T26" fmla="*/ 1265 w 1330"/>
                <a:gd name="T27" fmla="*/ 510 h 969"/>
                <a:gd name="T28" fmla="*/ 1317 w 1330"/>
                <a:gd name="T29" fmla="*/ 484 h 969"/>
                <a:gd name="T30" fmla="*/ 1315 w 1330"/>
                <a:gd name="T31" fmla="*/ 416 h 969"/>
                <a:gd name="T32" fmla="*/ 1325 w 1330"/>
                <a:gd name="T33" fmla="*/ 390 h 969"/>
                <a:gd name="T34" fmla="*/ 1311 w 1330"/>
                <a:gd name="T35" fmla="*/ 365 h 969"/>
                <a:gd name="T36" fmla="*/ 1283 w 1330"/>
                <a:gd name="T37" fmla="*/ 334 h 969"/>
                <a:gd name="T38" fmla="*/ 1291 w 1330"/>
                <a:gd name="T39" fmla="*/ 306 h 969"/>
                <a:gd name="T40" fmla="*/ 1313 w 1330"/>
                <a:gd name="T41" fmla="*/ 270 h 969"/>
                <a:gd name="T42" fmla="*/ 1273 w 1330"/>
                <a:gd name="T43" fmla="*/ 260 h 969"/>
                <a:gd name="T44" fmla="*/ 1236 w 1330"/>
                <a:gd name="T45" fmla="*/ 209 h 969"/>
                <a:gd name="T46" fmla="*/ 1194 w 1330"/>
                <a:gd name="T47" fmla="*/ 128 h 969"/>
                <a:gd name="T48" fmla="*/ 1081 w 1330"/>
                <a:gd name="T49" fmla="*/ 38 h 969"/>
                <a:gd name="T50" fmla="*/ 1052 w 1330"/>
                <a:gd name="T51" fmla="*/ 4 h 969"/>
                <a:gd name="T52" fmla="*/ 1024 w 1330"/>
                <a:gd name="T53" fmla="*/ 40 h 969"/>
                <a:gd name="T54" fmla="*/ 994 w 1330"/>
                <a:gd name="T55" fmla="*/ 70 h 969"/>
                <a:gd name="T56" fmla="*/ 929 w 1330"/>
                <a:gd name="T57" fmla="*/ 68 h 969"/>
                <a:gd name="T58" fmla="*/ 869 w 1330"/>
                <a:gd name="T59" fmla="*/ 69 h 969"/>
                <a:gd name="T60" fmla="*/ 840 w 1330"/>
                <a:gd name="T61" fmla="*/ 92 h 969"/>
                <a:gd name="T62" fmla="*/ 790 w 1330"/>
                <a:gd name="T63" fmla="*/ 96 h 969"/>
                <a:gd name="T64" fmla="*/ 730 w 1330"/>
                <a:gd name="T65" fmla="*/ 178 h 969"/>
                <a:gd name="T66" fmla="*/ 689 w 1330"/>
                <a:gd name="T67" fmla="*/ 214 h 969"/>
                <a:gd name="T68" fmla="*/ 654 w 1330"/>
                <a:gd name="T69" fmla="*/ 205 h 969"/>
                <a:gd name="T70" fmla="*/ 590 w 1330"/>
                <a:gd name="T71" fmla="*/ 144 h 969"/>
                <a:gd name="T72" fmla="*/ 584 w 1330"/>
                <a:gd name="T73" fmla="*/ 106 h 969"/>
                <a:gd name="T74" fmla="*/ 564 w 1330"/>
                <a:gd name="T75" fmla="*/ 72 h 969"/>
                <a:gd name="T76" fmla="*/ 517 w 1330"/>
                <a:gd name="T77" fmla="*/ 10 h 969"/>
                <a:gd name="T78" fmla="*/ 469 w 1330"/>
                <a:gd name="T79" fmla="*/ 0 h 969"/>
                <a:gd name="T80" fmla="*/ 396 w 1330"/>
                <a:gd name="T81" fmla="*/ 28 h 969"/>
                <a:gd name="T82" fmla="*/ 316 w 1330"/>
                <a:gd name="T83" fmla="*/ 89 h 969"/>
                <a:gd name="T84" fmla="*/ 231 w 1330"/>
                <a:gd name="T85" fmla="*/ 110 h 969"/>
                <a:gd name="T86" fmla="*/ 153 w 1330"/>
                <a:gd name="T87" fmla="*/ 112 h 969"/>
                <a:gd name="T88" fmla="*/ 108 w 1330"/>
                <a:gd name="T89" fmla="*/ 138 h 969"/>
                <a:gd name="T90" fmla="*/ 67 w 1330"/>
                <a:gd name="T91" fmla="*/ 109 h 969"/>
                <a:gd name="T92" fmla="*/ 43 w 1330"/>
                <a:gd name="T93" fmla="*/ 113 h 969"/>
                <a:gd name="T94" fmla="*/ 11 w 1330"/>
                <a:gd name="T95" fmla="*/ 145 h 969"/>
                <a:gd name="T96" fmla="*/ 221 w 1330"/>
                <a:gd name="T97" fmla="*/ 815 h 969"/>
                <a:gd name="T98" fmla="*/ 240 w 1330"/>
                <a:gd name="T99" fmla="*/ 830 h 969"/>
                <a:gd name="T100" fmla="*/ 280 w 1330"/>
                <a:gd name="T101" fmla="*/ 806 h 969"/>
                <a:gd name="T102" fmla="*/ 312 w 1330"/>
                <a:gd name="T103" fmla="*/ 743 h 969"/>
                <a:gd name="T104" fmla="*/ 351 w 1330"/>
                <a:gd name="T105" fmla="*/ 729 h 969"/>
                <a:gd name="T106" fmla="*/ 401 w 1330"/>
                <a:gd name="T107" fmla="*/ 755 h 969"/>
                <a:gd name="T108" fmla="*/ 409 w 1330"/>
                <a:gd name="T109" fmla="*/ 779 h 969"/>
                <a:gd name="T110" fmla="*/ 427 w 1330"/>
                <a:gd name="T111" fmla="*/ 821 h 969"/>
                <a:gd name="T112" fmla="*/ 445 w 1330"/>
                <a:gd name="T113" fmla="*/ 871 h 969"/>
                <a:gd name="T114" fmla="*/ 485 w 1330"/>
                <a:gd name="T115" fmla="*/ 882 h 969"/>
                <a:gd name="T116" fmla="*/ 577 w 1330"/>
                <a:gd name="T117" fmla="*/ 881 h 969"/>
                <a:gd name="T118" fmla="*/ 678 w 1330"/>
                <a:gd name="T119" fmla="*/ 854 h 969"/>
                <a:gd name="T120" fmla="*/ 757 w 1330"/>
                <a:gd name="T121" fmla="*/ 855 h 969"/>
                <a:gd name="T122" fmla="*/ 806 w 1330"/>
                <a:gd name="T123" fmla="*/ 887 h 969"/>
                <a:gd name="T124" fmla="*/ 846 w 1330"/>
                <a:gd name="T125" fmla="*/ 945 h 969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330"/>
                <a:gd name="T190" fmla="*/ 0 h 969"/>
                <a:gd name="T191" fmla="*/ 1330 w 1330"/>
                <a:gd name="T192" fmla="*/ 969 h 969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330" h="969">
                  <a:moveTo>
                    <a:pt x="873" y="963"/>
                  </a:moveTo>
                  <a:lnTo>
                    <a:pt x="866" y="969"/>
                  </a:lnTo>
                  <a:lnTo>
                    <a:pt x="870" y="963"/>
                  </a:lnTo>
                  <a:lnTo>
                    <a:pt x="874" y="959"/>
                  </a:lnTo>
                  <a:lnTo>
                    <a:pt x="880" y="955"/>
                  </a:lnTo>
                  <a:lnTo>
                    <a:pt x="885" y="953"/>
                  </a:lnTo>
                  <a:lnTo>
                    <a:pt x="896" y="947"/>
                  </a:lnTo>
                  <a:lnTo>
                    <a:pt x="906" y="942"/>
                  </a:lnTo>
                  <a:lnTo>
                    <a:pt x="912" y="939"/>
                  </a:lnTo>
                  <a:lnTo>
                    <a:pt x="917" y="937"/>
                  </a:lnTo>
                  <a:lnTo>
                    <a:pt x="921" y="933"/>
                  </a:lnTo>
                  <a:lnTo>
                    <a:pt x="925" y="929"/>
                  </a:lnTo>
                  <a:lnTo>
                    <a:pt x="929" y="925"/>
                  </a:lnTo>
                  <a:lnTo>
                    <a:pt x="930" y="918"/>
                  </a:lnTo>
                  <a:lnTo>
                    <a:pt x="933" y="911"/>
                  </a:lnTo>
                  <a:lnTo>
                    <a:pt x="933" y="902"/>
                  </a:lnTo>
                  <a:lnTo>
                    <a:pt x="932" y="897"/>
                  </a:lnTo>
                  <a:lnTo>
                    <a:pt x="930" y="890"/>
                  </a:lnTo>
                  <a:lnTo>
                    <a:pt x="926" y="886"/>
                  </a:lnTo>
                  <a:lnTo>
                    <a:pt x="921" y="881"/>
                  </a:lnTo>
                  <a:lnTo>
                    <a:pt x="910" y="874"/>
                  </a:lnTo>
                  <a:lnTo>
                    <a:pt x="897" y="866"/>
                  </a:lnTo>
                  <a:lnTo>
                    <a:pt x="884" y="859"/>
                  </a:lnTo>
                  <a:lnTo>
                    <a:pt x="872" y="851"/>
                  </a:lnTo>
                  <a:lnTo>
                    <a:pt x="868" y="847"/>
                  </a:lnTo>
                  <a:lnTo>
                    <a:pt x="864" y="842"/>
                  </a:lnTo>
                  <a:lnTo>
                    <a:pt x="861" y="837"/>
                  </a:lnTo>
                  <a:lnTo>
                    <a:pt x="861" y="830"/>
                  </a:lnTo>
                  <a:lnTo>
                    <a:pt x="861" y="827"/>
                  </a:lnTo>
                  <a:lnTo>
                    <a:pt x="862" y="825"/>
                  </a:lnTo>
                  <a:lnTo>
                    <a:pt x="865" y="821"/>
                  </a:lnTo>
                  <a:lnTo>
                    <a:pt x="869" y="817"/>
                  </a:lnTo>
                  <a:lnTo>
                    <a:pt x="878" y="809"/>
                  </a:lnTo>
                  <a:lnTo>
                    <a:pt x="890" y="801"/>
                  </a:lnTo>
                  <a:lnTo>
                    <a:pt x="921" y="782"/>
                  </a:lnTo>
                  <a:lnTo>
                    <a:pt x="957" y="763"/>
                  </a:lnTo>
                  <a:lnTo>
                    <a:pt x="994" y="745"/>
                  </a:lnTo>
                  <a:lnTo>
                    <a:pt x="1029" y="730"/>
                  </a:lnTo>
                  <a:lnTo>
                    <a:pt x="1056" y="717"/>
                  </a:lnTo>
                  <a:lnTo>
                    <a:pt x="1072" y="710"/>
                  </a:lnTo>
                  <a:lnTo>
                    <a:pt x="1086" y="701"/>
                  </a:lnTo>
                  <a:lnTo>
                    <a:pt x="1098" y="693"/>
                  </a:lnTo>
                  <a:lnTo>
                    <a:pt x="1104" y="690"/>
                  </a:lnTo>
                  <a:lnTo>
                    <a:pt x="1110" y="687"/>
                  </a:lnTo>
                  <a:lnTo>
                    <a:pt x="1117" y="686"/>
                  </a:lnTo>
                  <a:lnTo>
                    <a:pt x="1126" y="686"/>
                  </a:lnTo>
                  <a:lnTo>
                    <a:pt x="1174" y="678"/>
                  </a:lnTo>
                  <a:lnTo>
                    <a:pt x="1228" y="669"/>
                  </a:lnTo>
                  <a:lnTo>
                    <a:pt x="1240" y="665"/>
                  </a:lnTo>
                  <a:lnTo>
                    <a:pt x="1252" y="661"/>
                  </a:lnTo>
                  <a:lnTo>
                    <a:pt x="1261" y="657"/>
                  </a:lnTo>
                  <a:lnTo>
                    <a:pt x="1270" y="651"/>
                  </a:lnTo>
                  <a:lnTo>
                    <a:pt x="1278" y="645"/>
                  </a:lnTo>
                  <a:lnTo>
                    <a:pt x="1283" y="638"/>
                  </a:lnTo>
                  <a:lnTo>
                    <a:pt x="1287" y="629"/>
                  </a:lnTo>
                  <a:lnTo>
                    <a:pt x="1289" y="619"/>
                  </a:lnTo>
                  <a:lnTo>
                    <a:pt x="1287" y="606"/>
                  </a:lnTo>
                  <a:lnTo>
                    <a:pt x="1283" y="594"/>
                  </a:lnTo>
                  <a:lnTo>
                    <a:pt x="1278" y="585"/>
                  </a:lnTo>
                  <a:lnTo>
                    <a:pt x="1273" y="577"/>
                  </a:lnTo>
                  <a:lnTo>
                    <a:pt x="1268" y="567"/>
                  </a:lnTo>
                  <a:lnTo>
                    <a:pt x="1262" y="558"/>
                  </a:lnTo>
                  <a:lnTo>
                    <a:pt x="1261" y="551"/>
                  </a:lnTo>
                  <a:lnTo>
                    <a:pt x="1260" y="545"/>
                  </a:lnTo>
                  <a:lnTo>
                    <a:pt x="1258" y="538"/>
                  </a:lnTo>
                  <a:lnTo>
                    <a:pt x="1258" y="529"/>
                  </a:lnTo>
                  <a:lnTo>
                    <a:pt x="1258" y="523"/>
                  </a:lnTo>
                  <a:lnTo>
                    <a:pt x="1260" y="518"/>
                  </a:lnTo>
                  <a:lnTo>
                    <a:pt x="1262" y="514"/>
                  </a:lnTo>
                  <a:lnTo>
                    <a:pt x="1265" y="510"/>
                  </a:lnTo>
                  <a:lnTo>
                    <a:pt x="1271" y="502"/>
                  </a:lnTo>
                  <a:lnTo>
                    <a:pt x="1281" y="495"/>
                  </a:lnTo>
                  <a:lnTo>
                    <a:pt x="1291" y="491"/>
                  </a:lnTo>
                  <a:lnTo>
                    <a:pt x="1303" y="487"/>
                  </a:lnTo>
                  <a:lnTo>
                    <a:pt x="1317" y="484"/>
                  </a:lnTo>
                  <a:lnTo>
                    <a:pt x="1330" y="481"/>
                  </a:lnTo>
                  <a:lnTo>
                    <a:pt x="1313" y="433"/>
                  </a:lnTo>
                  <a:lnTo>
                    <a:pt x="1313" y="425"/>
                  </a:lnTo>
                  <a:lnTo>
                    <a:pt x="1314" y="420"/>
                  </a:lnTo>
                  <a:lnTo>
                    <a:pt x="1315" y="416"/>
                  </a:lnTo>
                  <a:lnTo>
                    <a:pt x="1318" y="412"/>
                  </a:lnTo>
                  <a:lnTo>
                    <a:pt x="1321" y="409"/>
                  </a:lnTo>
                  <a:lnTo>
                    <a:pt x="1322" y="404"/>
                  </a:lnTo>
                  <a:lnTo>
                    <a:pt x="1323" y="398"/>
                  </a:lnTo>
                  <a:lnTo>
                    <a:pt x="1325" y="390"/>
                  </a:lnTo>
                  <a:lnTo>
                    <a:pt x="1323" y="385"/>
                  </a:lnTo>
                  <a:lnTo>
                    <a:pt x="1322" y="381"/>
                  </a:lnTo>
                  <a:lnTo>
                    <a:pt x="1321" y="376"/>
                  </a:lnTo>
                  <a:lnTo>
                    <a:pt x="1318" y="372"/>
                  </a:lnTo>
                  <a:lnTo>
                    <a:pt x="1311" y="365"/>
                  </a:lnTo>
                  <a:lnTo>
                    <a:pt x="1303" y="358"/>
                  </a:lnTo>
                  <a:lnTo>
                    <a:pt x="1295" y="350"/>
                  </a:lnTo>
                  <a:lnTo>
                    <a:pt x="1289" y="344"/>
                  </a:lnTo>
                  <a:lnTo>
                    <a:pt x="1286" y="340"/>
                  </a:lnTo>
                  <a:lnTo>
                    <a:pt x="1283" y="334"/>
                  </a:lnTo>
                  <a:lnTo>
                    <a:pt x="1282" y="330"/>
                  </a:lnTo>
                  <a:lnTo>
                    <a:pt x="1282" y="325"/>
                  </a:lnTo>
                  <a:lnTo>
                    <a:pt x="1283" y="318"/>
                  </a:lnTo>
                  <a:lnTo>
                    <a:pt x="1287" y="312"/>
                  </a:lnTo>
                  <a:lnTo>
                    <a:pt x="1291" y="306"/>
                  </a:lnTo>
                  <a:lnTo>
                    <a:pt x="1297" y="300"/>
                  </a:lnTo>
                  <a:lnTo>
                    <a:pt x="1302" y="293"/>
                  </a:lnTo>
                  <a:lnTo>
                    <a:pt x="1307" y="286"/>
                  </a:lnTo>
                  <a:lnTo>
                    <a:pt x="1311" y="278"/>
                  </a:lnTo>
                  <a:lnTo>
                    <a:pt x="1313" y="270"/>
                  </a:lnTo>
                  <a:lnTo>
                    <a:pt x="1305" y="270"/>
                  </a:lnTo>
                  <a:lnTo>
                    <a:pt x="1297" y="269"/>
                  </a:lnTo>
                  <a:lnTo>
                    <a:pt x="1290" y="268"/>
                  </a:lnTo>
                  <a:lnTo>
                    <a:pt x="1285" y="265"/>
                  </a:lnTo>
                  <a:lnTo>
                    <a:pt x="1273" y="260"/>
                  </a:lnTo>
                  <a:lnTo>
                    <a:pt x="1264" y="252"/>
                  </a:lnTo>
                  <a:lnTo>
                    <a:pt x="1256" y="242"/>
                  </a:lnTo>
                  <a:lnTo>
                    <a:pt x="1248" y="232"/>
                  </a:lnTo>
                  <a:lnTo>
                    <a:pt x="1241" y="221"/>
                  </a:lnTo>
                  <a:lnTo>
                    <a:pt x="1236" y="209"/>
                  </a:lnTo>
                  <a:lnTo>
                    <a:pt x="1225" y="184"/>
                  </a:lnTo>
                  <a:lnTo>
                    <a:pt x="1214" y="158"/>
                  </a:lnTo>
                  <a:lnTo>
                    <a:pt x="1208" y="148"/>
                  </a:lnTo>
                  <a:lnTo>
                    <a:pt x="1202" y="137"/>
                  </a:lnTo>
                  <a:lnTo>
                    <a:pt x="1194" y="128"/>
                  </a:lnTo>
                  <a:lnTo>
                    <a:pt x="1186" y="120"/>
                  </a:lnTo>
                  <a:lnTo>
                    <a:pt x="1150" y="94"/>
                  </a:lnTo>
                  <a:lnTo>
                    <a:pt x="1113" y="69"/>
                  </a:lnTo>
                  <a:lnTo>
                    <a:pt x="1096" y="54"/>
                  </a:lnTo>
                  <a:lnTo>
                    <a:pt x="1081" y="38"/>
                  </a:lnTo>
                  <a:lnTo>
                    <a:pt x="1074" y="30"/>
                  </a:lnTo>
                  <a:lnTo>
                    <a:pt x="1068" y="20"/>
                  </a:lnTo>
                  <a:lnTo>
                    <a:pt x="1064" y="10"/>
                  </a:lnTo>
                  <a:lnTo>
                    <a:pt x="1060" y="0"/>
                  </a:lnTo>
                  <a:lnTo>
                    <a:pt x="1052" y="4"/>
                  </a:lnTo>
                  <a:lnTo>
                    <a:pt x="1046" y="8"/>
                  </a:lnTo>
                  <a:lnTo>
                    <a:pt x="1041" y="12"/>
                  </a:lnTo>
                  <a:lnTo>
                    <a:pt x="1036" y="17"/>
                  </a:lnTo>
                  <a:lnTo>
                    <a:pt x="1029" y="29"/>
                  </a:lnTo>
                  <a:lnTo>
                    <a:pt x="1024" y="40"/>
                  </a:lnTo>
                  <a:lnTo>
                    <a:pt x="1017" y="50"/>
                  </a:lnTo>
                  <a:lnTo>
                    <a:pt x="1010" y="60"/>
                  </a:lnTo>
                  <a:lnTo>
                    <a:pt x="1006" y="64"/>
                  </a:lnTo>
                  <a:lnTo>
                    <a:pt x="1001" y="68"/>
                  </a:lnTo>
                  <a:lnTo>
                    <a:pt x="994" y="70"/>
                  </a:lnTo>
                  <a:lnTo>
                    <a:pt x="988" y="72"/>
                  </a:lnTo>
                  <a:lnTo>
                    <a:pt x="973" y="73"/>
                  </a:lnTo>
                  <a:lnTo>
                    <a:pt x="958" y="72"/>
                  </a:lnTo>
                  <a:lnTo>
                    <a:pt x="944" y="69"/>
                  </a:lnTo>
                  <a:lnTo>
                    <a:pt x="929" y="68"/>
                  </a:lnTo>
                  <a:lnTo>
                    <a:pt x="912" y="65"/>
                  </a:lnTo>
                  <a:lnTo>
                    <a:pt x="896" y="65"/>
                  </a:lnTo>
                  <a:lnTo>
                    <a:pt x="888" y="65"/>
                  </a:lnTo>
                  <a:lnTo>
                    <a:pt x="878" y="66"/>
                  </a:lnTo>
                  <a:lnTo>
                    <a:pt x="869" y="69"/>
                  </a:lnTo>
                  <a:lnTo>
                    <a:pt x="861" y="72"/>
                  </a:lnTo>
                  <a:lnTo>
                    <a:pt x="856" y="76"/>
                  </a:lnTo>
                  <a:lnTo>
                    <a:pt x="848" y="84"/>
                  </a:lnTo>
                  <a:lnTo>
                    <a:pt x="844" y="88"/>
                  </a:lnTo>
                  <a:lnTo>
                    <a:pt x="840" y="92"/>
                  </a:lnTo>
                  <a:lnTo>
                    <a:pt x="836" y="94"/>
                  </a:lnTo>
                  <a:lnTo>
                    <a:pt x="830" y="96"/>
                  </a:lnTo>
                  <a:lnTo>
                    <a:pt x="818" y="96"/>
                  </a:lnTo>
                  <a:lnTo>
                    <a:pt x="805" y="96"/>
                  </a:lnTo>
                  <a:lnTo>
                    <a:pt x="790" y="96"/>
                  </a:lnTo>
                  <a:lnTo>
                    <a:pt x="770" y="96"/>
                  </a:lnTo>
                  <a:lnTo>
                    <a:pt x="762" y="114"/>
                  </a:lnTo>
                  <a:lnTo>
                    <a:pt x="744" y="156"/>
                  </a:lnTo>
                  <a:lnTo>
                    <a:pt x="737" y="168"/>
                  </a:lnTo>
                  <a:lnTo>
                    <a:pt x="730" y="178"/>
                  </a:lnTo>
                  <a:lnTo>
                    <a:pt x="722" y="188"/>
                  </a:lnTo>
                  <a:lnTo>
                    <a:pt x="714" y="197"/>
                  </a:lnTo>
                  <a:lnTo>
                    <a:pt x="706" y="205"/>
                  </a:lnTo>
                  <a:lnTo>
                    <a:pt x="697" y="212"/>
                  </a:lnTo>
                  <a:lnTo>
                    <a:pt x="689" y="214"/>
                  </a:lnTo>
                  <a:lnTo>
                    <a:pt x="680" y="216"/>
                  </a:lnTo>
                  <a:lnTo>
                    <a:pt x="674" y="216"/>
                  </a:lnTo>
                  <a:lnTo>
                    <a:pt x="669" y="213"/>
                  </a:lnTo>
                  <a:lnTo>
                    <a:pt x="662" y="210"/>
                  </a:lnTo>
                  <a:lnTo>
                    <a:pt x="654" y="205"/>
                  </a:lnTo>
                  <a:lnTo>
                    <a:pt x="638" y="194"/>
                  </a:lnTo>
                  <a:lnTo>
                    <a:pt x="622" y="180"/>
                  </a:lnTo>
                  <a:lnTo>
                    <a:pt x="608" y="165"/>
                  </a:lnTo>
                  <a:lnTo>
                    <a:pt x="596" y="150"/>
                  </a:lnTo>
                  <a:lnTo>
                    <a:pt x="590" y="144"/>
                  </a:lnTo>
                  <a:lnTo>
                    <a:pt x="586" y="137"/>
                  </a:lnTo>
                  <a:lnTo>
                    <a:pt x="585" y="130"/>
                  </a:lnTo>
                  <a:lnTo>
                    <a:pt x="584" y="126"/>
                  </a:lnTo>
                  <a:lnTo>
                    <a:pt x="584" y="114"/>
                  </a:lnTo>
                  <a:lnTo>
                    <a:pt x="584" y="106"/>
                  </a:lnTo>
                  <a:lnTo>
                    <a:pt x="584" y="98"/>
                  </a:lnTo>
                  <a:lnTo>
                    <a:pt x="584" y="84"/>
                  </a:lnTo>
                  <a:lnTo>
                    <a:pt x="576" y="81"/>
                  </a:lnTo>
                  <a:lnTo>
                    <a:pt x="569" y="77"/>
                  </a:lnTo>
                  <a:lnTo>
                    <a:pt x="564" y="72"/>
                  </a:lnTo>
                  <a:lnTo>
                    <a:pt x="557" y="65"/>
                  </a:lnTo>
                  <a:lnTo>
                    <a:pt x="548" y="52"/>
                  </a:lnTo>
                  <a:lnTo>
                    <a:pt x="537" y="37"/>
                  </a:lnTo>
                  <a:lnTo>
                    <a:pt x="528" y="22"/>
                  </a:lnTo>
                  <a:lnTo>
                    <a:pt x="517" y="10"/>
                  </a:lnTo>
                  <a:lnTo>
                    <a:pt x="510" y="6"/>
                  </a:lnTo>
                  <a:lnTo>
                    <a:pt x="504" y="2"/>
                  </a:lnTo>
                  <a:lnTo>
                    <a:pt x="496" y="0"/>
                  </a:lnTo>
                  <a:lnTo>
                    <a:pt x="488" y="0"/>
                  </a:lnTo>
                  <a:lnTo>
                    <a:pt x="469" y="0"/>
                  </a:lnTo>
                  <a:lnTo>
                    <a:pt x="452" y="2"/>
                  </a:lnTo>
                  <a:lnTo>
                    <a:pt x="437" y="8"/>
                  </a:lnTo>
                  <a:lnTo>
                    <a:pt x="423" y="13"/>
                  </a:lnTo>
                  <a:lnTo>
                    <a:pt x="409" y="20"/>
                  </a:lnTo>
                  <a:lnTo>
                    <a:pt x="396" y="28"/>
                  </a:lnTo>
                  <a:lnTo>
                    <a:pt x="384" y="36"/>
                  </a:lnTo>
                  <a:lnTo>
                    <a:pt x="373" y="45"/>
                  </a:lnTo>
                  <a:lnTo>
                    <a:pt x="351" y="62"/>
                  </a:lnTo>
                  <a:lnTo>
                    <a:pt x="328" y="81"/>
                  </a:lnTo>
                  <a:lnTo>
                    <a:pt x="316" y="89"/>
                  </a:lnTo>
                  <a:lnTo>
                    <a:pt x="304" y="96"/>
                  </a:lnTo>
                  <a:lnTo>
                    <a:pt x="291" y="102"/>
                  </a:lnTo>
                  <a:lnTo>
                    <a:pt x="276" y="108"/>
                  </a:lnTo>
                  <a:lnTo>
                    <a:pt x="253" y="110"/>
                  </a:lnTo>
                  <a:lnTo>
                    <a:pt x="231" y="110"/>
                  </a:lnTo>
                  <a:lnTo>
                    <a:pt x="208" y="110"/>
                  </a:lnTo>
                  <a:lnTo>
                    <a:pt x="185" y="109"/>
                  </a:lnTo>
                  <a:lnTo>
                    <a:pt x="175" y="109"/>
                  </a:lnTo>
                  <a:lnTo>
                    <a:pt x="164" y="110"/>
                  </a:lnTo>
                  <a:lnTo>
                    <a:pt x="153" y="112"/>
                  </a:lnTo>
                  <a:lnTo>
                    <a:pt x="144" y="114"/>
                  </a:lnTo>
                  <a:lnTo>
                    <a:pt x="135" y="118"/>
                  </a:lnTo>
                  <a:lnTo>
                    <a:pt x="125" y="124"/>
                  </a:lnTo>
                  <a:lnTo>
                    <a:pt x="116" y="130"/>
                  </a:lnTo>
                  <a:lnTo>
                    <a:pt x="108" y="138"/>
                  </a:lnTo>
                  <a:lnTo>
                    <a:pt x="97" y="130"/>
                  </a:lnTo>
                  <a:lnTo>
                    <a:pt x="87" y="121"/>
                  </a:lnTo>
                  <a:lnTo>
                    <a:pt x="80" y="116"/>
                  </a:lnTo>
                  <a:lnTo>
                    <a:pt x="73" y="112"/>
                  </a:lnTo>
                  <a:lnTo>
                    <a:pt x="67" y="109"/>
                  </a:lnTo>
                  <a:lnTo>
                    <a:pt x="60" y="108"/>
                  </a:lnTo>
                  <a:lnTo>
                    <a:pt x="55" y="108"/>
                  </a:lnTo>
                  <a:lnTo>
                    <a:pt x="51" y="109"/>
                  </a:lnTo>
                  <a:lnTo>
                    <a:pt x="47" y="110"/>
                  </a:lnTo>
                  <a:lnTo>
                    <a:pt x="43" y="113"/>
                  </a:lnTo>
                  <a:lnTo>
                    <a:pt x="37" y="118"/>
                  </a:lnTo>
                  <a:lnTo>
                    <a:pt x="32" y="124"/>
                  </a:lnTo>
                  <a:lnTo>
                    <a:pt x="27" y="132"/>
                  </a:lnTo>
                  <a:lnTo>
                    <a:pt x="20" y="138"/>
                  </a:lnTo>
                  <a:lnTo>
                    <a:pt x="11" y="145"/>
                  </a:lnTo>
                  <a:lnTo>
                    <a:pt x="0" y="150"/>
                  </a:lnTo>
                  <a:lnTo>
                    <a:pt x="216" y="801"/>
                  </a:lnTo>
                  <a:lnTo>
                    <a:pt x="217" y="805"/>
                  </a:lnTo>
                  <a:lnTo>
                    <a:pt x="219" y="810"/>
                  </a:lnTo>
                  <a:lnTo>
                    <a:pt x="221" y="815"/>
                  </a:lnTo>
                  <a:lnTo>
                    <a:pt x="224" y="819"/>
                  </a:lnTo>
                  <a:lnTo>
                    <a:pt x="228" y="823"/>
                  </a:lnTo>
                  <a:lnTo>
                    <a:pt x="232" y="827"/>
                  </a:lnTo>
                  <a:lnTo>
                    <a:pt x="236" y="830"/>
                  </a:lnTo>
                  <a:lnTo>
                    <a:pt x="240" y="830"/>
                  </a:lnTo>
                  <a:lnTo>
                    <a:pt x="251" y="829"/>
                  </a:lnTo>
                  <a:lnTo>
                    <a:pt x="260" y="826"/>
                  </a:lnTo>
                  <a:lnTo>
                    <a:pt x="268" y="821"/>
                  </a:lnTo>
                  <a:lnTo>
                    <a:pt x="275" y="814"/>
                  </a:lnTo>
                  <a:lnTo>
                    <a:pt x="280" y="806"/>
                  </a:lnTo>
                  <a:lnTo>
                    <a:pt x="285" y="798"/>
                  </a:lnTo>
                  <a:lnTo>
                    <a:pt x="289" y="789"/>
                  </a:lnTo>
                  <a:lnTo>
                    <a:pt x="293" y="779"/>
                  </a:lnTo>
                  <a:lnTo>
                    <a:pt x="303" y="761"/>
                  </a:lnTo>
                  <a:lnTo>
                    <a:pt x="312" y="743"/>
                  </a:lnTo>
                  <a:lnTo>
                    <a:pt x="319" y="738"/>
                  </a:lnTo>
                  <a:lnTo>
                    <a:pt x="325" y="733"/>
                  </a:lnTo>
                  <a:lnTo>
                    <a:pt x="333" y="729"/>
                  </a:lnTo>
                  <a:lnTo>
                    <a:pt x="343" y="727"/>
                  </a:lnTo>
                  <a:lnTo>
                    <a:pt x="351" y="729"/>
                  </a:lnTo>
                  <a:lnTo>
                    <a:pt x="361" y="731"/>
                  </a:lnTo>
                  <a:lnTo>
                    <a:pt x="372" y="737"/>
                  </a:lnTo>
                  <a:lnTo>
                    <a:pt x="383" y="742"/>
                  </a:lnTo>
                  <a:lnTo>
                    <a:pt x="393" y="749"/>
                  </a:lnTo>
                  <a:lnTo>
                    <a:pt x="401" y="755"/>
                  </a:lnTo>
                  <a:lnTo>
                    <a:pt x="404" y="759"/>
                  </a:lnTo>
                  <a:lnTo>
                    <a:pt x="407" y="763"/>
                  </a:lnTo>
                  <a:lnTo>
                    <a:pt x="408" y="766"/>
                  </a:lnTo>
                  <a:lnTo>
                    <a:pt x="409" y="770"/>
                  </a:lnTo>
                  <a:lnTo>
                    <a:pt x="409" y="779"/>
                  </a:lnTo>
                  <a:lnTo>
                    <a:pt x="411" y="787"/>
                  </a:lnTo>
                  <a:lnTo>
                    <a:pt x="412" y="794"/>
                  </a:lnTo>
                  <a:lnTo>
                    <a:pt x="415" y="801"/>
                  </a:lnTo>
                  <a:lnTo>
                    <a:pt x="420" y="811"/>
                  </a:lnTo>
                  <a:lnTo>
                    <a:pt x="427" y="821"/>
                  </a:lnTo>
                  <a:lnTo>
                    <a:pt x="433" y="831"/>
                  </a:lnTo>
                  <a:lnTo>
                    <a:pt x="440" y="843"/>
                  </a:lnTo>
                  <a:lnTo>
                    <a:pt x="441" y="851"/>
                  </a:lnTo>
                  <a:lnTo>
                    <a:pt x="444" y="861"/>
                  </a:lnTo>
                  <a:lnTo>
                    <a:pt x="445" y="871"/>
                  </a:lnTo>
                  <a:lnTo>
                    <a:pt x="445" y="885"/>
                  </a:lnTo>
                  <a:lnTo>
                    <a:pt x="453" y="883"/>
                  </a:lnTo>
                  <a:lnTo>
                    <a:pt x="463" y="882"/>
                  </a:lnTo>
                  <a:lnTo>
                    <a:pt x="473" y="882"/>
                  </a:lnTo>
                  <a:lnTo>
                    <a:pt x="485" y="882"/>
                  </a:lnTo>
                  <a:lnTo>
                    <a:pt x="512" y="883"/>
                  </a:lnTo>
                  <a:lnTo>
                    <a:pt x="536" y="885"/>
                  </a:lnTo>
                  <a:lnTo>
                    <a:pt x="550" y="885"/>
                  </a:lnTo>
                  <a:lnTo>
                    <a:pt x="564" y="883"/>
                  </a:lnTo>
                  <a:lnTo>
                    <a:pt x="577" y="881"/>
                  </a:lnTo>
                  <a:lnTo>
                    <a:pt x="589" y="879"/>
                  </a:lnTo>
                  <a:lnTo>
                    <a:pt x="613" y="873"/>
                  </a:lnTo>
                  <a:lnTo>
                    <a:pt x="636" y="866"/>
                  </a:lnTo>
                  <a:lnTo>
                    <a:pt x="657" y="859"/>
                  </a:lnTo>
                  <a:lnTo>
                    <a:pt x="678" y="854"/>
                  </a:lnTo>
                  <a:lnTo>
                    <a:pt x="700" y="850"/>
                  </a:lnTo>
                  <a:lnTo>
                    <a:pt x="722" y="849"/>
                  </a:lnTo>
                  <a:lnTo>
                    <a:pt x="734" y="849"/>
                  </a:lnTo>
                  <a:lnTo>
                    <a:pt x="746" y="851"/>
                  </a:lnTo>
                  <a:lnTo>
                    <a:pt x="757" y="855"/>
                  </a:lnTo>
                  <a:lnTo>
                    <a:pt x="768" y="859"/>
                  </a:lnTo>
                  <a:lnTo>
                    <a:pt x="778" y="865"/>
                  </a:lnTo>
                  <a:lnTo>
                    <a:pt x="789" y="871"/>
                  </a:lnTo>
                  <a:lnTo>
                    <a:pt x="798" y="879"/>
                  </a:lnTo>
                  <a:lnTo>
                    <a:pt x="806" y="887"/>
                  </a:lnTo>
                  <a:lnTo>
                    <a:pt x="814" y="897"/>
                  </a:lnTo>
                  <a:lnTo>
                    <a:pt x="822" y="906"/>
                  </a:lnTo>
                  <a:lnTo>
                    <a:pt x="829" y="915"/>
                  </a:lnTo>
                  <a:lnTo>
                    <a:pt x="836" y="925"/>
                  </a:lnTo>
                  <a:lnTo>
                    <a:pt x="846" y="945"/>
                  </a:lnTo>
                  <a:lnTo>
                    <a:pt x="854" y="963"/>
                  </a:lnTo>
                  <a:lnTo>
                    <a:pt x="873" y="963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accent1">
                  <a:lumMod val="20000"/>
                  <a:lumOff val="8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95" b="0" i="0" u="none" strike="noStrike" kern="1200" cap="none" spc="0" normalizeH="0" baseline="0" noProof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8" name="Freeform 14"/>
            <p:cNvSpPr>
              <a:spLocks/>
            </p:cNvSpPr>
            <p:nvPr/>
          </p:nvSpPr>
          <p:spPr bwMode="auto">
            <a:xfrm>
              <a:off x="5246591" y="2127853"/>
              <a:ext cx="206338" cy="485778"/>
            </a:xfrm>
            <a:custGeom>
              <a:avLst/>
              <a:gdLst>
                <a:gd name="T0" fmla="*/ 211 w 2865"/>
                <a:gd name="T1" fmla="*/ 2861 h 6748"/>
                <a:gd name="T2" fmla="*/ 379 w 2865"/>
                <a:gd name="T3" fmla="*/ 3250 h 6748"/>
                <a:gd name="T4" fmla="*/ 506 w 2865"/>
                <a:gd name="T5" fmla="*/ 3666 h 6748"/>
                <a:gd name="T6" fmla="*/ 451 w 2865"/>
                <a:gd name="T7" fmla="*/ 3932 h 6748"/>
                <a:gd name="T8" fmla="*/ 328 w 2865"/>
                <a:gd name="T9" fmla="*/ 4171 h 6748"/>
                <a:gd name="T10" fmla="*/ 361 w 2865"/>
                <a:gd name="T11" fmla="*/ 4399 h 6748"/>
                <a:gd name="T12" fmla="*/ 319 w 2865"/>
                <a:gd name="T13" fmla="*/ 4671 h 6748"/>
                <a:gd name="T14" fmla="*/ 593 w 2865"/>
                <a:gd name="T15" fmla="*/ 4756 h 6748"/>
                <a:gd name="T16" fmla="*/ 785 w 2865"/>
                <a:gd name="T17" fmla="*/ 4961 h 6748"/>
                <a:gd name="T18" fmla="*/ 834 w 2865"/>
                <a:gd name="T19" fmla="*/ 5205 h 6748"/>
                <a:gd name="T20" fmla="*/ 782 w 2865"/>
                <a:gd name="T21" fmla="*/ 5562 h 6748"/>
                <a:gd name="T22" fmla="*/ 796 w 2865"/>
                <a:gd name="T23" fmla="*/ 5830 h 6748"/>
                <a:gd name="T24" fmla="*/ 1073 w 2865"/>
                <a:gd name="T25" fmla="*/ 5984 h 6748"/>
                <a:gd name="T26" fmla="*/ 1239 w 2865"/>
                <a:gd name="T27" fmla="*/ 6362 h 6748"/>
                <a:gd name="T28" fmla="*/ 1062 w 2865"/>
                <a:gd name="T29" fmla="*/ 6601 h 6748"/>
                <a:gd name="T30" fmla="*/ 1403 w 2865"/>
                <a:gd name="T31" fmla="*/ 6708 h 6748"/>
                <a:gd name="T32" fmla="*/ 1633 w 2865"/>
                <a:gd name="T33" fmla="*/ 6335 h 6748"/>
                <a:gd name="T34" fmla="*/ 1783 w 2865"/>
                <a:gd name="T35" fmla="*/ 6134 h 6748"/>
                <a:gd name="T36" fmla="*/ 1883 w 2865"/>
                <a:gd name="T37" fmla="*/ 5980 h 6748"/>
                <a:gd name="T38" fmla="*/ 1871 w 2865"/>
                <a:gd name="T39" fmla="*/ 5713 h 6748"/>
                <a:gd name="T40" fmla="*/ 1966 w 2865"/>
                <a:gd name="T41" fmla="*/ 5458 h 6748"/>
                <a:gd name="T42" fmla="*/ 2083 w 2865"/>
                <a:gd name="T43" fmla="*/ 5201 h 6748"/>
                <a:gd name="T44" fmla="*/ 2295 w 2865"/>
                <a:gd name="T45" fmla="*/ 5209 h 6748"/>
                <a:gd name="T46" fmla="*/ 2398 w 2865"/>
                <a:gd name="T47" fmla="*/ 5037 h 6748"/>
                <a:gd name="T48" fmla="*/ 2492 w 2865"/>
                <a:gd name="T49" fmla="*/ 4800 h 6748"/>
                <a:gd name="T50" fmla="*/ 2732 w 2865"/>
                <a:gd name="T51" fmla="*/ 4860 h 6748"/>
                <a:gd name="T52" fmla="*/ 2812 w 2865"/>
                <a:gd name="T53" fmla="*/ 4676 h 6748"/>
                <a:gd name="T54" fmla="*/ 2787 w 2865"/>
                <a:gd name="T55" fmla="*/ 4436 h 6748"/>
                <a:gd name="T56" fmla="*/ 2698 w 2865"/>
                <a:gd name="T57" fmla="*/ 4146 h 6748"/>
                <a:gd name="T58" fmla="*/ 2783 w 2865"/>
                <a:gd name="T59" fmla="*/ 3932 h 6748"/>
                <a:gd name="T60" fmla="*/ 2727 w 2865"/>
                <a:gd name="T61" fmla="*/ 3692 h 6748"/>
                <a:gd name="T62" fmla="*/ 2772 w 2865"/>
                <a:gd name="T63" fmla="*/ 3486 h 6748"/>
                <a:gd name="T64" fmla="*/ 2630 w 2865"/>
                <a:gd name="T65" fmla="*/ 3387 h 6748"/>
                <a:gd name="T66" fmla="*/ 2590 w 2865"/>
                <a:gd name="T67" fmla="*/ 3035 h 6748"/>
                <a:gd name="T68" fmla="*/ 2442 w 2865"/>
                <a:gd name="T69" fmla="*/ 2776 h 6748"/>
                <a:gd name="T70" fmla="*/ 2354 w 2865"/>
                <a:gd name="T71" fmla="*/ 2124 h 6748"/>
                <a:gd name="T72" fmla="*/ 2587 w 2865"/>
                <a:gd name="T73" fmla="*/ 1944 h 6748"/>
                <a:gd name="T74" fmla="*/ 2704 w 2865"/>
                <a:gd name="T75" fmla="*/ 1508 h 6748"/>
                <a:gd name="T76" fmla="*/ 2487 w 2865"/>
                <a:gd name="T77" fmla="*/ 1191 h 6748"/>
                <a:gd name="T78" fmla="*/ 2432 w 2865"/>
                <a:gd name="T79" fmla="*/ 914 h 6748"/>
                <a:gd name="T80" fmla="*/ 2383 w 2865"/>
                <a:gd name="T81" fmla="*/ 1031 h 6748"/>
                <a:gd name="T82" fmla="*/ 2291 w 2865"/>
                <a:gd name="T83" fmla="*/ 926 h 6748"/>
                <a:gd name="T84" fmla="*/ 2302 w 2865"/>
                <a:gd name="T85" fmla="*/ 229 h 6748"/>
                <a:gd name="T86" fmla="*/ 1990 w 2865"/>
                <a:gd name="T87" fmla="*/ 293 h 6748"/>
                <a:gd name="T88" fmla="*/ 1873 w 2865"/>
                <a:gd name="T89" fmla="*/ 140 h 6748"/>
                <a:gd name="T90" fmla="*/ 1809 w 2865"/>
                <a:gd name="T91" fmla="*/ 12 h 6748"/>
                <a:gd name="T92" fmla="*/ 1587 w 2865"/>
                <a:gd name="T93" fmla="*/ 225 h 6748"/>
                <a:gd name="T94" fmla="*/ 1478 w 2865"/>
                <a:gd name="T95" fmla="*/ 385 h 6748"/>
                <a:gd name="T96" fmla="*/ 1339 w 2865"/>
                <a:gd name="T97" fmla="*/ 558 h 6748"/>
                <a:gd name="T98" fmla="*/ 1238 w 2865"/>
                <a:gd name="T99" fmla="*/ 509 h 6748"/>
                <a:gd name="T100" fmla="*/ 1010 w 2865"/>
                <a:gd name="T101" fmla="*/ 645 h 6748"/>
                <a:gd name="T102" fmla="*/ 740 w 2865"/>
                <a:gd name="T103" fmla="*/ 1106 h 6748"/>
                <a:gd name="T104" fmla="*/ 273 w 2865"/>
                <a:gd name="T105" fmla="*/ 1155 h 6748"/>
                <a:gd name="T106" fmla="*/ 240 w 2865"/>
                <a:gd name="T107" fmla="*/ 1490 h 6748"/>
                <a:gd name="T108" fmla="*/ 368 w 2865"/>
                <a:gd name="T109" fmla="*/ 1627 h 6748"/>
                <a:gd name="T110" fmla="*/ 369 w 2865"/>
                <a:gd name="T111" fmla="*/ 2081 h 6748"/>
                <a:gd name="T112" fmla="*/ 323 w 2865"/>
                <a:gd name="T113" fmla="*/ 1893 h 6748"/>
                <a:gd name="T114" fmla="*/ 360 w 2865"/>
                <a:gd name="T115" fmla="*/ 1662 h 6748"/>
                <a:gd name="T116" fmla="*/ 72 w 2865"/>
                <a:gd name="T117" fmla="*/ 1467 h 6748"/>
                <a:gd name="T118" fmla="*/ 160 w 2865"/>
                <a:gd name="T119" fmla="*/ 1674 h 6748"/>
                <a:gd name="T120" fmla="*/ 164 w 2865"/>
                <a:gd name="T121" fmla="*/ 1957 h 6748"/>
                <a:gd name="T122" fmla="*/ 37 w 2865"/>
                <a:gd name="T123" fmla="*/ 2237 h 6748"/>
                <a:gd name="T124" fmla="*/ 289 w 2865"/>
                <a:gd name="T125" fmla="*/ 2403 h 674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865"/>
                <a:gd name="T190" fmla="*/ 0 h 6748"/>
                <a:gd name="T191" fmla="*/ 2865 w 2865"/>
                <a:gd name="T192" fmla="*/ 6748 h 674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865" h="6748">
                  <a:moveTo>
                    <a:pt x="276" y="2557"/>
                  </a:moveTo>
                  <a:lnTo>
                    <a:pt x="271" y="2540"/>
                  </a:lnTo>
                  <a:lnTo>
                    <a:pt x="276" y="2557"/>
                  </a:lnTo>
                  <a:lnTo>
                    <a:pt x="271" y="2557"/>
                  </a:lnTo>
                  <a:lnTo>
                    <a:pt x="269" y="2568"/>
                  </a:lnTo>
                  <a:lnTo>
                    <a:pt x="267" y="2578"/>
                  </a:lnTo>
                  <a:lnTo>
                    <a:pt x="264" y="2590"/>
                  </a:lnTo>
                  <a:lnTo>
                    <a:pt x="259" y="2602"/>
                  </a:lnTo>
                  <a:lnTo>
                    <a:pt x="252" y="2613"/>
                  </a:lnTo>
                  <a:lnTo>
                    <a:pt x="245" y="2624"/>
                  </a:lnTo>
                  <a:lnTo>
                    <a:pt x="237" y="2634"/>
                  </a:lnTo>
                  <a:lnTo>
                    <a:pt x="228" y="2641"/>
                  </a:lnTo>
                  <a:lnTo>
                    <a:pt x="212" y="2645"/>
                  </a:lnTo>
                  <a:lnTo>
                    <a:pt x="195" y="2648"/>
                  </a:lnTo>
                  <a:lnTo>
                    <a:pt x="187" y="2650"/>
                  </a:lnTo>
                  <a:lnTo>
                    <a:pt x="180" y="2656"/>
                  </a:lnTo>
                  <a:lnTo>
                    <a:pt x="177" y="2658"/>
                  </a:lnTo>
                  <a:lnTo>
                    <a:pt x="176" y="2662"/>
                  </a:lnTo>
                  <a:lnTo>
                    <a:pt x="175" y="2666"/>
                  </a:lnTo>
                  <a:lnTo>
                    <a:pt x="175" y="2672"/>
                  </a:lnTo>
                  <a:lnTo>
                    <a:pt x="176" y="2680"/>
                  </a:lnTo>
                  <a:lnTo>
                    <a:pt x="179" y="2701"/>
                  </a:lnTo>
                  <a:lnTo>
                    <a:pt x="184" y="2730"/>
                  </a:lnTo>
                  <a:lnTo>
                    <a:pt x="191" y="2765"/>
                  </a:lnTo>
                  <a:lnTo>
                    <a:pt x="197" y="2801"/>
                  </a:lnTo>
                  <a:lnTo>
                    <a:pt x="204" y="2834"/>
                  </a:lnTo>
                  <a:lnTo>
                    <a:pt x="211" y="2861"/>
                  </a:lnTo>
                  <a:lnTo>
                    <a:pt x="216" y="2877"/>
                  </a:lnTo>
                  <a:lnTo>
                    <a:pt x="237" y="2897"/>
                  </a:lnTo>
                  <a:lnTo>
                    <a:pt x="255" y="2910"/>
                  </a:lnTo>
                  <a:lnTo>
                    <a:pt x="259" y="2913"/>
                  </a:lnTo>
                  <a:lnTo>
                    <a:pt x="261" y="2917"/>
                  </a:lnTo>
                  <a:lnTo>
                    <a:pt x="264" y="2922"/>
                  </a:lnTo>
                  <a:lnTo>
                    <a:pt x="267" y="2928"/>
                  </a:lnTo>
                  <a:lnTo>
                    <a:pt x="268" y="2934"/>
                  </a:lnTo>
                  <a:lnTo>
                    <a:pt x="269" y="2941"/>
                  </a:lnTo>
                  <a:lnTo>
                    <a:pt x="271" y="2950"/>
                  </a:lnTo>
                  <a:lnTo>
                    <a:pt x="271" y="2961"/>
                  </a:lnTo>
                  <a:lnTo>
                    <a:pt x="271" y="3001"/>
                  </a:lnTo>
                  <a:lnTo>
                    <a:pt x="271" y="3035"/>
                  </a:lnTo>
                  <a:lnTo>
                    <a:pt x="271" y="3073"/>
                  </a:lnTo>
                  <a:lnTo>
                    <a:pt x="271" y="3123"/>
                  </a:lnTo>
                  <a:lnTo>
                    <a:pt x="271" y="3137"/>
                  </a:lnTo>
                  <a:lnTo>
                    <a:pt x="273" y="3149"/>
                  </a:lnTo>
                  <a:lnTo>
                    <a:pt x="276" y="3159"/>
                  </a:lnTo>
                  <a:lnTo>
                    <a:pt x="280" y="3169"/>
                  </a:lnTo>
                  <a:lnTo>
                    <a:pt x="285" y="3178"/>
                  </a:lnTo>
                  <a:lnTo>
                    <a:pt x="292" y="3187"/>
                  </a:lnTo>
                  <a:lnTo>
                    <a:pt x="299" y="3195"/>
                  </a:lnTo>
                  <a:lnTo>
                    <a:pt x="307" y="3202"/>
                  </a:lnTo>
                  <a:lnTo>
                    <a:pt x="324" y="3215"/>
                  </a:lnTo>
                  <a:lnTo>
                    <a:pt x="341" y="3227"/>
                  </a:lnTo>
                  <a:lnTo>
                    <a:pt x="360" y="3238"/>
                  </a:lnTo>
                  <a:lnTo>
                    <a:pt x="379" y="3250"/>
                  </a:lnTo>
                  <a:lnTo>
                    <a:pt x="385" y="3365"/>
                  </a:lnTo>
                  <a:lnTo>
                    <a:pt x="379" y="3371"/>
                  </a:lnTo>
                  <a:lnTo>
                    <a:pt x="371" y="3383"/>
                  </a:lnTo>
                  <a:lnTo>
                    <a:pt x="367" y="3391"/>
                  </a:lnTo>
                  <a:lnTo>
                    <a:pt x="364" y="3398"/>
                  </a:lnTo>
                  <a:lnTo>
                    <a:pt x="361" y="3406"/>
                  </a:lnTo>
                  <a:lnTo>
                    <a:pt x="361" y="3413"/>
                  </a:lnTo>
                  <a:lnTo>
                    <a:pt x="363" y="3421"/>
                  </a:lnTo>
                  <a:lnTo>
                    <a:pt x="365" y="3427"/>
                  </a:lnTo>
                  <a:lnTo>
                    <a:pt x="371" y="3435"/>
                  </a:lnTo>
                  <a:lnTo>
                    <a:pt x="379" y="3442"/>
                  </a:lnTo>
                  <a:lnTo>
                    <a:pt x="387" y="3447"/>
                  </a:lnTo>
                  <a:lnTo>
                    <a:pt x="397" y="3454"/>
                  </a:lnTo>
                  <a:lnTo>
                    <a:pt x="408" y="3459"/>
                  </a:lnTo>
                  <a:lnTo>
                    <a:pt x="420" y="3465"/>
                  </a:lnTo>
                  <a:lnTo>
                    <a:pt x="445" y="3473"/>
                  </a:lnTo>
                  <a:lnTo>
                    <a:pt x="470" y="3479"/>
                  </a:lnTo>
                  <a:lnTo>
                    <a:pt x="493" y="3483"/>
                  </a:lnTo>
                  <a:lnTo>
                    <a:pt x="512" y="3485"/>
                  </a:lnTo>
                  <a:lnTo>
                    <a:pt x="513" y="3511"/>
                  </a:lnTo>
                  <a:lnTo>
                    <a:pt x="517" y="3541"/>
                  </a:lnTo>
                  <a:lnTo>
                    <a:pt x="521" y="3571"/>
                  </a:lnTo>
                  <a:lnTo>
                    <a:pt x="524" y="3605"/>
                  </a:lnTo>
                  <a:lnTo>
                    <a:pt x="522" y="3624"/>
                  </a:lnTo>
                  <a:lnTo>
                    <a:pt x="518" y="3640"/>
                  </a:lnTo>
                  <a:lnTo>
                    <a:pt x="513" y="3654"/>
                  </a:lnTo>
                  <a:lnTo>
                    <a:pt x="506" y="3666"/>
                  </a:lnTo>
                  <a:lnTo>
                    <a:pt x="498" y="3675"/>
                  </a:lnTo>
                  <a:lnTo>
                    <a:pt x="489" y="3684"/>
                  </a:lnTo>
                  <a:lnTo>
                    <a:pt x="480" y="3692"/>
                  </a:lnTo>
                  <a:lnTo>
                    <a:pt x="469" y="3700"/>
                  </a:lnTo>
                  <a:lnTo>
                    <a:pt x="459" y="3708"/>
                  </a:lnTo>
                  <a:lnTo>
                    <a:pt x="449" y="3716"/>
                  </a:lnTo>
                  <a:lnTo>
                    <a:pt x="440" y="3724"/>
                  </a:lnTo>
                  <a:lnTo>
                    <a:pt x="432" y="3735"/>
                  </a:lnTo>
                  <a:lnTo>
                    <a:pt x="425" y="3746"/>
                  </a:lnTo>
                  <a:lnTo>
                    <a:pt x="420" y="3759"/>
                  </a:lnTo>
                  <a:lnTo>
                    <a:pt x="416" y="3774"/>
                  </a:lnTo>
                  <a:lnTo>
                    <a:pt x="415" y="3791"/>
                  </a:lnTo>
                  <a:lnTo>
                    <a:pt x="416" y="3798"/>
                  </a:lnTo>
                  <a:lnTo>
                    <a:pt x="417" y="3804"/>
                  </a:lnTo>
                  <a:lnTo>
                    <a:pt x="419" y="3811"/>
                  </a:lnTo>
                  <a:lnTo>
                    <a:pt x="421" y="3818"/>
                  </a:lnTo>
                  <a:lnTo>
                    <a:pt x="428" y="3830"/>
                  </a:lnTo>
                  <a:lnTo>
                    <a:pt x="436" y="3842"/>
                  </a:lnTo>
                  <a:lnTo>
                    <a:pt x="444" y="3855"/>
                  </a:lnTo>
                  <a:lnTo>
                    <a:pt x="451" y="3871"/>
                  </a:lnTo>
                  <a:lnTo>
                    <a:pt x="453" y="3879"/>
                  </a:lnTo>
                  <a:lnTo>
                    <a:pt x="456" y="3887"/>
                  </a:lnTo>
                  <a:lnTo>
                    <a:pt x="457" y="3896"/>
                  </a:lnTo>
                  <a:lnTo>
                    <a:pt x="457" y="3906"/>
                  </a:lnTo>
                  <a:lnTo>
                    <a:pt x="456" y="3916"/>
                  </a:lnTo>
                  <a:lnTo>
                    <a:pt x="455" y="3924"/>
                  </a:lnTo>
                  <a:lnTo>
                    <a:pt x="451" y="3932"/>
                  </a:lnTo>
                  <a:lnTo>
                    <a:pt x="447" y="3940"/>
                  </a:lnTo>
                  <a:lnTo>
                    <a:pt x="436" y="3954"/>
                  </a:lnTo>
                  <a:lnTo>
                    <a:pt x="423" y="3966"/>
                  </a:lnTo>
                  <a:lnTo>
                    <a:pt x="409" y="3978"/>
                  </a:lnTo>
                  <a:lnTo>
                    <a:pt x="396" y="3990"/>
                  </a:lnTo>
                  <a:lnTo>
                    <a:pt x="391" y="3996"/>
                  </a:lnTo>
                  <a:lnTo>
                    <a:pt x="385" y="4004"/>
                  </a:lnTo>
                  <a:lnTo>
                    <a:pt x="381" y="4012"/>
                  </a:lnTo>
                  <a:lnTo>
                    <a:pt x="379" y="4020"/>
                  </a:lnTo>
                  <a:lnTo>
                    <a:pt x="376" y="4043"/>
                  </a:lnTo>
                  <a:lnTo>
                    <a:pt x="375" y="4063"/>
                  </a:lnTo>
                  <a:lnTo>
                    <a:pt x="373" y="4072"/>
                  </a:lnTo>
                  <a:lnTo>
                    <a:pt x="371" y="4080"/>
                  </a:lnTo>
                  <a:lnTo>
                    <a:pt x="367" y="4087"/>
                  </a:lnTo>
                  <a:lnTo>
                    <a:pt x="361" y="4092"/>
                  </a:lnTo>
                  <a:lnTo>
                    <a:pt x="355" y="4096"/>
                  </a:lnTo>
                  <a:lnTo>
                    <a:pt x="349" y="4098"/>
                  </a:lnTo>
                  <a:lnTo>
                    <a:pt x="344" y="4099"/>
                  </a:lnTo>
                  <a:lnTo>
                    <a:pt x="340" y="4098"/>
                  </a:lnTo>
                  <a:lnTo>
                    <a:pt x="335" y="4098"/>
                  </a:lnTo>
                  <a:lnTo>
                    <a:pt x="331" y="4098"/>
                  </a:lnTo>
                  <a:lnTo>
                    <a:pt x="325" y="4098"/>
                  </a:lnTo>
                  <a:lnTo>
                    <a:pt x="319" y="4099"/>
                  </a:lnTo>
                  <a:lnTo>
                    <a:pt x="319" y="4118"/>
                  </a:lnTo>
                  <a:lnTo>
                    <a:pt x="321" y="4136"/>
                  </a:lnTo>
                  <a:lnTo>
                    <a:pt x="324" y="4154"/>
                  </a:lnTo>
                  <a:lnTo>
                    <a:pt x="328" y="4171"/>
                  </a:lnTo>
                  <a:lnTo>
                    <a:pt x="335" y="4187"/>
                  </a:lnTo>
                  <a:lnTo>
                    <a:pt x="341" y="4203"/>
                  </a:lnTo>
                  <a:lnTo>
                    <a:pt x="349" y="4217"/>
                  </a:lnTo>
                  <a:lnTo>
                    <a:pt x="357" y="4231"/>
                  </a:lnTo>
                  <a:lnTo>
                    <a:pt x="368" y="4243"/>
                  </a:lnTo>
                  <a:lnTo>
                    <a:pt x="379" y="4253"/>
                  </a:lnTo>
                  <a:lnTo>
                    <a:pt x="392" y="4263"/>
                  </a:lnTo>
                  <a:lnTo>
                    <a:pt x="405" y="4271"/>
                  </a:lnTo>
                  <a:lnTo>
                    <a:pt x="420" y="4277"/>
                  </a:lnTo>
                  <a:lnTo>
                    <a:pt x="435" y="4281"/>
                  </a:lnTo>
                  <a:lnTo>
                    <a:pt x="452" y="4284"/>
                  </a:lnTo>
                  <a:lnTo>
                    <a:pt x="469" y="4285"/>
                  </a:lnTo>
                  <a:lnTo>
                    <a:pt x="470" y="4297"/>
                  </a:lnTo>
                  <a:lnTo>
                    <a:pt x="470" y="4308"/>
                  </a:lnTo>
                  <a:lnTo>
                    <a:pt x="469" y="4319"/>
                  </a:lnTo>
                  <a:lnTo>
                    <a:pt x="467" y="4328"/>
                  </a:lnTo>
                  <a:lnTo>
                    <a:pt x="463" y="4336"/>
                  </a:lnTo>
                  <a:lnTo>
                    <a:pt x="459" y="4344"/>
                  </a:lnTo>
                  <a:lnTo>
                    <a:pt x="453" y="4351"/>
                  </a:lnTo>
                  <a:lnTo>
                    <a:pt x="447" y="4357"/>
                  </a:lnTo>
                  <a:lnTo>
                    <a:pt x="440" y="4363"/>
                  </a:lnTo>
                  <a:lnTo>
                    <a:pt x="432" y="4368"/>
                  </a:lnTo>
                  <a:lnTo>
                    <a:pt x="424" y="4373"/>
                  </a:lnTo>
                  <a:lnTo>
                    <a:pt x="416" y="4377"/>
                  </a:lnTo>
                  <a:lnTo>
                    <a:pt x="399" y="4385"/>
                  </a:lnTo>
                  <a:lnTo>
                    <a:pt x="380" y="4392"/>
                  </a:lnTo>
                  <a:lnTo>
                    <a:pt x="361" y="4399"/>
                  </a:lnTo>
                  <a:lnTo>
                    <a:pt x="343" y="4405"/>
                  </a:lnTo>
                  <a:lnTo>
                    <a:pt x="325" y="4412"/>
                  </a:lnTo>
                  <a:lnTo>
                    <a:pt x="309" y="4421"/>
                  </a:lnTo>
                  <a:lnTo>
                    <a:pt x="303" y="4425"/>
                  </a:lnTo>
                  <a:lnTo>
                    <a:pt x="296" y="4431"/>
                  </a:lnTo>
                  <a:lnTo>
                    <a:pt x="291" y="4436"/>
                  </a:lnTo>
                  <a:lnTo>
                    <a:pt x="285" y="4441"/>
                  </a:lnTo>
                  <a:lnTo>
                    <a:pt x="281" y="4448"/>
                  </a:lnTo>
                  <a:lnTo>
                    <a:pt x="279" y="4456"/>
                  </a:lnTo>
                  <a:lnTo>
                    <a:pt x="277" y="4464"/>
                  </a:lnTo>
                  <a:lnTo>
                    <a:pt x="276" y="4472"/>
                  </a:lnTo>
                  <a:lnTo>
                    <a:pt x="277" y="4480"/>
                  </a:lnTo>
                  <a:lnTo>
                    <a:pt x="279" y="4488"/>
                  </a:lnTo>
                  <a:lnTo>
                    <a:pt x="280" y="4495"/>
                  </a:lnTo>
                  <a:lnTo>
                    <a:pt x="283" y="4501"/>
                  </a:lnTo>
                  <a:lnTo>
                    <a:pt x="289" y="4513"/>
                  </a:lnTo>
                  <a:lnTo>
                    <a:pt x="297" y="4523"/>
                  </a:lnTo>
                  <a:lnTo>
                    <a:pt x="305" y="4533"/>
                  </a:lnTo>
                  <a:lnTo>
                    <a:pt x="312" y="4545"/>
                  </a:lnTo>
                  <a:lnTo>
                    <a:pt x="315" y="4551"/>
                  </a:lnTo>
                  <a:lnTo>
                    <a:pt x="317" y="4559"/>
                  </a:lnTo>
                  <a:lnTo>
                    <a:pt x="319" y="4565"/>
                  </a:lnTo>
                  <a:lnTo>
                    <a:pt x="319" y="4575"/>
                  </a:lnTo>
                  <a:lnTo>
                    <a:pt x="319" y="4605"/>
                  </a:lnTo>
                  <a:lnTo>
                    <a:pt x="319" y="4632"/>
                  </a:lnTo>
                  <a:lnTo>
                    <a:pt x="319" y="4655"/>
                  </a:lnTo>
                  <a:lnTo>
                    <a:pt x="319" y="4671"/>
                  </a:lnTo>
                  <a:lnTo>
                    <a:pt x="319" y="4676"/>
                  </a:lnTo>
                  <a:lnTo>
                    <a:pt x="320" y="4684"/>
                  </a:lnTo>
                  <a:lnTo>
                    <a:pt x="323" y="4691"/>
                  </a:lnTo>
                  <a:lnTo>
                    <a:pt x="325" y="4700"/>
                  </a:lnTo>
                  <a:lnTo>
                    <a:pt x="331" y="4707"/>
                  </a:lnTo>
                  <a:lnTo>
                    <a:pt x="336" y="4713"/>
                  </a:lnTo>
                  <a:lnTo>
                    <a:pt x="340" y="4716"/>
                  </a:lnTo>
                  <a:lnTo>
                    <a:pt x="344" y="4717"/>
                  </a:lnTo>
                  <a:lnTo>
                    <a:pt x="349" y="4719"/>
                  </a:lnTo>
                  <a:lnTo>
                    <a:pt x="355" y="4719"/>
                  </a:lnTo>
                  <a:lnTo>
                    <a:pt x="375" y="4719"/>
                  </a:lnTo>
                  <a:lnTo>
                    <a:pt x="392" y="4716"/>
                  </a:lnTo>
                  <a:lnTo>
                    <a:pt x="408" y="4713"/>
                  </a:lnTo>
                  <a:lnTo>
                    <a:pt x="424" y="4709"/>
                  </a:lnTo>
                  <a:lnTo>
                    <a:pt x="440" y="4707"/>
                  </a:lnTo>
                  <a:lnTo>
                    <a:pt x="456" y="4704"/>
                  </a:lnTo>
                  <a:lnTo>
                    <a:pt x="474" y="4701"/>
                  </a:lnTo>
                  <a:lnTo>
                    <a:pt x="493" y="4701"/>
                  </a:lnTo>
                  <a:lnTo>
                    <a:pt x="510" y="4701"/>
                  </a:lnTo>
                  <a:lnTo>
                    <a:pt x="526" y="4704"/>
                  </a:lnTo>
                  <a:lnTo>
                    <a:pt x="538" y="4708"/>
                  </a:lnTo>
                  <a:lnTo>
                    <a:pt x="550" y="4713"/>
                  </a:lnTo>
                  <a:lnTo>
                    <a:pt x="558" y="4719"/>
                  </a:lnTo>
                  <a:lnTo>
                    <a:pt x="566" y="4725"/>
                  </a:lnTo>
                  <a:lnTo>
                    <a:pt x="574" y="4733"/>
                  </a:lnTo>
                  <a:lnTo>
                    <a:pt x="581" y="4741"/>
                  </a:lnTo>
                  <a:lnTo>
                    <a:pt x="593" y="4756"/>
                  </a:lnTo>
                  <a:lnTo>
                    <a:pt x="606" y="4769"/>
                  </a:lnTo>
                  <a:lnTo>
                    <a:pt x="614" y="4775"/>
                  </a:lnTo>
                  <a:lnTo>
                    <a:pt x="625" y="4780"/>
                  </a:lnTo>
                  <a:lnTo>
                    <a:pt x="636" y="4783"/>
                  </a:lnTo>
                  <a:lnTo>
                    <a:pt x="650" y="4785"/>
                  </a:lnTo>
                  <a:lnTo>
                    <a:pt x="653" y="4794"/>
                  </a:lnTo>
                  <a:lnTo>
                    <a:pt x="657" y="4806"/>
                  </a:lnTo>
                  <a:lnTo>
                    <a:pt x="662" y="4820"/>
                  </a:lnTo>
                  <a:lnTo>
                    <a:pt x="669" y="4833"/>
                  </a:lnTo>
                  <a:lnTo>
                    <a:pt x="676" y="4845"/>
                  </a:lnTo>
                  <a:lnTo>
                    <a:pt x="684" y="4857"/>
                  </a:lnTo>
                  <a:lnTo>
                    <a:pt x="690" y="4868"/>
                  </a:lnTo>
                  <a:lnTo>
                    <a:pt x="698" y="4876"/>
                  </a:lnTo>
                  <a:lnTo>
                    <a:pt x="712" y="4882"/>
                  </a:lnTo>
                  <a:lnTo>
                    <a:pt x="728" y="4888"/>
                  </a:lnTo>
                  <a:lnTo>
                    <a:pt x="742" y="4893"/>
                  </a:lnTo>
                  <a:lnTo>
                    <a:pt x="757" y="4897"/>
                  </a:lnTo>
                  <a:lnTo>
                    <a:pt x="764" y="4900"/>
                  </a:lnTo>
                  <a:lnTo>
                    <a:pt x="769" y="4904"/>
                  </a:lnTo>
                  <a:lnTo>
                    <a:pt x="774" y="4908"/>
                  </a:lnTo>
                  <a:lnTo>
                    <a:pt x="780" y="4912"/>
                  </a:lnTo>
                  <a:lnTo>
                    <a:pt x="782" y="4917"/>
                  </a:lnTo>
                  <a:lnTo>
                    <a:pt x="786" y="4924"/>
                  </a:lnTo>
                  <a:lnTo>
                    <a:pt x="788" y="4932"/>
                  </a:lnTo>
                  <a:lnTo>
                    <a:pt x="788" y="4941"/>
                  </a:lnTo>
                  <a:lnTo>
                    <a:pt x="788" y="4952"/>
                  </a:lnTo>
                  <a:lnTo>
                    <a:pt x="785" y="4961"/>
                  </a:lnTo>
                  <a:lnTo>
                    <a:pt x="781" y="4970"/>
                  </a:lnTo>
                  <a:lnTo>
                    <a:pt x="776" y="4980"/>
                  </a:lnTo>
                  <a:lnTo>
                    <a:pt x="764" y="4998"/>
                  </a:lnTo>
                  <a:lnTo>
                    <a:pt x="749" y="5017"/>
                  </a:lnTo>
                  <a:lnTo>
                    <a:pt x="742" y="5028"/>
                  </a:lnTo>
                  <a:lnTo>
                    <a:pt x="734" y="5038"/>
                  </a:lnTo>
                  <a:lnTo>
                    <a:pt x="728" y="5049"/>
                  </a:lnTo>
                  <a:lnTo>
                    <a:pt x="722" y="5061"/>
                  </a:lnTo>
                  <a:lnTo>
                    <a:pt x="717" y="5073"/>
                  </a:lnTo>
                  <a:lnTo>
                    <a:pt x="713" y="5086"/>
                  </a:lnTo>
                  <a:lnTo>
                    <a:pt x="710" y="5101"/>
                  </a:lnTo>
                  <a:lnTo>
                    <a:pt x="710" y="5116"/>
                  </a:lnTo>
                  <a:lnTo>
                    <a:pt x="710" y="5125"/>
                  </a:lnTo>
                  <a:lnTo>
                    <a:pt x="712" y="5134"/>
                  </a:lnTo>
                  <a:lnTo>
                    <a:pt x="714" y="5141"/>
                  </a:lnTo>
                  <a:lnTo>
                    <a:pt x="717" y="5148"/>
                  </a:lnTo>
                  <a:lnTo>
                    <a:pt x="721" y="5154"/>
                  </a:lnTo>
                  <a:lnTo>
                    <a:pt x="725" y="5160"/>
                  </a:lnTo>
                  <a:lnTo>
                    <a:pt x="730" y="5164"/>
                  </a:lnTo>
                  <a:lnTo>
                    <a:pt x="736" y="5169"/>
                  </a:lnTo>
                  <a:lnTo>
                    <a:pt x="748" y="5176"/>
                  </a:lnTo>
                  <a:lnTo>
                    <a:pt x="761" y="5181"/>
                  </a:lnTo>
                  <a:lnTo>
                    <a:pt x="776" y="5186"/>
                  </a:lnTo>
                  <a:lnTo>
                    <a:pt x="792" y="5190"/>
                  </a:lnTo>
                  <a:lnTo>
                    <a:pt x="806" y="5196"/>
                  </a:lnTo>
                  <a:lnTo>
                    <a:pt x="821" y="5200"/>
                  </a:lnTo>
                  <a:lnTo>
                    <a:pt x="834" y="5205"/>
                  </a:lnTo>
                  <a:lnTo>
                    <a:pt x="848" y="5212"/>
                  </a:lnTo>
                  <a:lnTo>
                    <a:pt x="853" y="5216"/>
                  </a:lnTo>
                  <a:lnTo>
                    <a:pt x="857" y="5221"/>
                  </a:lnTo>
                  <a:lnTo>
                    <a:pt x="862" y="5225"/>
                  </a:lnTo>
                  <a:lnTo>
                    <a:pt x="865" y="5232"/>
                  </a:lnTo>
                  <a:lnTo>
                    <a:pt x="869" y="5237"/>
                  </a:lnTo>
                  <a:lnTo>
                    <a:pt x="870" y="5245"/>
                  </a:lnTo>
                  <a:lnTo>
                    <a:pt x="872" y="5252"/>
                  </a:lnTo>
                  <a:lnTo>
                    <a:pt x="873" y="5261"/>
                  </a:lnTo>
                  <a:lnTo>
                    <a:pt x="872" y="5274"/>
                  </a:lnTo>
                  <a:lnTo>
                    <a:pt x="869" y="5286"/>
                  </a:lnTo>
                  <a:lnTo>
                    <a:pt x="864" y="5297"/>
                  </a:lnTo>
                  <a:lnTo>
                    <a:pt x="858" y="5308"/>
                  </a:lnTo>
                  <a:lnTo>
                    <a:pt x="852" y="5316"/>
                  </a:lnTo>
                  <a:lnTo>
                    <a:pt x="844" y="5324"/>
                  </a:lnTo>
                  <a:lnTo>
                    <a:pt x="836" y="5330"/>
                  </a:lnTo>
                  <a:lnTo>
                    <a:pt x="828" y="5337"/>
                  </a:lnTo>
                  <a:lnTo>
                    <a:pt x="810" y="5352"/>
                  </a:lnTo>
                  <a:lnTo>
                    <a:pt x="796" y="5366"/>
                  </a:lnTo>
                  <a:lnTo>
                    <a:pt x="790" y="5374"/>
                  </a:lnTo>
                  <a:lnTo>
                    <a:pt x="786" y="5383"/>
                  </a:lnTo>
                  <a:lnTo>
                    <a:pt x="784" y="5394"/>
                  </a:lnTo>
                  <a:lnTo>
                    <a:pt x="782" y="5405"/>
                  </a:lnTo>
                  <a:lnTo>
                    <a:pt x="782" y="5433"/>
                  </a:lnTo>
                  <a:lnTo>
                    <a:pt x="782" y="5477"/>
                  </a:lnTo>
                  <a:lnTo>
                    <a:pt x="782" y="5525"/>
                  </a:lnTo>
                  <a:lnTo>
                    <a:pt x="782" y="5562"/>
                  </a:lnTo>
                  <a:lnTo>
                    <a:pt x="784" y="5571"/>
                  </a:lnTo>
                  <a:lnTo>
                    <a:pt x="786" y="5581"/>
                  </a:lnTo>
                  <a:lnTo>
                    <a:pt x="790" y="5590"/>
                  </a:lnTo>
                  <a:lnTo>
                    <a:pt x="796" y="5599"/>
                  </a:lnTo>
                  <a:lnTo>
                    <a:pt x="809" y="5617"/>
                  </a:lnTo>
                  <a:lnTo>
                    <a:pt x="825" y="5637"/>
                  </a:lnTo>
                  <a:lnTo>
                    <a:pt x="832" y="5646"/>
                  </a:lnTo>
                  <a:lnTo>
                    <a:pt x="840" y="5657"/>
                  </a:lnTo>
                  <a:lnTo>
                    <a:pt x="846" y="5669"/>
                  </a:lnTo>
                  <a:lnTo>
                    <a:pt x="853" y="5681"/>
                  </a:lnTo>
                  <a:lnTo>
                    <a:pt x="858" y="5694"/>
                  </a:lnTo>
                  <a:lnTo>
                    <a:pt x="862" y="5709"/>
                  </a:lnTo>
                  <a:lnTo>
                    <a:pt x="865" y="5725"/>
                  </a:lnTo>
                  <a:lnTo>
                    <a:pt x="866" y="5742"/>
                  </a:lnTo>
                  <a:lnTo>
                    <a:pt x="866" y="5754"/>
                  </a:lnTo>
                  <a:lnTo>
                    <a:pt x="864" y="5763"/>
                  </a:lnTo>
                  <a:lnTo>
                    <a:pt x="860" y="5771"/>
                  </a:lnTo>
                  <a:lnTo>
                    <a:pt x="856" y="5778"/>
                  </a:lnTo>
                  <a:lnTo>
                    <a:pt x="850" y="5783"/>
                  </a:lnTo>
                  <a:lnTo>
                    <a:pt x="844" y="5787"/>
                  </a:lnTo>
                  <a:lnTo>
                    <a:pt x="837" y="5791"/>
                  </a:lnTo>
                  <a:lnTo>
                    <a:pt x="830" y="5795"/>
                  </a:lnTo>
                  <a:lnTo>
                    <a:pt x="817" y="5802"/>
                  </a:lnTo>
                  <a:lnTo>
                    <a:pt x="805" y="5810"/>
                  </a:lnTo>
                  <a:lnTo>
                    <a:pt x="801" y="5815"/>
                  </a:lnTo>
                  <a:lnTo>
                    <a:pt x="797" y="5822"/>
                  </a:lnTo>
                  <a:lnTo>
                    <a:pt x="796" y="5830"/>
                  </a:lnTo>
                  <a:lnTo>
                    <a:pt x="794" y="5839"/>
                  </a:lnTo>
                  <a:lnTo>
                    <a:pt x="796" y="5843"/>
                  </a:lnTo>
                  <a:lnTo>
                    <a:pt x="797" y="5850"/>
                  </a:lnTo>
                  <a:lnTo>
                    <a:pt x="801" y="5857"/>
                  </a:lnTo>
                  <a:lnTo>
                    <a:pt x="806" y="5865"/>
                  </a:lnTo>
                  <a:lnTo>
                    <a:pt x="818" y="5882"/>
                  </a:lnTo>
                  <a:lnTo>
                    <a:pt x="834" y="5899"/>
                  </a:lnTo>
                  <a:lnTo>
                    <a:pt x="852" y="5915"/>
                  </a:lnTo>
                  <a:lnTo>
                    <a:pt x="868" y="5929"/>
                  </a:lnTo>
                  <a:lnTo>
                    <a:pt x="876" y="5934"/>
                  </a:lnTo>
                  <a:lnTo>
                    <a:pt x="884" y="5938"/>
                  </a:lnTo>
                  <a:lnTo>
                    <a:pt x="890" y="5941"/>
                  </a:lnTo>
                  <a:lnTo>
                    <a:pt x="897" y="5941"/>
                  </a:lnTo>
                  <a:lnTo>
                    <a:pt x="909" y="5941"/>
                  </a:lnTo>
                  <a:lnTo>
                    <a:pt x="921" y="5939"/>
                  </a:lnTo>
                  <a:lnTo>
                    <a:pt x="932" y="5938"/>
                  </a:lnTo>
                  <a:lnTo>
                    <a:pt x="941" y="5935"/>
                  </a:lnTo>
                  <a:lnTo>
                    <a:pt x="960" y="5931"/>
                  </a:lnTo>
                  <a:lnTo>
                    <a:pt x="981" y="5929"/>
                  </a:lnTo>
                  <a:lnTo>
                    <a:pt x="993" y="5930"/>
                  </a:lnTo>
                  <a:lnTo>
                    <a:pt x="1004" y="5933"/>
                  </a:lnTo>
                  <a:lnTo>
                    <a:pt x="1013" y="5938"/>
                  </a:lnTo>
                  <a:lnTo>
                    <a:pt x="1021" y="5943"/>
                  </a:lnTo>
                  <a:lnTo>
                    <a:pt x="1037" y="5956"/>
                  </a:lnTo>
                  <a:lnTo>
                    <a:pt x="1053" y="5971"/>
                  </a:lnTo>
                  <a:lnTo>
                    <a:pt x="1064" y="5978"/>
                  </a:lnTo>
                  <a:lnTo>
                    <a:pt x="1073" y="5984"/>
                  </a:lnTo>
                  <a:lnTo>
                    <a:pt x="1082" y="5992"/>
                  </a:lnTo>
                  <a:lnTo>
                    <a:pt x="1090" y="6000"/>
                  </a:lnTo>
                  <a:lnTo>
                    <a:pt x="1097" y="6010"/>
                  </a:lnTo>
                  <a:lnTo>
                    <a:pt x="1104" y="6019"/>
                  </a:lnTo>
                  <a:lnTo>
                    <a:pt x="1109" y="6028"/>
                  </a:lnTo>
                  <a:lnTo>
                    <a:pt x="1116" y="6038"/>
                  </a:lnTo>
                  <a:lnTo>
                    <a:pt x="1125" y="6059"/>
                  </a:lnTo>
                  <a:lnTo>
                    <a:pt x="1133" y="6080"/>
                  </a:lnTo>
                  <a:lnTo>
                    <a:pt x="1140" y="6103"/>
                  </a:lnTo>
                  <a:lnTo>
                    <a:pt x="1146" y="6127"/>
                  </a:lnTo>
                  <a:lnTo>
                    <a:pt x="1157" y="6174"/>
                  </a:lnTo>
                  <a:lnTo>
                    <a:pt x="1172" y="6219"/>
                  </a:lnTo>
                  <a:lnTo>
                    <a:pt x="1180" y="6240"/>
                  </a:lnTo>
                  <a:lnTo>
                    <a:pt x="1189" y="6260"/>
                  </a:lnTo>
                  <a:lnTo>
                    <a:pt x="1196" y="6271"/>
                  </a:lnTo>
                  <a:lnTo>
                    <a:pt x="1201" y="6279"/>
                  </a:lnTo>
                  <a:lnTo>
                    <a:pt x="1209" y="6288"/>
                  </a:lnTo>
                  <a:lnTo>
                    <a:pt x="1216" y="6296"/>
                  </a:lnTo>
                  <a:lnTo>
                    <a:pt x="1217" y="6304"/>
                  </a:lnTo>
                  <a:lnTo>
                    <a:pt x="1220" y="6312"/>
                  </a:lnTo>
                  <a:lnTo>
                    <a:pt x="1224" y="6319"/>
                  </a:lnTo>
                  <a:lnTo>
                    <a:pt x="1228" y="6327"/>
                  </a:lnTo>
                  <a:lnTo>
                    <a:pt x="1233" y="6334"/>
                  </a:lnTo>
                  <a:lnTo>
                    <a:pt x="1235" y="6340"/>
                  </a:lnTo>
                  <a:lnTo>
                    <a:pt x="1238" y="6348"/>
                  </a:lnTo>
                  <a:lnTo>
                    <a:pt x="1239" y="6356"/>
                  </a:lnTo>
                  <a:lnTo>
                    <a:pt x="1239" y="6362"/>
                  </a:lnTo>
                  <a:lnTo>
                    <a:pt x="1238" y="6367"/>
                  </a:lnTo>
                  <a:lnTo>
                    <a:pt x="1235" y="6372"/>
                  </a:lnTo>
                  <a:lnTo>
                    <a:pt x="1233" y="6376"/>
                  </a:lnTo>
                  <a:lnTo>
                    <a:pt x="1226" y="6384"/>
                  </a:lnTo>
                  <a:lnTo>
                    <a:pt x="1218" y="6391"/>
                  </a:lnTo>
                  <a:lnTo>
                    <a:pt x="1210" y="6398"/>
                  </a:lnTo>
                  <a:lnTo>
                    <a:pt x="1202" y="6404"/>
                  </a:lnTo>
                  <a:lnTo>
                    <a:pt x="1196" y="6410"/>
                  </a:lnTo>
                  <a:lnTo>
                    <a:pt x="1192" y="6416"/>
                  </a:lnTo>
                  <a:lnTo>
                    <a:pt x="1189" y="6430"/>
                  </a:lnTo>
                  <a:lnTo>
                    <a:pt x="1188" y="6440"/>
                  </a:lnTo>
                  <a:lnTo>
                    <a:pt x="1188" y="6451"/>
                  </a:lnTo>
                  <a:lnTo>
                    <a:pt x="1188" y="6460"/>
                  </a:lnTo>
                  <a:lnTo>
                    <a:pt x="1186" y="6470"/>
                  </a:lnTo>
                  <a:lnTo>
                    <a:pt x="1185" y="6478"/>
                  </a:lnTo>
                  <a:lnTo>
                    <a:pt x="1181" y="6486"/>
                  </a:lnTo>
                  <a:lnTo>
                    <a:pt x="1174" y="6495"/>
                  </a:lnTo>
                  <a:lnTo>
                    <a:pt x="1166" y="6504"/>
                  </a:lnTo>
                  <a:lnTo>
                    <a:pt x="1158" y="6514"/>
                  </a:lnTo>
                  <a:lnTo>
                    <a:pt x="1149" y="6522"/>
                  </a:lnTo>
                  <a:lnTo>
                    <a:pt x="1138" y="6530"/>
                  </a:lnTo>
                  <a:lnTo>
                    <a:pt x="1118" y="6545"/>
                  </a:lnTo>
                  <a:lnTo>
                    <a:pt x="1097" y="6561"/>
                  </a:lnTo>
                  <a:lnTo>
                    <a:pt x="1088" y="6569"/>
                  </a:lnTo>
                  <a:lnTo>
                    <a:pt x="1078" y="6580"/>
                  </a:lnTo>
                  <a:lnTo>
                    <a:pt x="1069" y="6589"/>
                  </a:lnTo>
                  <a:lnTo>
                    <a:pt x="1062" y="6601"/>
                  </a:lnTo>
                  <a:lnTo>
                    <a:pt x="1056" y="6615"/>
                  </a:lnTo>
                  <a:lnTo>
                    <a:pt x="1052" y="6629"/>
                  </a:lnTo>
                  <a:lnTo>
                    <a:pt x="1048" y="6645"/>
                  </a:lnTo>
                  <a:lnTo>
                    <a:pt x="1048" y="6664"/>
                  </a:lnTo>
                  <a:lnTo>
                    <a:pt x="1054" y="6671"/>
                  </a:lnTo>
                  <a:lnTo>
                    <a:pt x="1069" y="6688"/>
                  </a:lnTo>
                  <a:lnTo>
                    <a:pt x="1085" y="6707"/>
                  </a:lnTo>
                  <a:lnTo>
                    <a:pt x="1096" y="6717"/>
                  </a:lnTo>
                  <a:lnTo>
                    <a:pt x="1198" y="6717"/>
                  </a:lnTo>
                  <a:lnTo>
                    <a:pt x="1205" y="6725"/>
                  </a:lnTo>
                  <a:lnTo>
                    <a:pt x="1213" y="6732"/>
                  </a:lnTo>
                  <a:lnTo>
                    <a:pt x="1222" y="6737"/>
                  </a:lnTo>
                  <a:lnTo>
                    <a:pt x="1233" y="6741"/>
                  </a:lnTo>
                  <a:lnTo>
                    <a:pt x="1242" y="6744"/>
                  </a:lnTo>
                  <a:lnTo>
                    <a:pt x="1254" y="6747"/>
                  </a:lnTo>
                  <a:lnTo>
                    <a:pt x="1265" y="6748"/>
                  </a:lnTo>
                  <a:lnTo>
                    <a:pt x="1275" y="6748"/>
                  </a:lnTo>
                  <a:lnTo>
                    <a:pt x="1291" y="6748"/>
                  </a:lnTo>
                  <a:lnTo>
                    <a:pt x="1305" y="6747"/>
                  </a:lnTo>
                  <a:lnTo>
                    <a:pt x="1319" y="6744"/>
                  </a:lnTo>
                  <a:lnTo>
                    <a:pt x="1333" y="6741"/>
                  </a:lnTo>
                  <a:lnTo>
                    <a:pt x="1346" y="6737"/>
                  </a:lnTo>
                  <a:lnTo>
                    <a:pt x="1358" y="6732"/>
                  </a:lnTo>
                  <a:lnTo>
                    <a:pt x="1370" y="6727"/>
                  </a:lnTo>
                  <a:lnTo>
                    <a:pt x="1382" y="6721"/>
                  </a:lnTo>
                  <a:lnTo>
                    <a:pt x="1393" y="6715"/>
                  </a:lnTo>
                  <a:lnTo>
                    <a:pt x="1403" y="6708"/>
                  </a:lnTo>
                  <a:lnTo>
                    <a:pt x="1414" y="6700"/>
                  </a:lnTo>
                  <a:lnTo>
                    <a:pt x="1425" y="6692"/>
                  </a:lnTo>
                  <a:lnTo>
                    <a:pt x="1443" y="6673"/>
                  </a:lnTo>
                  <a:lnTo>
                    <a:pt x="1461" y="6653"/>
                  </a:lnTo>
                  <a:lnTo>
                    <a:pt x="1477" y="6632"/>
                  </a:lnTo>
                  <a:lnTo>
                    <a:pt x="1491" y="6609"/>
                  </a:lnTo>
                  <a:lnTo>
                    <a:pt x="1505" y="6587"/>
                  </a:lnTo>
                  <a:lnTo>
                    <a:pt x="1517" y="6563"/>
                  </a:lnTo>
                  <a:lnTo>
                    <a:pt x="1539" y="6514"/>
                  </a:lnTo>
                  <a:lnTo>
                    <a:pt x="1559" y="6464"/>
                  </a:lnTo>
                  <a:lnTo>
                    <a:pt x="1565" y="6458"/>
                  </a:lnTo>
                  <a:lnTo>
                    <a:pt x="1571" y="6451"/>
                  </a:lnTo>
                  <a:lnTo>
                    <a:pt x="1578" y="6446"/>
                  </a:lnTo>
                  <a:lnTo>
                    <a:pt x="1586" y="6443"/>
                  </a:lnTo>
                  <a:lnTo>
                    <a:pt x="1601" y="6436"/>
                  </a:lnTo>
                  <a:lnTo>
                    <a:pt x="1613" y="6428"/>
                  </a:lnTo>
                  <a:lnTo>
                    <a:pt x="1617" y="6424"/>
                  </a:lnTo>
                  <a:lnTo>
                    <a:pt x="1618" y="6420"/>
                  </a:lnTo>
                  <a:lnTo>
                    <a:pt x="1621" y="6414"/>
                  </a:lnTo>
                  <a:lnTo>
                    <a:pt x="1621" y="6408"/>
                  </a:lnTo>
                  <a:lnTo>
                    <a:pt x="1622" y="6394"/>
                  </a:lnTo>
                  <a:lnTo>
                    <a:pt x="1623" y="6379"/>
                  </a:lnTo>
                  <a:lnTo>
                    <a:pt x="1623" y="6363"/>
                  </a:lnTo>
                  <a:lnTo>
                    <a:pt x="1626" y="6350"/>
                  </a:lnTo>
                  <a:lnTo>
                    <a:pt x="1627" y="6344"/>
                  </a:lnTo>
                  <a:lnTo>
                    <a:pt x="1630" y="6339"/>
                  </a:lnTo>
                  <a:lnTo>
                    <a:pt x="1633" y="6335"/>
                  </a:lnTo>
                  <a:lnTo>
                    <a:pt x="1637" y="6332"/>
                  </a:lnTo>
                  <a:lnTo>
                    <a:pt x="1649" y="6326"/>
                  </a:lnTo>
                  <a:lnTo>
                    <a:pt x="1663" y="6320"/>
                  </a:lnTo>
                  <a:lnTo>
                    <a:pt x="1677" y="6314"/>
                  </a:lnTo>
                  <a:lnTo>
                    <a:pt x="1693" y="6308"/>
                  </a:lnTo>
                  <a:lnTo>
                    <a:pt x="1726" y="6299"/>
                  </a:lnTo>
                  <a:lnTo>
                    <a:pt x="1761" y="6292"/>
                  </a:lnTo>
                  <a:lnTo>
                    <a:pt x="1795" y="6286"/>
                  </a:lnTo>
                  <a:lnTo>
                    <a:pt x="1829" y="6282"/>
                  </a:lnTo>
                  <a:lnTo>
                    <a:pt x="1859" y="6279"/>
                  </a:lnTo>
                  <a:lnTo>
                    <a:pt x="1885" y="6278"/>
                  </a:lnTo>
                  <a:lnTo>
                    <a:pt x="1889" y="6268"/>
                  </a:lnTo>
                  <a:lnTo>
                    <a:pt x="1891" y="6258"/>
                  </a:lnTo>
                  <a:lnTo>
                    <a:pt x="1891" y="6251"/>
                  </a:lnTo>
                  <a:lnTo>
                    <a:pt x="1890" y="6246"/>
                  </a:lnTo>
                  <a:lnTo>
                    <a:pt x="1887" y="6240"/>
                  </a:lnTo>
                  <a:lnTo>
                    <a:pt x="1885" y="6236"/>
                  </a:lnTo>
                  <a:lnTo>
                    <a:pt x="1877" y="6235"/>
                  </a:lnTo>
                  <a:lnTo>
                    <a:pt x="1869" y="6232"/>
                  </a:lnTo>
                  <a:lnTo>
                    <a:pt x="1861" y="6227"/>
                  </a:lnTo>
                  <a:lnTo>
                    <a:pt x="1854" y="6222"/>
                  </a:lnTo>
                  <a:lnTo>
                    <a:pt x="1839" y="6206"/>
                  </a:lnTo>
                  <a:lnTo>
                    <a:pt x="1825" y="6188"/>
                  </a:lnTo>
                  <a:lnTo>
                    <a:pt x="1811" y="6168"/>
                  </a:lnTo>
                  <a:lnTo>
                    <a:pt x="1797" y="6150"/>
                  </a:lnTo>
                  <a:lnTo>
                    <a:pt x="1790" y="6142"/>
                  </a:lnTo>
                  <a:lnTo>
                    <a:pt x="1783" y="6134"/>
                  </a:lnTo>
                  <a:lnTo>
                    <a:pt x="1777" y="6127"/>
                  </a:lnTo>
                  <a:lnTo>
                    <a:pt x="1770" y="6122"/>
                  </a:lnTo>
                  <a:lnTo>
                    <a:pt x="1762" y="6116"/>
                  </a:lnTo>
                  <a:lnTo>
                    <a:pt x="1753" y="6111"/>
                  </a:lnTo>
                  <a:lnTo>
                    <a:pt x="1747" y="6107"/>
                  </a:lnTo>
                  <a:lnTo>
                    <a:pt x="1743" y="6103"/>
                  </a:lnTo>
                  <a:lnTo>
                    <a:pt x="1741" y="6098"/>
                  </a:lnTo>
                  <a:lnTo>
                    <a:pt x="1739" y="6091"/>
                  </a:lnTo>
                  <a:lnTo>
                    <a:pt x="1742" y="6086"/>
                  </a:lnTo>
                  <a:lnTo>
                    <a:pt x="1749" y="6076"/>
                  </a:lnTo>
                  <a:lnTo>
                    <a:pt x="1759" y="6066"/>
                  </a:lnTo>
                  <a:lnTo>
                    <a:pt x="1771" y="6054"/>
                  </a:lnTo>
                  <a:lnTo>
                    <a:pt x="1783" y="6043"/>
                  </a:lnTo>
                  <a:lnTo>
                    <a:pt x="1795" y="6034"/>
                  </a:lnTo>
                  <a:lnTo>
                    <a:pt x="1806" y="6027"/>
                  </a:lnTo>
                  <a:lnTo>
                    <a:pt x="1811" y="6026"/>
                  </a:lnTo>
                  <a:lnTo>
                    <a:pt x="1829" y="6026"/>
                  </a:lnTo>
                  <a:lnTo>
                    <a:pt x="1843" y="6024"/>
                  </a:lnTo>
                  <a:lnTo>
                    <a:pt x="1857" y="6023"/>
                  </a:lnTo>
                  <a:lnTo>
                    <a:pt x="1866" y="6019"/>
                  </a:lnTo>
                  <a:lnTo>
                    <a:pt x="1870" y="6015"/>
                  </a:lnTo>
                  <a:lnTo>
                    <a:pt x="1874" y="6012"/>
                  </a:lnTo>
                  <a:lnTo>
                    <a:pt x="1877" y="6007"/>
                  </a:lnTo>
                  <a:lnTo>
                    <a:pt x="1879" y="6003"/>
                  </a:lnTo>
                  <a:lnTo>
                    <a:pt x="1882" y="5996"/>
                  </a:lnTo>
                  <a:lnTo>
                    <a:pt x="1883" y="5988"/>
                  </a:lnTo>
                  <a:lnTo>
                    <a:pt x="1883" y="5980"/>
                  </a:lnTo>
                  <a:lnTo>
                    <a:pt x="1885" y="5971"/>
                  </a:lnTo>
                  <a:lnTo>
                    <a:pt x="1883" y="5962"/>
                  </a:lnTo>
                  <a:lnTo>
                    <a:pt x="1882" y="5954"/>
                  </a:lnTo>
                  <a:lnTo>
                    <a:pt x="1878" y="5946"/>
                  </a:lnTo>
                  <a:lnTo>
                    <a:pt x="1875" y="5938"/>
                  </a:lnTo>
                  <a:lnTo>
                    <a:pt x="1871" y="5930"/>
                  </a:lnTo>
                  <a:lnTo>
                    <a:pt x="1869" y="5922"/>
                  </a:lnTo>
                  <a:lnTo>
                    <a:pt x="1867" y="5914"/>
                  </a:lnTo>
                  <a:lnTo>
                    <a:pt x="1866" y="5905"/>
                  </a:lnTo>
                  <a:lnTo>
                    <a:pt x="1867" y="5894"/>
                  </a:lnTo>
                  <a:lnTo>
                    <a:pt x="1870" y="5885"/>
                  </a:lnTo>
                  <a:lnTo>
                    <a:pt x="1874" y="5874"/>
                  </a:lnTo>
                  <a:lnTo>
                    <a:pt x="1878" y="5865"/>
                  </a:lnTo>
                  <a:lnTo>
                    <a:pt x="1882" y="5854"/>
                  </a:lnTo>
                  <a:lnTo>
                    <a:pt x="1886" y="5842"/>
                  </a:lnTo>
                  <a:lnTo>
                    <a:pt x="1889" y="5830"/>
                  </a:lnTo>
                  <a:lnTo>
                    <a:pt x="1890" y="5815"/>
                  </a:lnTo>
                  <a:lnTo>
                    <a:pt x="1889" y="5802"/>
                  </a:lnTo>
                  <a:lnTo>
                    <a:pt x="1886" y="5790"/>
                  </a:lnTo>
                  <a:lnTo>
                    <a:pt x="1882" y="5781"/>
                  </a:lnTo>
                  <a:lnTo>
                    <a:pt x="1878" y="5770"/>
                  </a:lnTo>
                  <a:lnTo>
                    <a:pt x="1874" y="5761"/>
                  </a:lnTo>
                  <a:lnTo>
                    <a:pt x="1870" y="5751"/>
                  </a:lnTo>
                  <a:lnTo>
                    <a:pt x="1867" y="5741"/>
                  </a:lnTo>
                  <a:lnTo>
                    <a:pt x="1866" y="5730"/>
                  </a:lnTo>
                  <a:lnTo>
                    <a:pt x="1867" y="5722"/>
                  </a:lnTo>
                  <a:lnTo>
                    <a:pt x="1871" y="5713"/>
                  </a:lnTo>
                  <a:lnTo>
                    <a:pt x="1877" y="5702"/>
                  </a:lnTo>
                  <a:lnTo>
                    <a:pt x="1882" y="5689"/>
                  </a:lnTo>
                  <a:lnTo>
                    <a:pt x="1889" y="5675"/>
                  </a:lnTo>
                  <a:lnTo>
                    <a:pt x="1894" y="5662"/>
                  </a:lnTo>
                  <a:lnTo>
                    <a:pt x="1899" y="5647"/>
                  </a:lnTo>
                  <a:lnTo>
                    <a:pt x="1902" y="5634"/>
                  </a:lnTo>
                  <a:lnTo>
                    <a:pt x="1911" y="5631"/>
                  </a:lnTo>
                  <a:lnTo>
                    <a:pt x="1919" y="5627"/>
                  </a:lnTo>
                  <a:lnTo>
                    <a:pt x="1929" y="5622"/>
                  </a:lnTo>
                  <a:lnTo>
                    <a:pt x="1935" y="5617"/>
                  </a:lnTo>
                  <a:lnTo>
                    <a:pt x="1943" y="5610"/>
                  </a:lnTo>
                  <a:lnTo>
                    <a:pt x="1950" y="5603"/>
                  </a:lnTo>
                  <a:lnTo>
                    <a:pt x="1957" y="5595"/>
                  </a:lnTo>
                  <a:lnTo>
                    <a:pt x="1962" y="5587"/>
                  </a:lnTo>
                  <a:lnTo>
                    <a:pt x="1967" y="5578"/>
                  </a:lnTo>
                  <a:lnTo>
                    <a:pt x="1973" y="5570"/>
                  </a:lnTo>
                  <a:lnTo>
                    <a:pt x="1977" y="5561"/>
                  </a:lnTo>
                  <a:lnTo>
                    <a:pt x="1981" y="5551"/>
                  </a:lnTo>
                  <a:lnTo>
                    <a:pt x="1983" y="5542"/>
                  </a:lnTo>
                  <a:lnTo>
                    <a:pt x="1985" y="5533"/>
                  </a:lnTo>
                  <a:lnTo>
                    <a:pt x="1986" y="5522"/>
                  </a:lnTo>
                  <a:lnTo>
                    <a:pt x="1987" y="5514"/>
                  </a:lnTo>
                  <a:lnTo>
                    <a:pt x="1986" y="5502"/>
                  </a:lnTo>
                  <a:lnTo>
                    <a:pt x="1983" y="5493"/>
                  </a:lnTo>
                  <a:lnTo>
                    <a:pt x="1981" y="5483"/>
                  </a:lnTo>
                  <a:lnTo>
                    <a:pt x="1977" y="5474"/>
                  </a:lnTo>
                  <a:lnTo>
                    <a:pt x="1966" y="5458"/>
                  </a:lnTo>
                  <a:lnTo>
                    <a:pt x="1954" y="5442"/>
                  </a:lnTo>
                  <a:lnTo>
                    <a:pt x="1942" y="5427"/>
                  </a:lnTo>
                  <a:lnTo>
                    <a:pt x="1931" y="5411"/>
                  </a:lnTo>
                  <a:lnTo>
                    <a:pt x="1926" y="5403"/>
                  </a:lnTo>
                  <a:lnTo>
                    <a:pt x="1923" y="5394"/>
                  </a:lnTo>
                  <a:lnTo>
                    <a:pt x="1921" y="5385"/>
                  </a:lnTo>
                  <a:lnTo>
                    <a:pt x="1921" y="5375"/>
                  </a:lnTo>
                  <a:lnTo>
                    <a:pt x="1921" y="5360"/>
                  </a:lnTo>
                  <a:lnTo>
                    <a:pt x="1922" y="5344"/>
                  </a:lnTo>
                  <a:lnTo>
                    <a:pt x="1923" y="5328"/>
                  </a:lnTo>
                  <a:lnTo>
                    <a:pt x="1926" y="5313"/>
                  </a:lnTo>
                  <a:lnTo>
                    <a:pt x="1929" y="5297"/>
                  </a:lnTo>
                  <a:lnTo>
                    <a:pt x="1933" y="5282"/>
                  </a:lnTo>
                  <a:lnTo>
                    <a:pt x="1937" y="5269"/>
                  </a:lnTo>
                  <a:lnTo>
                    <a:pt x="1942" y="5256"/>
                  </a:lnTo>
                  <a:lnTo>
                    <a:pt x="1947" y="5245"/>
                  </a:lnTo>
                  <a:lnTo>
                    <a:pt x="1954" y="5233"/>
                  </a:lnTo>
                  <a:lnTo>
                    <a:pt x="1961" y="5224"/>
                  </a:lnTo>
                  <a:lnTo>
                    <a:pt x="1969" y="5216"/>
                  </a:lnTo>
                  <a:lnTo>
                    <a:pt x="1977" y="5209"/>
                  </a:lnTo>
                  <a:lnTo>
                    <a:pt x="1986" y="5205"/>
                  </a:lnTo>
                  <a:lnTo>
                    <a:pt x="1995" y="5201"/>
                  </a:lnTo>
                  <a:lnTo>
                    <a:pt x="2004" y="5201"/>
                  </a:lnTo>
                  <a:lnTo>
                    <a:pt x="2022" y="5201"/>
                  </a:lnTo>
                  <a:lnTo>
                    <a:pt x="2039" y="5201"/>
                  </a:lnTo>
                  <a:lnTo>
                    <a:pt x="2059" y="5201"/>
                  </a:lnTo>
                  <a:lnTo>
                    <a:pt x="2083" y="5201"/>
                  </a:lnTo>
                  <a:lnTo>
                    <a:pt x="2095" y="5200"/>
                  </a:lnTo>
                  <a:lnTo>
                    <a:pt x="2107" y="5196"/>
                  </a:lnTo>
                  <a:lnTo>
                    <a:pt x="2118" y="5192"/>
                  </a:lnTo>
                  <a:lnTo>
                    <a:pt x="2127" y="5185"/>
                  </a:lnTo>
                  <a:lnTo>
                    <a:pt x="2136" y="5177"/>
                  </a:lnTo>
                  <a:lnTo>
                    <a:pt x="2144" y="5168"/>
                  </a:lnTo>
                  <a:lnTo>
                    <a:pt x="2151" y="5158"/>
                  </a:lnTo>
                  <a:lnTo>
                    <a:pt x="2158" y="5149"/>
                  </a:lnTo>
                  <a:lnTo>
                    <a:pt x="2171" y="5130"/>
                  </a:lnTo>
                  <a:lnTo>
                    <a:pt x="2184" y="5114"/>
                  </a:lnTo>
                  <a:lnTo>
                    <a:pt x="2191" y="5108"/>
                  </a:lnTo>
                  <a:lnTo>
                    <a:pt x="2199" y="5102"/>
                  </a:lnTo>
                  <a:lnTo>
                    <a:pt x="2207" y="5100"/>
                  </a:lnTo>
                  <a:lnTo>
                    <a:pt x="2215" y="5098"/>
                  </a:lnTo>
                  <a:lnTo>
                    <a:pt x="2222" y="5098"/>
                  </a:lnTo>
                  <a:lnTo>
                    <a:pt x="2228" y="5100"/>
                  </a:lnTo>
                  <a:lnTo>
                    <a:pt x="2235" y="5102"/>
                  </a:lnTo>
                  <a:lnTo>
                    <a:pt x="2240" y="5105"/>
                  </a:lnTo>
                  <a:lnTo>
                    <a:pt x="2250" y="5112"/>
                  </a:lnTo>
                  <a:lnTo>
                    <a:pt x="2258" y="5121"/>
                  </a:lnTo>
                  <a:lnTo>
                    <a:pt x="2264" y="5132"/>
                  </a:lnTo>
                  <a:lnTo>
                    <a:pt x="2270" y="5144"/>
                  </a:lnTo>
                  <a:lnTo>
                    <a:pt x="2275" y="5157"/>
                  </a:lnTo>
                  <a:lnTo>
                    <a:pt x="2279" y="5170"/>
                  </a:lnTo>
                  <a:lnTo>
                    <a:pt x="2284" y="5184"/>
                  </a:lnTo>
                  <a:lnTo>
                    <a:pt x="2290" y="5197"/>
                  </a:lnTo>
                  <a:lnTo>
                    <a:pt x="2295" y="5209"/>
                  </a:lnTo>
                  <a:lnTo>
                    <a:pt x="2303" y="5220"/>
                  </a:lnTo>
                  <a:lnTo>
                    <a:pt x="2307" y="5225"/>
                  </a:lnTo>
                  <a:lnTo>
                    <a:pt x="2311" y="5229"/>
                  </a:lnTo>
                  <a:lnTo>
                    <a:pt x="2316" y="5233"/>
                  </a:lnTo>
                  <a:lnTo>
                    <a:pt x="2322" y="5237"/>
                  </a:lnTo>
                  <a:lnTo>
                    <a:pt x="2327" y="5240"/>
                  </a:lnTo>
                  <a:lnTo>
                    <a:pt x="2334" y="5241"/>
                  </a:lnTo>
                  <a:lnTo>
                    <a:pt x="2340" y="5242"/>
                  </a:lnTo>
                  <a:lnTo>
                    <a:pt x="2348" y="5242"/>
                  </a:lnTo>
                  <a:lnTo>
                    <a:pt x="2352" y="5242"/>
                  </a:lnTo>
                  <a:lnTo>
                    <a:pt x="2355" y="5241"/>
                  </a:lnTo>
                  <a:lnTo>
                    <a:pt x="2356" y="5237"/>
                  </a:lnTo>
                  <a:lnTo>
                    <a:pt x="2358" y="5234"/>
                  </a:lnTo>
                  <a:lnTo>
                    <a:pt x="2359" y="5224"/>
                  </a:lnTo>
                  <a:lnTo>
                    <a:pt x="2356" y="5212"/>
                  </a:lnTo>
                  <a:lnTo>
                    <a:pt x="2351" y="5182"/>
                  </a:lnTo>
                  <a:lnTo>
                    <a:pt x="2348" y="5153"/>
                  </a:lnTo>
                  <a:lnTo>
                    <a:pt x="2351" y="5128"/>
                  </a:lnTo>
                  <a:lnTo>
                    <a:pt x="2358" y="5090"/>
                  </a:lnTo>
                  <a:lnTo>
                    <a:pt x="2363" y="5072"/>
                  </a:lnTo>
                  <a:lnTo>
                    <a:pt x="2368" y="5056"/>
                  </a:lnTo>
                  <a:lnTo>
                    <a:pt x="2371" y="5049"/>
                  </a:lnTo>
                  <a:lnTo>
                    <a:pt x="2374" y="5044"/>
                  </a:lnTo>
                  <a:lnTo>
                    <a:pt x="2375" y="5040"/>
                  </a:lnTo>
                  <a:lnTo>
                    <a:pt x="2378" y="5038"/>
                  </a:lnTo>
                  <a:lnTo>
                    <a:pt x="2388" y="5036"/>
                  </a:lnTo>
                  <a:lnTo>
                    <a:pt x="2398" y="5037"/>
                  </a:lnTo>
                  <a:lnTo>
                    <a:pt x="2403" y="5036"/>
                  </a:lnTo>
                  <a:lnTo>
                    <a:pt x="2407" y="5034"/>
                  </a:lnTo>
                  <a:lnTo>
                    <a:pt x="2411" y="5032"/>
                  </a:lnTo>
                  <a:lnTo>
                    <a:pt x="2414" y="5026"/>
                  </a:lnTo>
                  <a:lnTo>
                    <a:pt x="2416" y="5010"/>
                  </a:lnTo>
                  <a:lnTo>
                    <a:pt x="2419" y="4997"/>
                  </a:lnTo>
                  <a:lnTo>
                    <a:pt x="2420" y="4990"/>
                  </a:lnTo>
                  <a:lnTo>
                    <a:pt x="2423" y="4985"/>
                  </a:lnTo>
                  <a:lnTo>
                    <a:pt x="2427" y="4978"/>
                  </a:lnTo>
                  <a:lnTo>
                    <a:pt x="2432" y="4972"/>
                  </a:lnTo>
                  <a:lnTo>
                    <a:pt x="2455" y="4948"/>
                  </a:lnTo>
                  <a:lnTo>
                    <a:pt x="2483" y="4922"/>
                  </a:lnTo>
                  <a:lnTo>
                    <a:pt x="2496" y="4908"/>
                  </a:lnTo>
                  <a:lnTo>
                    <a:pt x="2507" y="4894"/>
                  </a:lnTo>
                  <a:lnTo>
                    <a:pt x="2511" y="4886"/>
                  </a:lnTo>
                  <a:lnTo>
                    <a:pt x="2514" y="4878"/>
                  </a:lnTo>
                  <a:lnTo>
                    <a:pt x="2516" y="4872"/>
                  </a:lnTo>
                  <a:lnTo>
                    <a:pt x="2516" y="4864"/>
                  </a:lnTo>
                  <a:lnTo>
                    <a:pt x="2516" y="4857"/>
                  </a:lnTo>
                  <a:lnTo>
                    <a:pt x="2514" y="4853"/>
                  </a:lnTo>
                  <a:lnTo>
                    <a:pt x="2511" y="4849"/>
                  </a:lnTo>
                  <a:lnTo>
                    <a:pt x="2507" y="4846"/>
                  </a:lnTo>
                  <a:lnTo>
                    <a:pt x="2499" y="4841"/>
                  </a:lnTo>
                  <a:lnTo>
                    <a:pt x="2492" y="4833"/>
                  </a:lnTo>
                  <a:lnTo>
                    <a:pt x="2492" y="4828"/>
                  </a:lnTo>
                  <a:lnTo>
                    <a:pt x="2492" y="4809"/>
                  </a:lnTo>
                  <a:lnTo>
                    <a:pt x="2492" y="4800"/>
                  </a:lnTo>
                  <a:lnTo>
                    <a:pt x="2494" y="4792"/>
                  </a:lnTo>
                  <a:lnTo>
                    <a:pt x="2495" y="4788"/>
                  </a:lnTo>
                  <a:lnTo>
                    <a:pt x="2498" y="4785"/>
                  </a:lnTo>
                  <a:lnTo>
                    <a:pt x="2500" y="4781"/>
                  </a:lnTo>
                  <a:lnTo>
                    <a:pt x="2504" y="4779"/>
                  </a:lnTo>
                  <a:lnTo>
                    <a:pt x="2510" y="4771"/>
                  </a:lnTo>
                  <a:lnTo>
                    <a:pt x="2516" y="4764"/>
                  </a:lnTo>
                  <a:lnTo>
                    <a:pt x="2524" y="4757"/>
                  </a:lnTo>
                  <a:lnTo>
                    <a:pt x="2534" y="4752"/>
                  </a:lnTo>
                  <a:lnTo>
                    <a:pt x="2542" y="4748"/>
                  </a:lnTo>
                  <a:lnTo>
                    <a:pt x="2552" y="4745"/>
                  </a:lnTo>
                  <a:lnTo>
                    <a:pt x="2562" y="4744"/>
                  </a:lnTo>
                  <a:lnTo>
                    <a:pt x="2571" y="4743"/>
                  </a:lnTo>
                  <a:lnTo>
                    <a:pt x="2574" y="4744"/>
                  </a:lnTo>
                  <a:lnTo>
                    <a:pt x="2576" y="4744"/>
                  </a:lnTo>
                  <a:lnTo>
                    <a:pt x="2579" y="4745"/>
                  </a:lnTo>
                  <a:lnTo>
                    <a:pt x="2582" y="4748"/>
                  </a:lnTo>
                  <a:lnTo>
                    <a:pt x="2584" y="4753"/>
                  </a:lnTo>
                  <a:lnTo>
                    <a:pt x="2588" y="4760"/>
                  </a:lnTo>
                  <a:lnTo>
                    <a:pt x="2594" y="4776"/>
                  </a:lnTo>
                  <a:lnTo>
                    <a:pt x="2600" y="4790"/>
                  </a:lnTo>
                  <a:lnTo>
                    <a:pt x="2620" y="4802"/>
                  </a:lnTo>
                  <a:lnTo>
                    <a:pt x="2664" y="4828"/>
                  </a:lnTo>
                  <a:lnTo>
                    <a:pt x="2690" y="4841"/>
                  </a:lnTo>
                  <a:lnTo>
                    <a:pt x="2712" y="4852"/>
                  </a:lnTo>
                  <a:lnTo>
                    <a:pt x="2723" y="4857"/>
                  </a:lnTo>
                  <a:lnTo>
                    <a:pt x="2732" y="4860"/>
                  </a:lnTo>
                  <a:lnTo>
                    <a:pt x="2740" y="4862"/>
                  </a:lnTo>
                  <a:lnTo>
                    <a:pt x="2746" y="4864"/>
                  </a:lnTo>
                  <a:lnTo>
                    <a:pt x="2760" y="4862"/>
                  </a:lnTo>
                  <a:lnTo>
                    <a:pt x="2771" y="4860"/>
                  </a:lnTo>
                  <a:lnTo>
                    <a:pt x="2781" y="4854"/>
                  </a:lnTo>
                  <a:lnTo>
                    <a:pt x="2788" y="4849"/>
                  </a:lnTo>
                  <a:lnTo>
                    <a:pt x="2793" y="4842"/>
                  </a:lnTo>
                  <a:lnTo>
                    <a:pt x="2797" y="4836"/>
                  </a:lnTo>
                  <a:lnTo>
                    <a:pt x="2799" y="4828"/>
                  </a:lnTo>
                  <a:lnTo>
                    <a:pt x="2799" y="4821"/>
                  </a:lnTo>
                  <a:lnTo>
                    <a:pt x="2799" y="4817"/>
                  </a:lnTo>
                  <a:lnTo>
                    <a:pt x="2799" y="4806"/>
                  </a:lnTo>
                  <a:lnTo>
                    <a:pt x="2799" y="4793"/>
                  </a:lnTo>
                  <a:lnTo>
                    <a:pt x="2799" y="4779"/>
                  </a:lnTo>
                  <a:lnTo>
                    <a:pt x="2800" y="4771"/>
                  </a:lnTo>
                  <a:lnTo>
                    <a:pt x="2803" y="4763"/>
                  </a:lnTo>
                  <a:lnTo>
                    <a:pt x="2807" y="4756"/>
                  </a:lnTo>
                  <a:lnTo>
                    <a:pt x="2811" y="4749"/>
                  </a:lnTo>
                  <a:lnTo>
                    <a:pt x="2816" y="4744"/>
                  </a:lnTo>
                  <a:lnTo>
                    <a:pt x="2820" y="4737"/>
                  </a:lnTo>
                  <a:lnTo>
                    <a:pt x="2823" y="4732"/>
                  </a:lnTo>
                  <a:lnTo>
                    <a:pt x="2824" y="4725"/>
                  </a:lnTo>
                  <a:lnTo>
                    <a:pt x="2824" y="4715"/>
                  </a:lnTo>
                  <a:lnTo>
                    <a:pt x="2824" y="4695"/>
                  </a:lnTo>
                  <a:lnTo>
                    <a:pt x="2820" y="4688"/>
                  </a:lnTo>
                  <a:lnTo>
                    <a:pt x="2816" y="4681"/>
                  </a:lnTo>
                  <a:lnTo>
                    <a:pt x="2812" y="4676"/>
                  </a:lnTo>
                  <a:lnTo>
                    <a:pt x="2807" y="4669"/>
                  </a:lnTo>
                  <a:lnTo>
                    <a:pt x="2793" y="4659"/>
                  </a:lnTo>
                  <a:lnTo>
                    <a:pt x="2780" y="4648"/>
                  </a:lnTo>
                  <a:lnTo>
                    <a:pt x="2767" y="4639"/>
                  </a:lnTo>
                  <a:lnTo>
                    <a:pt x="2756" y="4629"/>
                  </a:lnTo>
                  <a:lnTo>
                    <a:pt x="2751" y="4624"/>
                  </a:lnTo>
                  <a:lnTo>
                    <a:pt x="2748" y="4620"/>
                  </a:lnTo>
                  <a:lnTo>
                    <a:pt x="2746" y="4615"/>
                  </a:lnTo>
                  <a:lnTo>
                    <a:pt x="2746" y="4611"/>
                  </a:lnTo>
                  <a:lnTo>
                    <a:pt x="2746" y="4601"/>
                  </a:lnTo>
                  <a:lnTo>
                    <a:pt x="2748" y="4592"/>
                  </a:lnTo>
                  <a:lnTo>
                    <a:pt x="2751" y="4584"/>
                  </a:lnTo>
                  <a:lnTo>
                    <a:pt x="2756" y="4577"/>
                  </a:lnTo>
                  <a:lnTo>
                    <a:pt x="2767" y="4565"/>
                  </a:lnTo>
                  <a:lnTo>
                    <a:pt x="2779" y="4555"/>
                  </a:lnTo>
                  <a:lnTo>
                    <a:pt x="2791" y="4543"/>
                  </a:lnTo>
                  <a:lnTo>
                    <a:pt x="2801" y="4532"/>
                  </a:lnTo>
                  <a:lnTo>
                    <a:pt x="2805" y="4525"/>
                  </a:lnTo>
                  <a:lnTo>
                    <a:pt x="2808" y="4519"/>
                  </a:lnTo>
                  <a:lnTo>
                    <a:pt x="2811" y="4511"/>
                  </a:lnTo>
                  <a:lnTo>
                    <a:pt x="2811" y="4503"/>
                  </a:lnTo>
                  <a:lnTo>
                    <a:pt x="2811" y="4492"/>
                  </a:lnTo>
                  <a:lnTo>
                    <a:pt x="2808" y="4481"/>
                  </a:lnTo>
                  <a:lnTo>
                    <a:pt x="2805" y="4473"/>
                  </a:lnTo>
                  <a:lnTo>
                    <a:pt x="2801" y="4464"/>
                  </a:lnTo>
                  <a:lnTo>
                    <a:pt x="2793" y="4449"/>
                  </a:lnTo>
                  <a:lnTo>
                    <a:pt x="2787" y="4436"/>
                  </a:lnTo>
                  <a:lnTo>
                    <a:pt x="2679" y="4436"/>
                  </a:lnTo>
                  <a:lnTo>
                    <a:pt x="2672" y="4427"/>
                  </a:lnTo>
                  <a:lnTo>
                    <a:pt x="2668" y="4415"/>
                  </a:lnTo>
                  <a:lnTo>
                    <a:pt x="2663" y="4400"/>
                  </a:lnTo>
                  <a:lnTo>
                    <a:pt x="2660" y="4384"/>
                  </a:lnTo>
                  <a:lnTo>
                    <a:pt x="2658" y="4365"/>
                  </a:lnTo>
                  <a:lnTo>
                    <a:pt x="2656" y="4347"/>
                  </a:lnTo>
                  <a:lnTo>
                    <a:pt x="2655" y="4328"/>
                  </a:lnTo>
                  <a:lnTo>
                    <a:pt x="2655" y="4309"/>
                  </a:lnTo>
                  <a:lnTo>
                    <a:pt x="2656" y="4289"/>
                  </a:lnTo>
                  <a:lnTo>
                    <a:pt x="2659" y="4273"/>
                  </a:lnTo>
                  <a:lnTo>
                    <a:pt x="2663" y="4261"/>
                  </a:lnTo>
                  <a:lnTo>
                    <a:pt x="2668" y="4251"/>
                  </a:lnTo>
                  <a:lnTo>
                    <a:pt x="2672" y="4240"/>
                  </a:lnTo>
                  <a:lnTo>
                    <a:pt x="2678" y="4229"/>
                  </a:lnTo>
                  <a:lnTo>
                    <a:pt x="2682" y="4217"/>
                  </a:lnTo>
                  <a:lnTo>
                    <a:pt x="2686" y="4202"/>
                  </a:lnTo>
                  <a:lnTo>
                    <a:pt x="2680" y="4200"/>
                  </a:lnTo>
                  <a:lnTo>
                    <a:pt x="2678" y="4200"/>
                  </a:lnTo>
                  <a:lnTo>
                    <a:pt x="2674" y="4199"/>
                  </a:lnTo>
                  <a:lnTo>
                    <a:pt x="2671" y="4196"/>
                  </a:lnTo>
                  <a:lnTo>
                    <a:pt x="2666" y="4188"/>
                  </a:lnTo>
                  <a:lnTo>
                    <a:pt x="2662" y="4178"/>
                  </a:lnTo>
                  <a:lnTo>
                    <a:pt x="2674" y="4170"/>
                  </a:lnTo>
                  <a:lnTo>
                    <a:pt x="2683" y="4163"/>
                  </a:lnTo>
                  <a:lnTo>
                    <a:pt x="2690" y="4155"/>
                  </a:lnTo>
                  <a:lnTo>
                    <a:pt x="2698" y="4146"/>
                  </a:lnTo>
                  <a:lnTo>
                    <a:pt x="2704" y="4138"/>
                  </a:lnTo>
                  <a:lnTo>
                    <a:pt x="2712" y="4128"/>
                  </a:lnTo>
                  <a:lnTo>
                    <a:pt x="2722" y="4120"/>
                  </a:lnTo>
                  <a:lnTo>
                    <a:pt x="2734" y="4111"/>
                  </a:lnTo>
                  <a:lnTo>
                    <a:pt x="2739" y="4103"/>
                  </a:lnTo>
                  <a:lnTo>
                    <a:pt x="2747" y="4094"/>
                  </a:lnTo>
                  <a:lnTo>
                    <a:pt x="2751" y="4090"/>
                  </a:lnTo>
                  <a:lnTo>
                    <a:pt x="2755" y="4084"/>
                  </a:lnTo>
                  <a:lnTo>
                    <a:pt x="2756" y="4076"/>
                  </a:lnTo>
                  <a:lnTo>
                    <a:pt x="2757" y="4068"/>
                  </a:lnTo>
                  <a:lnTo>
                    <a:pt x="2757" y="4062"/>
                  </a:lnTo>
                  <a:lnTo>
                    <a:pt x="2759" y="4054"/>
                  </a:lnTo>
                  <a:lnTo>
                    <a:pt x="2761" y="4047"/>
                  </a:lnTo>
                  <a:lnTo>
                    <a:pt x="2764" y="4040"/>
                  </a:lnTo>
                  <a:lnTo>
                    <a:pt x="2771" y="4028"/>
                  </a:lnTo>
                  <a:lnTo>
                    <a:pt x="2779" y="4016"/>
                  </a:lnTo>
                  <a:lnTo>
                    <a:pt x="2785" y="4004"/>
                  </a:lnTo>
                  <a:lnTo>
                    <a:pt x="2793" y="3991"/>
                  </a:lnTo>
                  <a:lnTo>
                    <a:pt x="2796" y="3984"/>
                  </a:lnTo>
                  <a:lnTo>
                    <a:pt x="2797" y="3978"/>
                  </a:lnTo>
                  <a:lnTo>
                    <a:pt x="2799" y="3968"/>
                  </a:lnTo>
                  <a:lnTo>
                    <a:pt x="2799" y="3960"/>
                  </a:lnTo>
                  <a:lnTo>
                    <a:pt x="2799" y="3954"/>
                  </a:lnTo>
                  <a:lnTo>
                    <a:pt x="2796" y="3948"/>
                  </a:lnTo>
                  <a:lnTo>
                    <a:pt x="2792" y="3943"/>
                  </a:lnTo>
                  <a:lnTo>
                    <a:pt x="2787" y="3938"/>
                  </a:lnTo>
                  <a:lnTo>
                    <a:pt x="2783" y="3932"/>
                  </a:lnTo>
                  <a:lnTo>
                    <a:pt x="2779" y="3924"/>
                  </a:lnTo>
                  <a:lnTo>
                    <a:pt x="2776" y="3916"/>
                  </a:lnTo>
                  <a:lnTo>
                    <a:pt x="2775" y="3906"/>
                  </a:lnTo>
                  <a:lnTo>
                    <a:pt x="2776" y="3899"/>
                  </a:lnTo>
                  <a:lnTo>
                    <a:pt x="2779" y="3892"/>
                  </a:lnTo>
                  <a:lnTo>
                    <a:pt x="2783" y="3886"/>
                  </a:lnTo>
                  <a:lnTo>
                    <a:pt x="2787" y="3878"/>
                  </a:lnTo>
                  <a:lnTo>
                    <a:pt x="2792" y="3871"/>
                  </a:lnTo>
                  <a:lnTo>
                    <a:pt x="2796" y="3863"/>
                  </a:lnTo>
                  <a:lnTo>
                    <a:pt x="2799" y="3855"/>
                  </a:lnTo>
                  <a:lnTo>
                    <a:pt x="2799" y="3846"/>
                  </a:lnTo>
                  <a:lnTo>
                    <a:pt x="2799" y="3835"/>
                  </a:lnTo>
                  <a:lnTo>
                    <a:pt x="2796" y="3826"/>
                  </a:lnTo>
                  <a:lnTo>
                    <a:pt x="2792" y="3818"/>
                  </a:lnTo>
                  <a:lnTo>
                    <a:pt x="2787" y="3810"/>
                  </a:lnTo>
                  <a:lnTo>
                    <a:pt x="2775" y="3796"/>
                  </a:lnTo>
                  <a:lnTo>
                    <a:pt x="2760" y="3784"/>
                  </a:lnTo>
                  <a:lnTo>
                    <a:pt x="2746" y="3772"/>
                  </a:lnTo>
                  <a:lnTo>
                    <a:pt x="2734" y="3759"/>
                  </a:lnTo>
                  <a:lnTo>
                    <a:pt x="2728" y="3751"/>
                  </a:lnTo>
                  <a:lnTo>
                    <a:pt x="2724" y="3742"/>
                  </a:lnTo>
                  <a:lnTo>
                    <a:pt x="2722" y="3731"/>
                  </a:lnTo>
                  <a:lnTo>
                    <a:pt x="2722" y="3719"/>
                  </a:lnTo>
                  <a:lnTo>
                    <a:pt x="2722" y="3712"/>
                  </a:lnTo>
                  <a:lnTo>
                    <a:pt x="2723" y="3704"/>
                  </a:lnTo>
                  <a:lnTo>
                    <a:pt x="2724" y="3699"/>
                  </a:lnTo>
                  <a:lnTo>
                    <a:pt x="2727" y="3692"/>
                  </a:lnTo>
                  <a:lnTo>
                    <a:pt x="2732" y="3683"/>
                  </a:lnTo>
                  <a:lnTo>
                    <a:pt x="2739" y="3674"/>
                  </a:lnTo>
                  <a:lnTo>
                    <a:pt x="2746" y="3666"/>
                  </a:lnTo>
                  <a:lnTo>
                    <a:pt x="2752" y="3658"/>
                  </a:lnTo>
                  <a:lnTo>
                    <a:pt x="2756" y="3650"/>
                  </a:lnTo>
                  <a:lnTo>
                    <a:pt x="2757" y="3640"/>
                  </a:lnTo>
                  <a:lnTo>
                    <a:pt x="2757" y="3635"/>
                  </a:lnTo>
                  <a:lnTo>
                    <a:pt x="2756" y="3631"/>
                  </a:lnTo>
                  <a:lnTo>
                    <a:pt x="2754" y="3626"/>
                  </a:lnTo>
                  <a:lnTo>
                    <a:pt x="2752" y="3622"/>
                  </a:lnTo>
                  <a:lnTo>
                    <a:pt x="2746" y="3614"/>
                  </a:lnTo>
                  <a:lnTo>
                    <a:pt x="2739" y="3605"/>
                  </a:lnTo>
                  <a:lnTo>
                    <a:pt x="2732" y="3595"/>
                  </a:lnTo>
                  <a:lnTo>
                    <a:pt x="2727" y="3583"/>
                  </a:lnTo>
                  <a:lnTo>
                    <a:pt x="2724" y="3577"/>
                  </a:lnTo>
                  <a:lnTo>
                    <a:pt x="2723" y="3569"/>
                  </a:lnTo>
                  <a:lnTo>
                    <a:pt x="2722" y="3561"/>
                  </a:lnTo>
                  <a:lnTo>
                    <a:pt x="2722" y="3551"/>
                  </a:lnTo>
                  <a:lnTo>
                    <a:pt x="2722" y="3543"/>
                  </a:lnTo>
                  <a:lnTo>
                    <a:pt x="2723" y="3535"/>
                  </a:lnTo>
                  <a:lnTo>
                    <a:pt x="2724" y="3529"/>
                  </a:lnTo>
                  <a:lnTo>
                    <a:pt x="2727" y="3522"/>
                  </a:lnTo>
                  <a:lnTo>
                    <a:pt x="2732" y="3511"/>
                  </a:lnTo>
                  <a:lnTo>
                    <a:pt x="2740" y="3503"/>
                  </a:lnTo>
                  <a:lnTo>
                    <a:pt x="2750" y="3497"/>
                  </a:lnTo>
                  <a:lnTo>
                    <a:pt x="2760" y="3490"/>
                  </a:lnTo>
                  <a:lnTo>
                    <a:pt x="2772" y="3486"/>
                  </a:lnTo>
                  <a:lnTo>
                    <a:pt x="2784" y="3482"/>
                  </a:lnTo>
                  <a:lnTo>
                    <a:pt x="2809" y="3474"/>
                  </a:lnTo>
                  <a:lnTo>
                    <a:pt x="2833" y="3465"/>
                  </a:lnTo>
                  <a:lnTo>
                    <a:pt x="2843" y="3458"/>
                  </a:lnTo>
                  <a:lnTo>
                    <a:pt x="2852" y="3451"/>
                  </a:lnTo>
                  <a:lnTo>
                    <a:pt x="2856" y="3446"/>
                  </a:lnTo>
                  <a:lnTo>
                    <a:pt x="2860" y="3442"/>
                  </a:lnTo>
                  <a:lnTo>
                    <a:pt x="2863" y="3437"/>
                  </a:lnTo>
                  <a:lnTo>
                    <a:pt x="2865" y="3430"/>
                  </a:lnTo>
                  <a:lnTo>
                    <a:pt x="2865" y="3406"/>
                  </a:lnTo>
                  <a:lnTo>
                    <a:pt x="2857" y="3406"/>
                  </a:lnTo>
                  <a:lnTo>
                    <a:pt x="2853" y="3406"/>
                  </a:lnTo>
                  <a:lnTo>
                    <a:pt x="2832" y="3409"/>
                  </a:lnTo>
                  <a:lnTo>
                    <a:pt x="2811" y="3411"/>
                  </a:lnTo>
                  <a:lnTo>
                    <a:pt x="2801" y="3411"/>
                  </a:lnTo>
                  <a:lnTo>
                    <a:pt x="2791" y="3411"/>
                  </a:lnTo>
                  <a:lnTo>
                    <a:pt x="2780" y="3410"/>
                  </a:lnTo>
                  <a:lnTo>
                    <a:pt x="2769" y="3406"/>
                  </a:lnTo>
                  <a:lnTo>
                    <a:pt x="2746" y="3398"/>
                  </a:lnTo>
                  <a:lnTo>
                    <a:pt x="2728" y="3390"/>
                  </a:lnTo>
                  <a:lnTo>
                    <a:pt x="2722" y="3387"/>
                  </a:lnTo>
                  <a:lnTo>
                    <a:pt x="2714" y="3385"/>
                  </a:lnTo>
                  <a:lnTo>
                    <a:pt x="2706" y="3383"/>
                  </a:lnTo>
                  <a:lnTo>
                    <a:pt x="2698" y="3382"/>
                  </a:lnTo>
                  <a:lnTo>
                    <a:pt x="2670" y="3383"/>
                  </a:lnTo>
                  <a:lnTo>
                    <a:pt x="2643" y="3387"/>
                  </a:lnTo>
                  <a:lnTo>
                    <a:pt x="2630" y="3387"/>
                  </a:lnTo>
                  <a:lnTo>
                    <a:pt x="2616" y="3387"/>
                  </a:lnTo>
                  <a:lnTo>
                    <a:pt x="2602" y="3386"/>
                  </a:lnTo>
                  <a:lnTo>
                    <a:pt x="2588" y="3382"/>
                  </a:lnTo>
                  <a:lnTo>
                    <a:pt x="2588" y="3327"/>
                  </a:lnTo>
                  <a:lnTo>
                    <a:pt x="2588" y="3299"/>
                  </a:lnTo>
                  <a:lnTo>
                    <a:pt x="2588" y="3279"/>
                  </a:lnTo>
                  <a:lnTo>
                    <a:pt x="2588" y="3243"/>
                  </a:lnTo>
                  <a:lnTo>
                    <a:pt x="2590" y="3234"/>
                  </a:lnTo>
                  <a:lnTo>
                    <a:pt x="2591" y="3225"/>
                  </a:lnTo>
                  <a:lnTo>
                    <a:pt x="2594" y="3217"/>
                  </a:lnTo>
                  <a:lnTo>
                    <a:pt x="2598" y="3209"/>
                  </a:lnTo>
                  <a:lnTo>
                    <a:pt x="2606" y="3194"/>
                  </a:lnTo>
                  <a:lnTo>
                    <a:pt x="2616" y="3181"/>
                  </a:lnTo>
                  <a:lnTo>
                    <a:pt x="2626" y="3169"/>
                  </a:lnTo>
                  <a:lnTo>
                    <a:pt x="2635" y="3157"/>
                  </a:lnTo>
                  <a:lnTo>
                    <a:pt x="2638" y="3151"/>
                  </a:lnTo>
                  <a:lnTo>
                    <a:pt x="2640" y="3146"/>
                  </a:lnTo>
                  <a:lnTo>
                    <a:pt x="2643" y="3141"/>
                  </a:lnTo>
                  <a:lnTo>
                    <a:pt x="2643" y="3135"/>
                  </a:lnTo>
                  <a:lnTo>
                    <a:pt x="2642" y="3121"/>
                  </a:lnTo>
                  <a:lnTo>
                    <a:pt x="2639" y="3107"/>
                  </a:lnTo>
                  <a:lnTo>
                    <a:pt x="2634" y="3094"/>
                  </a:lnTo>
                  <a:lnTo>
                    <a:pt x="2627" y="3082"/>
                  </a:lnTo>
                  <a:lnTo>
                    <a:pt x="2619" y="3070"/>
                  </a:lnTo>
                  <a:lnTo>
                    <a:pt x="2610" y="3058"/>
                  </a:lnTo>
                  <a:lnTo>
                    <a:pt x="2600" y="3047"/>
                  </a:lnTo>
                  <a:lnTo>
                    <a:pt x="2590" y="3035"/>
                  </a:lnTo>
                  <a:lnTo>
                    <a:pt x="2570" y="3013"/>
                  </a:lnTo>
                  <a:lnTo>
                    <a:pt x="2551" y="2990"/>
                  </a:lnTo>
                  <a:lnTo>
                    <a:pt x="2543" y="2977"/>
                  </a:lnTo>
                  <a:lnTo>
                    <a:pt x="2536" y="2965"/>
                  </a:lnTo>
                  <a:lnTo>
                    <a:pt x="2532" y="2952"/>
                  </a:lnTo>
                  <a:lnTo>
                    <a:pt x="2528" y="2937"/>
                  </a:lnTo>
                  <a:lnTo>
                    <a:pt x="2527" y="2929"/>
                  </a:lnTo>
                  <a:lnTo>
                    <a:pt x="2526" y="2921"/>
                  </a:lnTo>
                  <a:lnTo>
                    <a:pt x="2526" y="2914"/>
                  </a:lnTo>
                  <a:lnTo>
                    <a:pt x="2526" y="2908"/>
                  </a:lnTo>
                  <a:lnTo>
                    <a:pt x="2528" y="2893"/>
                  </a:lnTo>
                  <a:lnTo>
                    <a:pt x="2531" y="2881"/>
                  </a:lnTo>
                  <a:lnTo>
                    <a:pt x="2535" y="2868"/>
                  </a:lnTo>
                  <a:lnTo>
                    <a:pt x="2536" y="2854"/>
                  </a:lnTo>
                  <a:lnTo>
                    <a:pt x="2538" y="2848"/>
                  </a:lnTo>
                  <a:lnTo>
                    <a:pt x="2538" y="2842"/>
                  </a:lnTo>
                  <a:lnTo>
                    <a:pt x="2536" y="2836"/>
                  </a:lnTo>
                  <a:lnTo>
                    <a:pt x="2535" y="2829"/>
                  </a:lnTo>
                  <a:lnTo>
                    <a:pt x="2532" y="2824"/>
                  </a:lnTo>
                  <a:lnTo>
                    <a:pt x="2530" y="2818"/>
                  </a:lnTo>
                  <a:lnTo>
                    <a:pt x="2527" y="2814"/>
                  </a:lnTo>
                  <a:lnTo>
                    <a:pt x="2522" y="2810"/>
                  </a:lnTo>
                  <a:lnTo>
                    <a:pt x="2511" y="2804"/>
                  </a:lnTo>
                  <a:lnTo>
                    <a:pt x="2498" y="2798"/>
                  </a:lnTo>
                  <a:lnTo>
                    <a:pt x="2467" y="2792"/>
                  </a:lnTo>
                  <a:lnTo>
                    <a:pt x="2438" y="2786"/>
                  </a:lnTo>
                  <a:lnTo>
                    <a:pt x="2442" y="2776"/>
                  </a:lnTo>
                  <a:lnTo>
                    <a:pt x="2446" y="2766"/>
                  </a:lnTo>
                  <a:lnTo>
                    <a:pt x="2451" y="2758"/>
                  </a:lnTo>
                  <a:lnTo>
                    <a:pt x="2458" y="2752"/>
                  </a:lnTo>
                  <a:lnTo>
                    <a:pt x="2472" y="2740"/>
                  </a:lnTo>
                  <a:lnTo>
                    <a:pt x="2488" y="2729"/>
                  </a:lnTo>
                  <a:lnTo>
                    <a:pt x="2503" y="2718"/>
                  </a:lnTo>
                  <a:lnTo>
                    <a:pt x="2516" y="2706"/>
                  </a:lnTo>
                  <a:lnTo>
                    <a:pt x="2522" y="2700"/>
                  </a:lnTo>
                  <a:lnTo>
                    <a:pt x="2526" y="2692"/>
                  </a:lnTo>
                  <a:lnTo>
                    <a:pt x="2527" y="2682"/>
                  </a:lnTo>
                  <a:lnTo>
                    <a:pt x="2528" y="2672"/>
                  </a:lnTo>
                  <a:lnTo>
                    <a:pt x="2527" y="2633"/>
                  </a:lnTo>
                  <a:lnTo>
                    <a:pt x="2524" y="2596"/>
                  </a:lnTo>
                  <a:lnTo>
                    <a:pt x="2520" y="2558"/>
                  </a:lnTo>
                  <a:lnTo>
                    <a:pt x="2515" y="2522"/>
                  </a:lnTo>
                  <a:lnTo>
                    <a:pt x="2507" y="2485"/>
                  </a:lnTo>
                  <a:lnTo>
                    <a:pt x="2499" y="2449"/>
                  </a:lnTo>
                  <a:lnTo>
                    <a:pt x="2488" y="2415"/>
                  </a:lnTo>
                  <a:lnTo>
                    <a:pt x="2478" y="2380"/>
                  </a:lnTo>
                  <a:lnTo>
                    <a:pt x="2464" y="2345"/>
                  </a:lnTo>
                  <a:lnTo>
                    <a:pt x="2451" y="2312"/>
                  </a:lnTo>
                  <a:lnTo>
                    <a:pt x="2438" y="2279"/>
                  </a:lnTo>
                  <a:lnTo>
                    <a:pt x="2422" y="2247"/>
                  </a:lnTo>
                  <a:lnTo>
                    <a:pt x="2406" y="2215"/>
                  </a:lnTo>
                  <a:lnTo>
                    <a:pt x="2388" y="2184"/>
                  </a:lnTo>
                  <a:lnTo>
                    <a:pt x="2371" y="2153"/>
                  </a:lnTo>
                  <a:lnTo>
                    <a:pt x="2354" y="2124"/>
                  </a:lnTo>
                  <a:lnTo>
                    <a:pt x="2364" y="2119"/>
                  </a:lnTo>
                  <a:lnTo>
                    <a:pt x="2374" y="2112"/>
                  </a:lnTo>
                  <a:lnTo>
                    <a:pt x="2383" y="2104"/>
                  </a:lnTo>
                  <a:lnTo>
                    <a:pt x="2394" y="2096"/>
                  </a:lnTo>
                  <a:lnTo>
                    <a:pt x="2412" y="2076"/>
                  </a:lnTo>
                  <a:lnTo>
                    <a:pt x="2430" y="2056"/>
                  </a:lnTo>
                  <a:lnTo>
                    <a:pt x="2447" y="2036"/>
                  </a:lnTo>
                  <a:lnTo>
                    <a:pt x="2463" y="2019"/>
                  </a:lnTo>
                  <a:lnTo>
                    <a:pt x="2471" y="2012"/>
                  </a:lnTo>
                  <a:lnTo>
                    <a:pt x="2478" y="2005"/>
                  </a:lnTo>
                  <a:lnTo>
                    <a:pt x="2486" y="2000"/>
                  </a:lnTo>
                  <a:lnTo>
                    <a:pt x="2492" y="1997"/>
                  </a:lnTo>
                  <a:lnTo>
                    <a:pt x="2500" y="1995"/>
                  </a:lnTo>
                  <a:lnTo>
                    <a:pt x="2508" y="1993"/>
                  </a:lnTo>
                  <a:lnTo>
                    <a:pt x="2516" y="1992"/>
                  </a:lnTo>
                  <a:lnTo>
                    <a:pt x="2526" y="1992"/>
                  </a:lnTo>
                  <a:lnTo>
                    <a:pt x="2542" y="1992"/>
                  </a:lnTo>
                  <a:lnTo>
                    <a:pt x="2556" y="1992"/>
                  </a:lnTo>
                  <a:lnTo>
                    <a:pt x="2563" y="1992"/>
                  </a:lnTo>
                  <a:lnTo>
                    <a:pt x="2570" y="1991"/>
                  </a:lnTo>
                  <a:lnTo>
                    <a:pt x="2575" y="1988"/>
                  </a:lnTo>
                  <a:lnTo>
                    <a:pt x="2579" y="1985"/>
                  </a:lnTo>
                  <a:lnTo>
                    <a:pt x="2583" y="1980"/>
                  </a:lnTo>
                  <a:lnTo>
                    <a:pt x="2587" y="1973"/>
                  </a:lnTo>
                  <a:lnTo>
                    <a:pt x="2588" y="1965"/>
                  </a:lnTo>
                  <a:lnTo>
                    <a:pt x="2588" y="1955"/>
                  </a:lnTo>
                  <a:lnTo>
                    <a:pt x="2587" y="1944"/>
                  </a:lnTo>
                  <a:lnTo>
                    <a:pt x="2584" y="1935"/>
                  </a:lnTo>
                  <a:lnTo>
                    <a:pt x="2579" y="1925"/>
                  </a:lnTo>
                  <a:lnTo>
                    <a:pt x="2574" y="1916"/>
                  </a:lnTo>
                  <a:lnTo>
                    <a:pt x="2568" y="1907"/>
                  </a:lnTo>
                  <a:lnTo>
                    <a:pt x="2563" y="1897"/>
                  </a:lnTo>
                  <a:lnTo>
                    <a:pt x="2560" y="1888"/>
                  </a:lnTo>
                  <a:lnTo>
                    <a:pt x="2559" y="1877"/>
                  </a:lnTo>
                  <a:lnTo>
                    <a:pt x="2643" y="1660"/>
                  </a:lnTo>
                  <a:lnTo>
                    <a:pt x="2654" y="1652"/>
                  </a:lnTo>
                  <a:lnTo>
                    <a:pt x="2670" y="1643"/>
                  </a:lnTo>
                  <a:lnTo>
                    <a:pt x="2686" y="1635"/>
                  </a:lnTo>
                  <a:lnTo>
                    <a:pt x="2703" y="1626"/>
                  </a:lnTo>
                  <a:lnTo>
                    <a:pt x="2711" y="1620"/>
                  </a:lnTo>
                  <a:lnTo>
                    <a:pt x="2719" y="1615"/>
                  </a:lnTo>
                  <a:lnTo>
                    <a:pt x="2727" y="1608"/>
                  </a:lnTo>
                  <a:lnTo>
                    <a:pt x="2732" y="1602"/>
                  </a:lnTo>
                  <a:lnTo>
                    <a:pt x="2738" y="1594"/>
                  </a:lnTo>
                  <a:lnTo>
                    <a:pt x="2742" y="1584"/>
                  </a:lnTo>
                  <a:lnTo>
                    <a:pt x="2744" y="1575"/>
                  </a:lnTo>
                  <a:lnTo>
                    <a:pt x="2746" y="1564"/>
                  </a:lnTo>
                  <a:lnTo>
                    <a:pt x="2744" y="1555"/>
                  </a:lnTo>
                  <a:lnTo>
                    <a:pt x="2743" y="1548"/>
                  </a:lnTo>
                  <a:lnTo>
                    <a:pt x="2740" y="1540"/>
                  </a:lnTo>
                  <a:lnTo>
                    <a:pt x="2736" y="1535"/>
                  </a:lnTo>
                  <a:lnTo>
                    <a:pt x="2727" y="1524"/>
                  </a:lnTo>
                  <a:lnTo>
                    <a:pt x="2716" y="1516"/>
                  </a:lnTo>
                  <a:lnTo>
                    <a:pt x="2704" y="1508"/>
                  </a:lnTo>
                  <a:lnTo>
                    <a:pt x="2692" y="1502"/>
                  </a:lnTo>
                  <a:lnTo>
                    <a:pt x="2682" y="1494"/>
                  </a:lnTo>
                  <a:lnTo>
                    <a:pt x="2674" y="1486"/>
                  </a:lnTo>
                  <a:lnTo>
                    <a:pt x="2668" y="1476"/>
                  </a:lnTo>
                  <a:lnTo>
                    <a:pt x="2664" y="1467"/>
                  </a:lnTo>
                  <a:lnTo>
                    <a:pt x="2662" y="1458"/>
                  </a:lnTo>
                  <a:lnTo>
                    <a:pt x="2659" y="1448"/>
                  </a:lnTo>
                  <a:lnTo>
                    <a:pt x="2656" y="1428"/>
                  </a:lnTo>
                  <a:lnTo>
                    <a:pt x="2654" y="1408"/>
                  </a:lnTo>
                  <a:lnTo>
                    <a:pt x="2652" y="1388"/>
                  </a:lnTo>
                  <a:lnTo>
                    <a:pt x="2648" y="1370"/>
                  </a:lnTo>
                  <a:lnTo>
                    <a:pt x="2646" y="1360"/>
                  </a:lnTo>
                  <a:lnTo>
                    <a:pt x="2642" y="1351"/>
                  </a:lnTo>
                  <a:lnTo>
                    <a:pt x="2638" y="1343"/>
                  </a:lnTo>
                  <a:lnTo>
                    <a:pt x="2631" y="1335"/>
                  </a:lnTo>
                  <a:lnTo>
                    <a:pt x="2622" y="1324"/>
                  </a:lnTo>
                  <a:lnTo>
                    <a:pt x="2612" y="1315"/>
                  </a:lnTo>
                  <a:lnTo>
                    <a:pt x="2603" y="1306"/>
                  </a:lnTo>
                  <a:lnTo>
                    <a:pt x="2594" y="1298"/>
                  </a:lnTo>
                  <a:lnTo>
                    <a:pt x="2574" y="1282"/>
                  </a:lnTo>
                  <a:lnTo>
                    <a:pt x="2554" y="1267"/>
                  </a:lnTo>
                  <a:lnTo>
                    <a:pt x="2535" y="1253"/>
                  </a:lnTo>
                  <a:lnTo>
                    <a:pt x="2518" y="1235"/>
                  </a:lnTo>
                  <a:lnTo>
                    <a:pt x="2508" y="1226"/>
                  </a:lnTo>
                  <a:lnTo>
                    <a:pt x="2500" y="1215"/>
                  </a:lnTo>
                  <a:lnTo>
                    <a:pt x="2494" y="1203"/>
                  </a:lnTo>
                  <a:lnTo>
                    <a:pt x="2487" y="1191"/>
                  </a:lnTo>
                  <a:lnTo>
                    <a:pt x="2480" y="1179"/>
                  </a:lnTo>
                  <a:lnTo>
                    <a:pt x="2475" y="1169"/>
                  </a:lnTo>
                  <a:lnTo>
                    <a:pt x="2472" y="1159"/>
                  </a:lnTo>
                  <a:lnTo>
                    <a:pt x="2470" y="1150"/>
                  </a:lnTo>
                  <a:lnTo>
                    <a:pt x="2464" y="1133"/>
                  </a:lnTo>
                  <a:lnTo>
                    <a:pt x="2460" y="1117"/>
                  </a:lnTo>
                  <a:lnTo>
                    <a:pt x="2458" y="1110"/>
                  </a:lnTo>
                  <a:lnTo>
                    <a:pt x="2455" y="1103"/>
                  </a:lnTo>
                  <a:lnTo>
                    <a:pt x="2451" y="1097"/>
                  </a:lnTo>
                  <a:lnTo>
                    <a:pt x="2446" y="1091"/>
                  </a:lnTo>
                  <a:lnTo>
                    <a:pt x="2439" y="1085"/>
                  </a:lnTo>
                  <a:lnTo>
                    <a:pt x="2431" y="1079"/>
                  </a:lnTo>
                  <a:lnTo>
                    <a:pt x="2420" y="1075"/>
                  </a:lnTo>
                  <a:lnTo>
                    <a:pt x="2408" y="1070"/>
                  </a:lnTo>
                  <a:lnTo>
                    <a:pt x="2418" y="1043"/>
                  </a:lnTo>
                  <a:lnTo>
                    <a:pt x="2427" y="1022"/>
                  </a:lnTo>
                  <a:lnTo>
                    <a:pt x="2432" y="1013"/>
                  </a:lnTo>
                  <a:lnTo>
                    <a:pt x="2435" y="1003"/>
                  </a:lnTo>
                  <a:lnTo>
                    <a:pt x="2438" y="995"/>
                  </a:lnTo>
                  <a:lnTo>
                    <a:pt x="2438" y="986"/>
                  </a:lnTo>
                  <a:lnTo>
                    <a:pt x="2440" y="974"/>
                  </a:lnTo>
                  <a:lnTo>
                    <a:pt x="2444" y="961"/>
                  </a:lnTo>
                  <a:lnTo>
                    <a:pt x="2447" y="953"/>
                  </a:lnTo>
                  <a:lnTo>
                    <a:pt x="2448" y="943"/>
                  </a:lnTo>
                  <a:lnTo>
                    <a:pt x="2450" y="930"/>
                  </a:lnTo>
                  <a:lnTo>
                    <a:pt x="2450" y="914"/>
                  </a:lnTo>
                  <a:lnTo>
                    <a:pt x="2432" y="914"/>
                  </a:lnTo>
                  <a:lnTo>
                    <a:pt x="2423" y="909"/>
                  </a:lnTo>
                  <a:lnTo>
                    <a:pt x="2414" y="903"/>
                  </a:lnTo>
                  <a:lnTo>
                    <a:pt x="2403" y="898"/>
                  </a:lnTo>
                  <a:lnTo>
                    <a:pt x="2390" y="890"/>
                  </a:lnTo>
                  <a:lnTo>
                    <a:pt x="2374" y="895"/>
                  </a:lnTo>
                  <a:lnTo>
                    <a:pt x="2360" y="899"/>
                  </a:lnTo>
                  <a:lnTo>
                    <a:pt x="2350" y="905"/>
                  </a:lnTo>
                  <a:lnTo>
                    <a:pt x="2340" y="910"/>
                  </a:lnTo>
                  <a:lnTo>
                    <a:pt x="2332" y="915"/>
                  </a:lnTo>
                  <a:lnTo>
                    <a:pt x="2327" y="919"/>
                  </a:lnTo>
                  <a:lnTo>
                    <a:pt x="2323" y="925"/>
                  </a:lnTo>
                  <a:lnTo>
                    <a:pt x="2320" y="930"/>
                  </a:lnTo>
                  <a:lnTo>
                    <a:pt x="2319" y="935"/>
                  </a:lnTo>
                  <a:lnTo>
                    <a:pt x="2319" y="939"/>
                  </a:lnTo>
                  <a:lnTo>
                    <a:pt x="2320" y="945"/>
                  </a:lnTo>
                  <a:lnTo>
                    <a:pt x="2323" y="950"/>
                  </a:lnTo>
                  <a:lnTo>
                    <a:pt x="2330" y="959"/>
                  </a:lnTo>
                  <a:lnTo>
                    <a:pt x="2339" y="969"/>
                  </a:lnTo>
                  <a:lnTo>
                    <a:pt x="2360" y="987"/>
                  </a:lnTo>
                  <a:lnTo>
                    <a:pt x="2380" y="1003"/>
                  </a:lnTo>
                  <a:lnTo>
                    <a:pt x="2383" y="1009"/>
                  </a:lnTo>
                  <a:lnTo>
                    <a:pt x="2386" y="1013"/>
                  </a:lnTo>
                  <a:lnTo>
                    <a:pt x="2387" y="1015"/>
                  </a:lnTo>
                  <a:lnTo>
                    <a:pt x="2388" y="1019"/>
                  </a:lnTo>
                  <a:lnTo>
                    <a:pt x="2388" y="1023"/>
                  </a:lnTo>
                  <a:lnTo>
                    <a:pt x="2386" y="1027"/>
                  </a:lnTo>
                  <a:lnTo>
                    <a:pt x="2383" y="1031"/>
                  </a:lnTo>
                  <a:lnTo>
                    <a:pt x="2378" y="1034"/>
                  </a:lnTo>
                  <a:lnTo>
                    <a:pt x="2372" y="1046"/>
                  </a:lnTo>
                  <a:lnTo>
                    <a:pt x="2366" y="1058"/>
                  </a:lnTo>
                  <a:lnTo>
                    <a:pt x="2359" y="1069"/>
                  </a:lnTo>
                  <a:lnTo>
                    <a:pt x="2351" y="1079"/>
                  </a:lnTo>
                  <a:lnTo>
                    <a:pt x="2336" y="1098"/>
                  </a:lnTo>
                  <a:lnTo>
                    <a:pt x="2319" y="1115"/>
                  </a:lnTo>
                  <a:lnTo>
                    <a:pt x="2300" y="1130"/>
                  </a:lnTo>
                  <a:lnTo>
                    <a:pt x="2282" y="1143"/>
                  </a:lnTo>
                  <a:lnTo>
                    <a:pt x="2263" y="1157"/>
                  </a:lnTo>
                  <a:lnTo>
                    <a:pt x="2243" y="1169"/>
                  </a:lnTo>
                  <a:lnTo>
                    <a:pt x="2204" y="1190"/>
                  </a:lnTo>
                  <a:lnTo>
                    <a:pt x="2168" y="1210"/>
                  </a:lnTo>
                  <a:lnTo>
                    <a:pt x="2152" y="1221"/>
                  </a:lnTo>
                  <a:lnTo>
                    <a:pt x="2138" y="1233"/>
                  </a:lnTo>
                  <a:lnTo>
                    <a:pt x="2124" y="1245"/>
                  </a:lnTo>
                  <a:lnTo>
                    <a:pt x="2112" y="1257"/>
                  </a:lnTo>
                  <a:lnTo>
                    <a:pt x="2114" y="1243"/>
                  </a:lnTo>
                  <a:lnTo>
                    <a:pt x="2116" y="1227"/>
                  </a:lnTo>
                  <a:lnTo>
                    <a:pt x="2120" y="1211"/>
                  </a:lnTo>
                  <a:lnTo>
                    <a:pt x="2127" y="1194"/>
                  </a:lnTo>
                  <a:lnTo>
                    <a:pt x="2135" y="1177"/>
                  </a:lnTo>
                  <a:lnTo>
                    <a:pt x="2144" y="1157"/>
                  </a:lnTo>
                  <a:lnTo>
                    <a:pt x="2155" y="1137"/>
                  </a:lnTo>
                  <a:lnTo>
                    <a:pt x="2167" y="1117"/>
                  </a:lnTo>
                  <a:lnTo>
                    <a:pt x="2224" y="1026"/>
                  </a:lnTo>
                  <a:lnTo>
                    <a:pt x="2291" y="926"/>
                  </a:lnTo>
                  <a:lnTo>
                    <a:pt x="2326" y="873"/>
                  </a:lnTo>
                  <a:lnTo>
                    <a:pt x="2359" y="819"/>
                  </a:lnTo>
                  <a:lnTo>
                    <a:pt x="2374" y="791"/>
                  </a:lnTo>
                  <a:lnTo>
                    <a:pt x="2390" y="763"/>
                  </a:lnTo>
                  <a:lnTo>
                    <a:pt x="2403" y="737"/>
                  </a:lnTo>
                  <a:lnTo>
                    <a:pt x="2416" y="709"/>
                  </a:lnTo>
                  <a:lnTo>
                    <a:pt x="2430" y="681"/>
                  </a:lnTo>
                  <a:lnTo>
                    <a:pt x="2440" y="653"/>
                  </a:lnTo>
                  <a:lnTo>
                    <a:pt x="2450" y="625"/>
                  </a:lnTo>
                  <a:lnTo>
                    <a:pt x="2459" y="597"/>
                  </a:lnTo>
                  <a:lnTo>
                    <a:pt x="2466" y="569"/>
                  </a:lnTo>
                  <a:lnTo>
                    <a:pt x="2470" y="541"/>
                  </a:lnTo>
                  <a:lnTo>
                    <a:pt x="2474" y="513"/>
                  </a:lnTo>
                  <a:lnTo>
                    <a:pt x="2474" y="486"/>
                  </a:lnTo>
                  <a:lnTo>
                    <a:pt x="2474" y="476"/>
                  </a:lnTo>
                  <a:lnTo>
                    <a:pt x="2472" y="465"/>
                  </a:lnTo>
                  <a:lnTo>
                    <a:pt x="2470" y="454"/>
                  </a:lnTo>
                  <a:lnTo>
                    <a:pt x="2466" y="442"/>
                  </a:lnTo>
                  <a:lnTo>
                    <a:pt x="2456" y="418"/>
                  </a:lnTo>
                  <a:lnTo>
                    <a:pt x="2444" y="393"/>
                  </a:lnTo>
                  <a:lnTo>
                    <a:pt x="2430" y="368"/>
                  </a:lnTo>
                  <a:lnTo>
                    <a:pt x="2412" y="341"/>
                  </a:lnTo>
                  <a:lnTo>
                    <a:pt x="2392" y="316"/>
                  </a:lnTo>
                  <a:lnTo>
                    <a:pt x="2371" y="292"/>
                  </a:lnTo>
                  <a:lnTo>
                    <a:pt x="2348" y="269"/>
                  </a:lnTo>
                  <a:lnTo>
                    <a:pt x="2326" y="248"/>
                  </a:lnTo>
                  <a:lnTo>
                    <a:pt x="2302" y="229"/>
                  </a:lnTo>
                  <a:lnTo>
                    <a:pt x="2279" y="212"/>
                  </a:lnTo>
                  <a:lnTo>
                    <a:pt x="2267" y="205"/>
                  </a:lnTo>
                  <a:lnTo>
                    <a:pt x="2255" y="198"/>
                  </a:lnTo>
                  <a:lnTo>
                    <a:pt x="2244" y="193"/>
                  </a:lnTo>
                  <a:lnTo>
                    <a:pt x="2232" y="188"/>
                  </a:lnTo>
                  <a:lnTo>
                    <a:pt x="2222" y="184"/>
                  </a:lnTo>
                  <a:lnTo>
                    <a:pt x="2211" y="181"/>
                  </a:lnTo>
                  <a:lnTo>
                    <a:pt x="2200" y="180"/>
                  </a:lnTo>
                  <a:lnTo>
                    <a:pt x="2191" y="180"/>
                  </a:lnTo>
                  <a:lnTo>
                    <a:pt x="2159" y="180"/>
                  </a:lnTo>
                  <a:lnTo>
                    <a:pt x="2119" y="182"/>
                  </a:lnTo>
                  <a:lnTo>
                    <a:pt x="2099" y="185"/>
                  </a:lnTo>
                  <a:lnTo>
                    <a:pt x="2079" y="189"/>
                  </a:lnTo>
                  <a:lnTo>
                    <a:pt x="2070" y="192"/>
                  </a:lnTo>
                  <a:lnTo>
                    <a:pt x="2062" y="196"/>
                  </a:lnTo>
                  <a:lnTo>
                    <a:pt x="2054" y="198"/>
                  </a:lnTo>
                  <a:lnTo>
                    <a:pt x="2047" y="204"/>
                  </a:lnTo>
                  <a:lnTo>
                    <a:pt x="2044" y="222"/>
                  </a:lnTo>
                  <a:lnTo>
                    <a:pt x="2040" y="238"/>
                  </a:lnTo>
                  <a:lnTo>
                    <a:pt x="2036" y="252"/>
                  </a:lnTo>
                  <a:lnTo>
                    <a:pt x="2031" y="264"/>
                  </a:lnTo>
                  <a:lnTo>
                    <a:pt x="2024" y="272"/>
                  </a:lnTo>
                  <a:lnTo>
                    <a:pt x="2019" y="280"/>
                  </a:lnTo>
                  <a:lnTo>
                    <a:pt x="2011" y="285"/>
                  </a:lnTo>
                  <a:lnTo>
                    <a:pt x="2004" y="289"/>
                  </a:lnTo>
                  <a:lnTo>
                    <a:pt x="1996" y="292"/>
                  </a:lnTo>
                  <a:lnTo>
                    <a:pt x="1990" y="293"/>
                  </a:lnTo>
                  <a:lnTo>
                    <a:pt x="1982" y="294"/>
                  </a:lnTo>
                  <a:lnTo>
                    <a:pt x="1974" y="294"/>
                  </a:lnTo>
                  <a:lnTo>
                    <a:pt x="1959" y="294"/>
                  </a:lnTo>
                  <a:lnTo>
                    <a:pt x="1945" y="293"/>
                  </a:lnTo>
                  <a:lnTo>
                    <a:pt x="1942" y="293"/>
                  </a:lnTo>
                  <a:lnTo>
                    <a:pt x="1941" y="292"/>
                  </a:lnTo>
                  <a:lnTo>
                    <a:pt x="1941" y="289"/>
                  </a:lnTo>
                  <a:lnTo>
                    <a:pt x="1941" y="285"/>
                  </a:lnTo>
                  <a:lnTo>
                    <a:pt x="1946" y="276"/>
                  </a:lnTo>
                  <a:lnTo>
                    <a:pt x="1953" y="264"/>
                  </a:lnTo>
                  <a:lnTo>
                    <a:pt x="1961" y="249"/>
                  </a:lnTo>
                  <a:lnTo>
                    <a:pt x="1969" y="233"/>
                  </a:lnTo>
                  <a:lnTo>
                    <a:pt x="1975" y="217"/>
                  </a:lnTo>
                  <a:lnTo>
                    <a:pt x="1979" y="201"/>
                  </a:lnTo>
                  <a:lnTo>
                    <a:pt x="1981" y="193"/>
                  </a:lnTo>
                  <a:lnTo>
                    <a:pt x="1981" y="185"/>
                  </a:lnTo>
                  <a:lnTo>
                    <a:pt x="1979" y="178"/>
                  </a:lnTo>
                  <a:lnTo>
                    <a:pt x="1978" y="170"/>
                  </a:lnTo>
                  <a:lnTo>
                    <a:pt x="1974" y="165"/>
                  </a:lnTo>
                  <a:lnTo>
                    <a:pt x="1969" y="158"/>
                  </a:lnTo>
                  <a:lnTo>
                    <a:pt x="1961" y="153"/>
                  </a:lnTo>
                  <a:lnTo>
                    <a:pt x="1953" y="149"/>
                  </a:lnTo>
                  <a:lnTo>
                    <a:pt x="1941" y="145"/>
                  </a:lnTo>
                  <a:lnTo>
                    <a:pt x="1927" y="142"/>
                  </a:lnTo>
                  <a:lnTo>
                    <a:pt x="1913" y="141"/>
                  </a:lnTo>
                  <a:lnTo>
                    <a:pt x="1894" y="140"/>
                  </a:lnTo>
                  <a:lnTo>
                    <a:pt x="1873" y="140"/>
                  </a:lnTo>
                  <a:lnTo>
                    <a:pt x="1850" y="141"/>
                  </a:lnTo>
                  <a:lnTo>
                    <a:pt x="1823" y="145"/>
                  </a:lnTo>
                  <a:lnTo>
                    <a:pt x="1794" y="149"/>
                  </a:lnTo>
                  <a:lnTo>
                    <a:pt x="1791" y="146"/>
                  </a:lnTo>
                  <a:lnTo>
                    <a:pt x="1790" y="145"/>
                  </a:lnTo>
                  <a:lnTo>
                    <a:pt x="1789" y="142"/>
                  </a:lnTo>
                  <a:lnTo>
                    <a:pt x="1789" y="140"/>
                  </a:lnTo>
                  <a:lnTo>
                    <a:pt x="1793" y="136"/>
                  </a:lnTo>
                  <a:lnTo>
                    <a:pt x="1799" y="132"/>
                  </a:lnTo>
                  <a:lnTo>
                    <a:pt x="1817" y="122"/>
                  </a:lnTo>
                  <a:lnTo>
                    <a:pt x="1838" y="111"/>
                  </a:lnTo>
                  <a:lnTo>
                    <a:pt x="1847" y="104"/>
                  </a:lnTo>
                  <a:lnTo>
                    <a:pt x="1855" y="96"/>
                  </a:lnTo>
                  <a:lnTo>
                    <a:pt x="1859" y="92"/>
                  </a:lnTo>
                  <a:lnTo>
                    <a:pt x="1862" y="87"/>
                  </a:lnTo>
                  <a:lnTo>
                    <a:pt x="1863" y="83"/>
                  </a:lnTo>
                  <a:lnTo>
                    <a:pt x="1865" y="77"/>
                  </a:lnTo>
                  <a:lnTo>
                    <a:pt x="1866" y="72"/>
                  </a:lnTo>
                  <a:lnTo>
                    <a:pt x="1865" y="65"/>
                  </a:lnTo>
                  <a:lnTo>
                    <a:pt x="1863" y="60"/>
                  </a:lnTo>
                  <a:lnTo>
                    <a:pt x="1861" y="53"/>
                  </a:lnTo>
                  <a:lnTo>
                    <a:pt x="1857" y="47"/>
                  </a:lnTo>
                  <a:lnTo>
                    <a:pt x="1851" y="39"/>
                  </a:lnTo>
                  <a:lnTo>
                    <a:pt x="1845" y="31"/>
                  </a:lnTo>
                  <a:lnTo>
                    <a:pt x="1837" y="23"/>
                  </a:lnTo>
                  <a:lnTo>
                    <a:pt x="1822" y="16"/>
                  </a:lnTo>
                  <a:lnTo>
                    <a:pt x="1809" y="12"/>
                  </a:lnTo>
                  <a:lnTo>
                    <a:pt x="1795" y="8"/>
                  </a:lnTo>
                  <a:lnTo>
                    <a:pt x="1783" y="4"/>
                  </a:lnTo>
                  <a:lnTo>
                    <a:pt x="1771" y="3"/>
                  </a:lnTo>
                  <a:lnTo>
                    <a:pt x="1761" y="1"/>
                  </a:lnTo>
                  <a:lnTo>
                    <a:pt x="1751" y="0"/>
                  </a:lnTo>
                  <a:lnTo>
                    <a:pt x="1743" y="1"/>
                  </a:lnTo>
                  <a:lnTo>
                    <a:pt x="1734" y="3"/>
                  </a:lnTo>
                  <a:lnTo>
                    <a:pt x="1727" y="4"/>
                  </a:lnTo>
                  <a:lnTo>
                    <a:pt x="1721" y="7"/>
                  </a:lnTo>
                  <a:lnTo>
                    <a:pt x="1715" y="11"/>
                  </a:lnTo>
                  <a:lnTo>
                    <a:pt x="1711" y="13"/>
                  </a:lnTo>
                  <a:lnTo>
                    <a:pt x="1707" y="19"/>
                  </a:lnTo>
                  <a:lnTo>
                    <a:pt x="1705" y="24"/>
                  </a:lnTo>
                  <a:lnTo>
                    <a:pt x="1703" y="29"/>
                  </a:lnTo>
                  <a:lnTo>
                    <a:pt x="1697" y="36"/>
                  </a:lnTo>
                  <a:lnTo>
                    <a:pt x="1690" y="45"/>
                  </a:lnTo>
                  <a:lnTo>
                    <a:pt x="1683" y="55"/>
                  </a:lnTo>
                  <a:lnTo>
                    <a:pt x="1677" y="65"/>
                  </a:lnTo>
                  <a:lnTo>
                    <a:pt x="1665" y="89"/>
                  </a:lnTo>
                  <a:lnTo>
                    <a:pt x="1651" y="115"/>
                  </a:lnTo>
                  <a:lnTo>
                    <a:pt x="1638" y="141"/>
                  </a:lnTo>
                  <a:lnTo>
                    <a:pt x="1625" y="166"/>
                  </a:lnTo>
                  <a:lnTo>
                    <a:pt x="1610" y="189"/>
                  </a:lnTo>
                  <a:lnTo>
                    <a:pt x="1595" y="209"/>
                  </a:lnTo>
                  <a:lnTo>
                    <a:pt x="1591" y="214"/>
                  </a:lnTo>
                  <a:lnTo>
                    <a:pt x="1589" y="220"/>
                  </a:lnTo>
                  <a:lnTo>
                    <a:pt x="1587" y="225"/>
                  </a:lnTo>
                  <a:lnTo>
                    <a:pt x="1586" y="230"/>
                  </a:lnTo>
                  <a:lnTo>
                    <a:pt x="1586" y="241"/>
                  </a:lnTo>
                  <a:lnTo>
                    <a:pt x="1589" y="253"/>
                  </a:lnTo>
                  <a:lnTo>
                    <a:pt x="1597" y="276"/>
                  </a:lnTo>
                  <a:lnTo>
                    <a:pt x="1606" y="300"/>
                  </a:lnTo>
                  <a:lnTo>
                    <a:pt x="1609" y="312"/>
                  </a:lnTo>
                  <a:lnTo>
                    <a:pt x="1611" y="324"/>
                  </a:lnTo>
                  <a:lnTo>
                    <a:pt x="1611" y="329"/>
                  </a:lnTo>
                  <a:lnTo>
                    <a:pt x="1610" y="334"/>
                  </a:lnTo>
                  <a:lnTo>
                    <a:pt x="1609" y="341"/>
                  </a:lnTo>
                  <a:lnTo>
                    <a:pt x="1607" y="346"/>
                  </a:lnTo>
                  <a:lnTo>
                    <a:pt x="1605" y="352"/>
                  </a:lnTo>
                  <a:lnTo>
                    <a:pt x="1601" y="358"/>
                  </a:lnTo>
                  <a:lnTo>
                    <a:pt x="1595" y="364"/>
                  </a:lnTo>
                  <a:lnTo>
                    <a:pt x="1590" y="369"/>
                  </a:lnTo>
                  <a:lnTo>
                    <a:pt x="1582" y="374"/>
                  </a:lnTo>
                  <a:lnTo>
                    <a:pt x="1574" y="380"/>
                  </a:lnTo>
                  <a:lnTo>
                    <a:pt x="1565" y="385"/>
                  </a:lnTo>
                  <a:lnTo>
                    <a:pt x="1553" y="390"/>
                  </a:lnTo>
                  <a:lnTo>
                    <a:pt x="1546" y="388"/>
                  </a:lnTo>
                  <a:lnTo>
                    <a:pt x="1529" y="384"/>
                  </a:lnTo>
                  <a:lnTo>
                    <a:pt x="1518" y="382"/>
                  </a:lnTo>
                  <a:lnTo>
                    <a:pt x="1506" y="381"/>
                  </a:lnTo>
                  <a:lnTo>
                    <a:pt x="1495" y="381"/>
                  </a:lnTo>
                  <a:lnTo>
                    <a:pt x="1486" y="381"/>
                  </a:lnTo>
                  <a:lnTo>
                    <a:pt x="1482" y="382"/>
                  </a:lnTo>
                  <a:lnTo>
                    <a:pt x="1478" y="385"/>
                  </a:lnTo>
                  <a:lnTo>
                    <a:pt x="1475" y="386"/>
                  </a:lnTo>
                  <a:lnTo>
                    <a:pt x="1473" y="389"/>
                  </a:lnTo>
                  <a:lnTo>
                    <a:pt x="1471" y="393"/>
                  </a:lnTo>
                  <a:lnTo>
                    <a:pt x="1471" y="397"/>
                  </a:lnTo>
                  <a:lnTo>
                    <a:pt x="1473" y="402"/>
                  </a:lnTo>
                  <a:lnTo>
                    <a:pt x="1474" y="408"/>
                  </a:lnTo>
                  <a:lnTo>
                    <a:pt x="1477" y="414"/>
                  </a:lnTo>
                  <a:lnTo>
                    <a:pt x="1482" y="421"/>
                  </a:lnTo>
                  <a:lnTo>
                    <a:pt x="1487" y="430"/>
                  </a:lnTo>
                  <a:lnTo>
                    <a:pt x="1495" y="438"/>
                  </a:lnTo>
                  <a:lnTo>
                    <a:pt x="1514" y="461"/>
                  </a:lnTo>
                  <a:lnTo>
                    <a:pt x="1541" y="486"/>
                  </a:lnTo>
                  <a:lnTo>
                    <a:pt x="1519" y="477"/>
                  </a:lnTo>
                  <a:lnTo>
                    <a:pt x="1502" y="470"/>
                  </a:lnTo>
                  <a:lnTo>
                    <a:pt x="1487" y="468"/>
                  </a:lnTo>
                  <a:lnTo>
                    <a:pt x="1478" y="466"/>
                  </a:lnTo>
                  <a:lnTo>
                    <a:pt x="1463" y="466"/>
                  </a:lnTo>
                  <a:lnTo>
                    <a:pt x="1450" y="468"/>
                  </a:lnTo>
                  <a:lnTo>
                    <a:pt x="1437" y="484"/>
                  </a:lnTo>
                  <a:lnTo>
                    <a:pt x="1407" y="516"/>
                  </a:lnTo>
                  <a:lnTo>
                    <a:pt x="1391" y="533"/>
                  </a:lnTo>
                  <a:lnTo>
                    <a:pt x="1374" y="548"/>
                  </a:lnTo>
                  <a:lnTo>
                    <a:pt x="1365" y="553"/>
                  </a:lnTo>
                  <a:lnTo>
                    <a:pt x="1357" y="557"/>
                  </a:lnTo>
                  <a:lnTo>
                    <a:pt x="1349" y="558"/>
                  </a:lnTo>
                  <a:lnTo>
                    <a:pt x="1342" y="558"/>
                  </a:lnTo>
                  <a:lnTo>
                    <a:pt x="1339" y="558"/>
                  </a:lnTo>
                  <a:lnTo>
                    <a:pt x="1337" y="557"/>
                  </a:lnTo>
                  <a:lnTo>
                    <a:pt x="1335" y="554"/>
                  </a:lnTo>
                  <a:lnTo>
                    <a:pt x="1334" y="553"/>
                  </a:lnTo>
                  <a:lnTo>
                    <a:pt x="1334" y="546"/>
                  </a:lnTo>
                  <a:lnTo>
                    <a:pt x="1335" y="540"/>
                  </a:lnTo>
                  <a:lnTo>
                    <a:pt x="1342" y="524"/>
                  </a:lnTo>
                  <a:lnTo>
                    <a:pt x="1350" y="505"/>
                  </a:lnTo>
                  <a:lnTo>
                    <a:pt x="1354" y="496"/>
                  </a:lnTo>
                  <a:lnTo>
                    <a:pt x="1358" y="488"/>
                  </a:lnTo>
                  <a:lnTo>
                    <a:pt x="1359" y="478"/>
                  </a:lnTo>
                  <a:lnTo>
                    <a:pt x="1359" y="472"/>
                  </a:lnTo>
                  <a:lnTo>
                    <a:pt x="1359" y="468"/>
                  </a:lnTo>
                  <a:lnTo>
                    <a:pt x="1358" y="465"/>
                  </a:lnTo>
                  <a:lnTo>
                    <a:pt x="1357" y="462"/>
                  </a:lnTo>
                  <a:lnTo>
                    <a:pt x="1354" y="461"/>
                  </a:lnTo>
                  <a:lnTo>
                    <a:pt x="1351" y="458"/>
                  </a:lnTo>
                  <a:lnTo>
                    <a:pt x="1347" y="457"/>
                  </a:lnTo>
                  <a:lnTo>
                    <a:pt x="1342" y="457"/>
                  </a:lnTo>
                  <a:lnTo>
                    <a:pt x="1337" y="456"/>
                  </a:lnTo>
                  <a:lnTo>
                    <a:pt x="1322" y="468"/>
                  </a:lnTo>
                  <a:lnTo>
                    <a:pt x="1309" y="477"/>
                  </a:lnTo>
                  <a:lnTo>
                    <a:pt x="1295" y="486"/>
                  </a:lnTo>
                  <a:lnTo>
                    <a:pt x="1282" y="493"/>
                  </a:lnTo>
                  <a:lnTo>
                    <a:pt x="1270" y="498"/>
                  </a:lnTo>
                  <a:lnTo>
                    <a:pt x="1259" y="504"/>
                  </a:lnTo>
                  <a:lnTo>
                    <a:pt x="1249" y="506"/>
                  </a:lnTo>
                  <a:lnTo>
                    <a:pt x="1238" y="509"/>
                  </a:lnTo>
                  <a:lnTo>
                    <a:pt x="1198" y="517"/>
                  </a:lnTo>
                  <a:lnTo>
                    <a:pt x="1162" y="522"/>
                  </a:lnTo>
                  <a:lnTo>
                    <a:pt x="1142" y="524"/>
                  </a:lnTo>
                  <a:lnTo>
                    <a:pt x="1128" y="525"/>
                  </a:lnTo>
                  <a:lnTo>
                    <a:pt x="1118" y="528"/>
                  </a:lnTo>
                  <a:lnTo>
                    <a:pt x="1112" y="532"/>
                  </a:lnTo>
                  <a:lnTo>
                    <a:pt x="1110" y="533"/>
                  </a:lnTo>
                  <a:lnTo>
                    <a:pt x="1110" y="536"/>
                  </a:lnTo>
                  <a:lnTo>
                    <a:pt x="1110" y="538"/>
                  </a:lnTo>
                  <a:lnTo>
                    <a:pt x="1110" y="541"/>
                  </a:lnTo>
                  <a:lnTo>
                    <a:pt x="1113" y="548"/>
                  </a:lnTo>
                  <a:lnTo>
                    <a:pt x="1117" y="553"/>
                  </a:lnTo>
                  <a:lnTo>
                    <a:pt x="1128" y="566"/>
                  </a:lnTo>
                  <a:lnTo>
                    <a:pt x="1137" y="581"/>
                  </a:lnTo>
                  <a:lnTo>
                    <a:pt x="1140" y="588"/>
                  </a:lnTo>
                  <a:lnTo>
                    <a:pt x="1140" y="594"/>
                  </a:lnTo>
                  <a:lnTo>
                    <a:pt x="1140" y="598"/>
                  </a:lnTo>
                  <a:lnTo>
                    <a:pt x="1137" y="601"/>
                  </a:lnTo>
                  <a:lnTo>
                    <a:pt x="1136" y="604"/>
                  </a:lnTo>
                  <a:lnTo>
                    <a:pt x="1132" y="606"/>
                  </a:lnTo>
                  <a:lnTo>
                    <a:pt x="1125" y="612"/>
                  </a:lnTo>
                  <a:lnTo>
                    <a:pt x="1117" y="616"/>
                  </a:lnTo>
                  <a:lnTo>
                    <a:pt x="1106" y="618"/>
                  </a:lnTo>
                  <a:lnTo>
                    <a:pt x="1096" y="622"/>
                  </a:lnTo>
                  <a:lnTo>
                    <a:pt x="1069" y="629"/>
                  </a:lnTo>
                  <a:lnTo>
                    <a:pt x="1041" y="637"/>
                  </a:lnTo>
                  <a:lnTo>
                    <a:pt x="1010" y="645"/>
                  </a:lnTo>
                  <a:lnTo>
                    <a:pt x="980" y="656"/>
                  </a:lnTo>
                  <a:lnTo>
                    <a:pt x="965" y="662"/>
                  </a:lnTo>
                  <a:lnTo>
                    <a:pt x="952" y="669"/>
                  </a:lnTo>
                  <a:lnTo>
                    <a:pt x="938" y="677"/>
                  </a:lnTo>
                  <a:lnTo>
                    <a:pt x="926" y="685"/>
                  </a:lnTo>
                  <a:lnTo>
                    <a:pt x="906" y="698"/>
                  </a:lnTo>
                  <a:lnTo>
                    <a:pt x="888" y="713"/>
                  </a:lnTo>
                  <a:lnTo>
                    <a:pt x="870" y="726"/>
                  </a:lnTo>
                  <a:lnTo>
                    <a:pt x="854" y="741"/>
                  </a:lnTo>
                  <a:lnTo>
                    <a:pt x="822" y="769"/>
                  </a:lnTo>
                  <a:lnTo>
                    <a:pt x="796" y="797"/>
                  </a:lnTo>
                  <a:lnTo>
                    <a:pt x="769" y="826"/>
                  </a:lnTo>
                  <a:lnTo>
                    <a:pt x="746" y="855"/>
                  </a:lnTo>
                  <a:lnTo>
                    <a:pt x="725" y="885"/>
                  </a:lnTo>
                  <a:lnTo>
                    <a:pt x="704" y="914"/>
                  </a:lnTo>
                  <a:lnTo>
                    <a:pt x="700" y="921"/>
                  </a:lnTo>
                  <a:lnTo>
                    <a:pt x="696" y="930"/>
                  </a:lnTo>
                  <a:lnTo>
                    <a:pt x="694" y="939"/>
                  </a:lnTo>
                  <a:lnTo>
                    <a:pt x="693" y="950"/>
                  </a:lnTo>
                  <a:lnTo>
                    <a:pt x="694" y="962"/>
                  </a:lnTo>
                  <a:lnTo>
                    <a:pt x="696" y="974"/>
                  </a:lnTo>
                  <a:lnTo>
                    <a:pt x="698" y="986"/>
                  </a:lnTo>
                  <a:lnTo>
                    <a:pt x="701" y="999"/>
                  </a:lnTo>
                  <a:lnTo>
                    <a:pt x="709" y="1026"/>
                  </a:lnTo>
                  <a:lnTo>
                    <a:pt x="720" y="1054"/>
                  </a:lnTo>
                  <a:lnTo>
                    <a:pt x="729" y="1081"/>
                  </a:lnTo>
                  <a:lnTo>
                    <a:pt x="740" y="1106"/>
                  </a:lnTo>
                  <a:lnTo>
                    <a:pt x="748" y="1129"/>
                  </a:lnTo>
                  <a:lnTo>
                    <a:pt x="753" y="1147"/>
                  </a:lnTo>
                  <a:lnTo>
                    <a:pt x="756" y="1155"/>
                  </a:lnTo>
                  <a:lnTo>
                    <a:pt x="756" y="1162"/>
                  </a:lnTo>
                  <a:lnTo>
                    <a:pt x="756" y="1167"/>
                  </a:lnTo>
                  <a:lnTo>
                    <a:pt x="754" y="1170"/>
                  </a:lnTo>
                  <a:lnTo>
                    <a:pt x="750" y="1173"/>
                  </a:lnTo>
                  <a:lnTo>
                    <a:pt x="746" y="1173"/>
                  </a:lnTo>
                  <a:lnTo>
                    <a:pt x="740" y="1171"/>
                  </a:lnTo>
                  <a:lnTo>
                    <a:pt x="732" y="1167"/>
                  </a:lnTo>
                  <a:lnTo>
                    <a:pt x="722" y="1162"/>
                  </a:lnTo>
                  <a:lnTo>
                    <a:pt x="710" y="1154"/>
                  </a:lnTo>
                  <a:lnTo>
                    <a:pt x="696" y="1143"/>
                  </a:lnTo>
                  <a:lnTo>
                    <a:pt x="680" y="1130"/>
                  </a:lnTo>
                  <a:lnTo>
                    <a:pt x="649" y="1137"/>
                  </a:lnTo>
                  <a:lnTo>
                    <a:pt x="621" y="1142"/>
                  </a:lnTo>
                  <a:lnTo>
                    <a:pt x="594" y="1146"/>
                  </a:lnTo>
                  <a:lnTo>
                    <a:pt x="570" y="1149"/>
                  </a:lnTo>
                  <a:lnTo>
                    <a:pt x="526" y="1153"/>
                  </a:lnTo>
                  <a:lnTo>
                    <a:pt x="486" y="1153"/>
                  </a:lnTo>
                  <a:lnTo>
                    <a:pt x="451" y="1153"/>
                  </a:lnTo>
                  <a:lnTo>
                    <a:pt x="415" y="1151"/>
                  </a:lnTo>
                  <a:lnTo>
                    <a:pt x="380" y="1150"/>
                  </a:lnTo>
                  <a:lnTo>
                    <a:pt x="343" y="1149"/>
                  </a:lnTo>
                  <a:lnTo>
                    <a:pt x="317" y="1150"/>
                  </a:lnTo>
                  <a:lnTo>
                    <a:pt x="295" y="1151"/>
                  </a:lnTo>
                  <a:lnTo>
                    <a:pt x="273" y="1155"/>
                  </a:lnTo>
                  <a:lnTo>
                    <a:pt x="256" y="1161"/>
                  </a:lnTo>
                  <a:lnTo>
                    <a:pt x="241" y="1166"/>
                  </a:lnTo>
                  <a:lnTo>
                    <a:pt x="229" y="1175"/>
                  </a:lnTo>
                  <a:lnTo>
                    <a:pt x="224" y="1179"/>
                  </a:lnTo>
                  <a:lnTo>
                    <a:pt x="220" y="1185"/>
                  </a:lnTo>
                  <a:lnTo>
                    <a:pt x="216" y="1190"/>
                  </a:lnTo>
                  <a:lnTo>
                    <a:pt x="213" y="1195"/>
                  </a:lnTo>
                  <a:lnTo>
                    <a:pt x="211" y="1202"/>
                  </a:lnTo>
                  <a:lnTo>
                    <a:pt x="209" y="1207"/>
                  </a:lnTo>
                  <a:lnTo>
                    <a:pt x="208" y="1215"/>
                  </a:lnTo>
                  <a:lnTo>
                    <a:pt x="207" y="1222"/>
                  </a:lnTo>
                  <a:lnTo>
                    <a:pt x="208" y="1238"/>
                  </a:lnTo>
                  <a:lnTo>
                    <a:pt x="211" y="1255"/>
                  </a:lnTo>
                  <a:lnTo>
                    <a:pt x="216" y="1274"/>
                  </a:lnTo>
                  <a:lnTo>
                    <a:pt x="224" y="1295"/>
                  </a:lnTo>
                  <a:lnTo>
                    <a:pt x="233" y="1318"/>
                  </a:lnTo>
                  <a:lnTo>
                    <a:pt x="247" y="1342"/>
                  </a:lnTo>
                  <a:lnTo>
                    <a:pt x="249" y="1350"/>
                  </a:lnTo>
                  <a:lnTo>
                    <a:pt x="251" y="1359"/>
                  </a:lnTo>
                  <a:lnTo>
                    <a:pt x="249" y="1371"/>
                  </a:lnTo>
                  <a:lnTo>
                    <a:pt x="247" y="1382"/>
                  </a:lnTo>
                  <a:lnTo>
                    <a:pt x="240" y="1408"/>
                  </a:lnTo>
                  <a:lnTo>
                    <a:pt x="235" y="1435"/>
                  </a:lnTo>
                  <a:lnTo>
                    <a:pt x="233" y="1450"/>
                  </a:lnTo>
                  <a:lnTo>
                    <a:pt x="233" y="1463"/>
                  </a:lnTo>
                  <a:lnTo>
                    <a:pt x="235" y="1476"/>
                  </a:lnTo>
                  <a:lnTo>
                    <a:pt x="240" y="1490"/>
                  </a:lnTo>
                  <a:lnTo>
                    <a:pt x="243" y="1495"/>
                  </a:lnTo>
                  <a:lnTo>
                    <a:pt x="248" y="1502"/>
                  </a:lnTo>
                  <a:lnTo>
                    <a:pt x="253" y="1508"/>
                  </a:lnTo>
                  <a:lnTo>
                    <a:pt x="259" y="1514"/>
                  </a:lnTo>
                  <a:lnTo>
                    <a:pt x="267" y="1519"/>
                  </a:lnTo>
                  <a:lnTo>
                    <a:pt x="275" y="1524"/>
                  </a:lnTo>
                  <a:lnTo>
                    <a:pt x="284" y="1530"/>
                  </a:lnTo>
                  <a:lnTo>
                    <a:pt x="295" y="1534"/>
                  </a:lnTo>
                  <a:lnTo>
                    <a:pt x="299" y="1531"/>
                  </a:lnTo>
                  <a:lnTo>
                    <a:pt x="301" y="1530"/>
                  </a:lnTo>
                  <a:lnTo>
                    <a:pt x="305" y="1530"/>
                  </a:lnTo>
                  <a:lnTo>
                    <a:pt x="308" y="1531"/>
                  </a:lnTo>
                  <a:lnTo>
                    <a:pt x="313" y="1534"/>
                  </a:lnTo>
                  <a:lnTo>
                    <a:pt x="317" y="1540"/>
                  </a:lnTo>
                  <a:lnTo>
                    <a:pt x="325" y="1559"/>
                  </a:lnTo>
                  <a:lnTo>
                    <a:pt x="332" y="1582"/>
                  </a:lnTo>
                  <a:lnTo>
                    <a:pt x="335" y="1592"/>
                  </a:lnTo>
                  <a:lnTo>
                    <a:pt x="339" y="1603"/>
                  </a:lnTo>
                  <a:lnTo>
                    <a:pt x="341" y="1614"/>
                  </a:lnTo>
                  <a:lnTo>
                    <a:pt x="347" y="1622"/>
                  </a:lnTo>
                  <a:lnTo>
                    <a:pt x="349" y="1624"/>
                  </a:lnTo>
                  <a:lnTo>
                    <a:pt x="352" y="1627"/>
                  </a:lnTo>
                  <a:lnTo>
                    <a:pt x="355" y="1628"/>
                  </a:lnTo>
                  <a:lnTo>
                    <a:pt x="357" y="1630"/>
                  </a:lnTo>
                  <a:lnTo>
                    <a:pt x="361" y="1630"/>
                  </a:lnTo>
                  <a:lnTo>
                    <a:pt x="364" y="1628"/>
                  </a:lnTo>
                  <a:lnTo>
                    <a:pt x="368" y="1627"/>
                  </a:lnTo>
                  <a:lnTo>
                    <a:pt x="373" y="1624"/>
                  </a:lnTo>
                  <a:lnTo>
                    <a:pt x="392" y="1650"/>
                  </a:lnTo>
                  <a:lnTo>
                    <a:pt x="407" y="1672"/>
                  </a:lnTo>
                  <a:lnTo>
                    <a:pt x="412" y="1683"/>
                  </a:lnTo>
                  <a:lnTo>
                    <a:pt x="417" y="1694"/>
                  </a:lnTo>
                  <a:lnTo>
                    <a:pt x="420" y="1703"/>
                  </a:lnTo>
                  <a:lnTo>
                    <a:pt x="421" y="1714"/>
                  </a:lnTo>
                  <a:lnTo>
                    <a:pt x="421" y="1724"/>
                  </a:lnTo>
                  <a:lnTo>
                    <a:pt x="420" y="1735"/>
                  </a:lnTo>
                  <a:lnTo>
                    <a:pt x="416" y="1747"/>
                  </a:lnTo>
                  <a:lnTo>
                    <a:pt x="411" y="1759"/>
                  </a:lnTo>
                  <a:lnTo>
                    <a:pt x="404" y="1772"/>
                  </a:lnTo>
                  <a:lnTo>
                    <a:pt x="393" y="1786"/>
                  </a:lnTo>
                  <a:lnTo>
                    <a:pt x="381" y="1800"/>
                  </a:lnTo>
                  <a:lnTo>
                    <a:pt x="367" y="1816"/>
                  </a:lnTo>
                  <a:lnTo>
                    <a:pt x="377" y="1842"/>
                  </a:lnTo>
                  <a:lnTo>
                    <a:pt x="397" y="1897"/>
                  </a:lnTo>
                  <a:lnTo>
                    <a:pt x="408" y="1929"/>
                  </a:lnTo>
                  <a:lnTo>
                    <a:pt x="415" y="1961"/>
                  </a:lnTo>
                  <a:lnTo>
                    <a:pt x="417" y="1976"/>
                  </a:lnTo>
                  <a:lnTo>
                    <a:pt x="419" y="1989"/>
                  </a:lnTo>
                  <a:lnTo>
                    <a:pt x="417" y="2000"/>
                  </a:lnTo>
                  <a:lnTo>
                    <a:pt x="415" y="2009"/>
                  </a:lnTo>
                  <a:lnTo>
                    <a:pt x="401" y="2033"/>
                  </a:lnTo>
                  <a:lnTo>
                    <a:pt x="389" y="2053"/>
                  </a:lnTo>
                  <a:lnTo>
                    <a:pt x="379" y="2069"/>
                  </a:lnTo>
                  <a:lnTo>
                    <a:pt x="369" y="2081"/>
                  </a:lnTo>
                  <a:lnTo>
                    <a:pt x="361" y="2091"/>
                  </a:lnTo>
                  <a:lnTo>
                    <a:pt x="355" y="2097"/>
                  </a:lnTo>
                  <a:lnTo>
                    <a:pt x="349" y="2101"/>
                  </a:lnTo>
                  <a:lnTo>
                    <a:pt x="344" y="2103"/>
                  </a:lnTo>
                  <a:lnTo>
                    <a:pt x="340" y="2101"/>
                  </a:lnTo>
                  <a:lnTo>
                    <a:pt x="336" y="2099"/>
                  </a:lnTo>
                  <a:lnTo>
                    <a:pt x="333" y="2095"/>
                  </a:lnTo>
                  <a:lnTo>
                    <a:pt x="331" y="2089"/>
                  </a:lnTo>
                  <a:lnTo>
                    <a:pt x="325" y="2077"/>
                  </a:lnTo>
                  <a:lnTo>
                    <a:pt x="319" y="2064"/>
                  </a:lnTo>
                  <a:lnTo>
                    <a:pt x="335" y="2025"/>
                  </a:lnTo>
                  <a:lnTo>
                    <a:pt x="347" y="1992"/>
                  </a:lnTo>
                  <a:lnTo>
                    <a:pt x="355" y="1961"/>
                  </a:lnTo>
                  <a:lnTo>
                    <a:pt x="360" y="1936"/>
                  </a:lnTo>
                  <a:lnTo>
                    <a:pt x="363" y="1915"/>
                  </a:lnTo>
                  <a:lnTo>
                    <a:pt x="361" y="1897"/>
                  </a:lnTo>
                  <a:lnTo>
                    <a:pt x="360" y="1891"/>
                  </a:lnTo>
                  <a:lnTo>
                    <a:pt x="359" y="1885"/>
                  </a:lnTo>
                  <a:lnTo>
                    <a:pt x="356" y="1881"/>
                  </a:lnTo>
                  <a:lnTo>
                    <a:pt x="353" y="1877"/>
                  </a:lnTo>
                  <a:lnTo>
                    <a:pt x="349" y="1876"/>
                  </a:lnTo>
                  <a:lnTo>
                    <a:pt x="347" y="1876"/>
                  </a:lnTo>
                  <a:lnTo>
                    <a:pt x="343" y="1876"/>
                  </a:lnTo>
                  <a:lnTo>
                    <a:pt x="337" y="1879"/>
                  </a:lnTo>
                  <a:lnTo>
                    <a:pt x="333" y="1883"/>
                  </a:lnTo>
                  <a:lnTo>
                    <a:pt x="328" y="1888"/>
                  </a:lnTo>
                  <a:lnTo>
                    <a:pt x="323" y="1893"/>
                  </a:lnTo>
                  <a:lnTo>
                    <a:pt x="317" y="1901"/>
                  </a:lnTo>
                  <a:lnTo>
                    <a:pt x="305" y="1923"/>
                  </a:lnTo>
                  <a:lnTo>
                    <a:pt x="293" y="1949"/>
                  </a:lnTo>
                  <a:lnTo>
                    <a:pt x="283" y="1981"/>
                  </a:lnTo>
                  <a:lnTo>
                    <a:pt x="271" y="2021"/>
                  </a:lnTo>
                  <a:lnTo>
                    <a:pt x="272" y="2003"/>
                  </a:lnTo>
                  <a:lnTo>
                    <a:pt x="276" y="1973"/>
                  </a:lnTo>
                  <a:lnTo>
                    <a:pt x="283" y="1939"/>
                  </a:lnTo>
                  <a:lnTo>
                    <a:pt x="292" y="1901"/>
                  </a:lnTo>
                  <a:lnTo>
                    <a:pt x="301" y="1863"/>
                  </a:lnTo>
                  <a:lnTo>
                    <a:pt x="311" y="1828"/>
                  </a:lnTo>
                  <a:lnTo>
                    <a:pt x="316" y="1814"/>
                  </a:lnTo>
                  <a:lnTo>
                    <a:pt x="321" y="1800"/>
                  </a:lnTo>
                  <a:lnTo>
                    <a:pt x="327" y="1790"/>
                  </a:lnTo>
                  <a:lnTo>
                    <a:pt x="331" y="1780"/>
                  </a:lnTo>
                  <a:lnTo>
                    <a:pt x="351" y="1744"/>
                  </a:lnTo>
                  <a:lnTo>
                    <a:pt x="365" y="1716"/>
                  </a:lnTo>
                  <a:lnTo>
                    <a:pt x="369" y="1704"/>
                  </a:lnTo>
                  <a:lnTo>
                    <a:pt x="373" y="1695"/>
                  </a:lnTo>
                  <a:lnTo>
                    <a:pt x="375" y="1687"/>
                  </a:lnTo>
                  <a:lnTo>
                    <a:pt x="376" y="1679"/>
                  </a:lnTo>
                  <a:lnTo>
                    <a:pt x="376" y="1674"/>
                  </a:lnTo>
                  <a:lnTo>
                    <a:pt x="375" y="1670"/>
                  </a:lnTo>
                  <a:lnTo>
                    <a:pt x="372" y="1666"/>
                  </a:lnTo>
                  <a:lnTo>
                    <a:pt x="369" y="1663"/>
                  </a:lnTo>
                  <a:lnTo>
                    <a:pt x="365" y="1662"/>
                  </a:lnTo>
                  <a:lnTo>
                    <a:pt x="360" y="1662"/>
                  </a:lnTo>
                  <a:lnTo>
                    <a:pt x="356" y="1660"/>
                  </a:lnTo>
                  <a:lnTo>
                    <a:pt x="349" y="1662"/>
                  </a:lnTo>
                  <a:lnTo>
                    <a:pt x="323" y="1664"/>
                  </a:lnTo>
                  <a:lnTo>
                    <a:pt x="292" y="1667"/>
                  </a:lnTo>
                  <a:lnTo>
                    <a:pt x="285" y="1666"/>
                  </a:lnTo>
                  <a:lnTo>
                    <a:pt x="279" y="1664"/>
                  </a:lnTo>
                  <a:lnTo>
                    <a:pt x="272" y="1663"/>
                  </a:lnTo>
                  <a:lnTo>
                    <a:pt x="265" y="1659"/>
                  </a:lnTo>
                  <a:lnTo>
                    <a:pt x="260" y="1655"/>
                  </a:lnTo>
                  <a:lnTo>
                    <a:pt x="255" y="1651"/>
                  </a:lnTo>
                  <a:lnTo>
                    <a:pt x="251" y="1644"/>
                  </a:lnTo>
                  <a:lnTo>
                    <a:pt x="247" y="1636"/>
                  </a:lnTo>
                  <a:lnTo>
                    <a:pt x="239" y="1619"/>
                  </a:lnTo>
                  <a:lnTo>
                    <a:pt x="231" y="1604"/>
                  </a:lnTo>
                  <a:lnTo>
                    <a:pt x="223" y="1591"/>
                  </a:lnTo>
                  <a:lnTo>
                    <a:pt x="215" y="1579"/>
                  </a:lnTo>
                  <a:lnTo>
                    <a:pt x="199" y="1559"/>
                  </a:lnTo>
                  <a:lnTo>
                    <a:pt x="181" y="1542"/>
                  </a:lnTo>
                  <a:lnTo>
                    <a:pt x="163" y="1524"/>
                  </a:lnTo>
                  <a:lnTo>
                    <a:pt x="141" y="1506"/>
                  </a:lnTo>
                  <a:lnTo>
                    <a:pt x="117" y="1483"/>
                  </a:lnTo>
                  <a:lnTo>
                    <a:pt x="89" y="1455"/>
                  </a:lnTo>
                  <a:lnTo>
                    <a:pt x="89" y="1458"/>
                  </a:lnTo>
                  <a:lnTo>
                    <a:pt x="88" y="1460"/>
                  </a:lnTo>
                  <a:lnTo>
                    <a:pt x="85" y="1462"/>
                  </a:lnTo>
                  <a:lnTo>
                    <a:pt x="81" y="1464"/>
                  </a:lnTo>
                  <a:lnTo>
                    <a:pt x="72" y="1467"/>
                  </a:lnTo>
                  <a:lnTo>
                    <a:pt x="60" y="1467"/>
                  </a:lnTo>
                  <a:lnTo>
                    <a:pt x="56" y="1474"/>
                  </a:lnTo>
                  <a:lnTo>
                    <a:pt x="53" y="1479"/>
                  </a:lnTo>
                  <a:lnTo>
                    <a:pt x="52" y="1484"/>
                  </a:lnTo>
                  <a:lnTo>
                    <a:pt x="52" y="1488"/>
                  </a:lnTo>
                  <a:lnTo>
                    <a:pt x="53" y="1498"/>
                  </a:lnTo>
                  <a:lnTo>
                    <a:pt x="53" y="1510"/>
                  </a:lnTo>
                  <a:lnTo>
                    <a:pt x="55" y="1522"/>
                  </a:lnTo>
                  <a:lnTo>
                    <a:pt x="59" y="1531"/>
                  </a:lnTo>
                  <a:lnTo>
                    <a:pt x="64" y="1538"/>
                  </a:lnTo>
                  <a:lnTo>
                    <a:pt x="71" y="1544"/>
                  </a:lnTo>
                  <a:lnTo>
                    <a:pt x="79" y="1550"/>
                  </a:lnTo>
                  <a:lnTo>
                    <a:pt x="88" y="1554"/>
                  </a:lnTo>
                  <a:lnTo>
                    <a:pt x="99" y="1558"/>
                  </a:lnTo>
                  <a:lnTo>
                    <a:pt x="108" y="1562"/>
                  </a:lnTo>
                  <a:lnTo>
                    <a:pt x="119" y="1566"/>
                  </a:lnTo>
                  <a:lnTo>
                    <a:pt x="129" y="1570"/>
                  </a:lnTo>
                  <a:lnTo>
                    <a:pt x="139" y="1575"/>
                  </a:lnTo>
                  <a:lnTo>
                    <a:pt x="148" y="1580"/>
                  </a:lnTo>
                  <a:lnTo>
                    <a:pt x="155" y="1587"/>
                  </a:lnTo>
                  <a:lnTo>
                    <a:pt x="161" y="1595"/>
                  </a:lnTo>
                  <a:lnTo>
                    <a:pt x="165" y="1606"/>
                  </a:lnTo>
                  <a:lnTo>
                    <a:pt x="168" y="1618"/>
                  </a:lnTo>
                  <a:lnTo>
                    <a:pt x="169" y="1636"/>
                  </a:lnTo>
                  <a:lnTo>
                    <a:pt x="168" y="1652"/>
                  </a:lnTo>
                  <a:lnTo>
                    <a:pt x="165" y="1664"/>
                  </a:lnTo>
                  <a:lnTo>
                    <a:pt x="160" y="1674"/>
                  </a:lnTo>
                  <a:lnTo>
                    <a:pt x="153" y="1682"/>
                  </a:lnTo>
                  <a:lnTo>
                    <a:pt x="147" y="1688"/>
                  </a:lnTo>
                  <a:lnTo>
                    <a:pt x="139" y="1692"/>
                  </a:lnTo>
                  <a:lnTo>
                    <a:pt x="131" y="1696"/>
                  </a:lnTo>
                  <a:lnTo>
                    <a:pt x="113" y="1703"/>
                  </a:lnTo>
                  <a:lnTo>
                    <a:pt x="99" y="1710"/>
                  </a:lnTo>
                  <a:lnTo>
                    <a:pt x="92" y="1715"/>
                  </a:lnTo>
                  <a:lnTo>
                    <a:pt x="88" y="1720"/>
                  </a:lnTo>
                  <a:lnTo>
                    <a:pt x="85" y="1728"/>
                  </a:lnTo>
                  <a:lnTo>
                    <a:pt x="84" y="1739"/>
                  </a:lnTo>
                  <a:lnTo>
                    <a:pt x="85" y="1748"/>
                  </a:lnTo>
                  <a:lnTo>
                    <a:pt x="88" y="1758"/>
                  </a:lnTo>
                  <a:lnTo>
                    <a:pt x="92" y="1767"/>
                  </a:lnTo>
                  <a:lnTo>
                    <a:pt x="97" y="1776"/>
                  </a:lnTo>
                  <a:lnTo>
                    <a:pt x="111" y="1794"/>
                  </a:lnTo>
                  <a:lnTo>
                    <a:pt x="125" y="1814"/>
                  </a:lnTo>
                  <a:lnTo>
                    <a:pt x="133" y="1823"/>
                  </a:lnTo>
                  <a:lnTo>
                    <a:pt x="141" y="1834"/>
                  </a:lnTo>
                  <a:lnTo>
                    <a:pt x="148" y="1846"/>
                  </a:lnTo>
                  <a:lnTo>
                    <a:pt x="155" y="1858"/>
                  </a:lnTo>
                  <a:lnTo>
                    <a:pt x="160" y="1871"/>
                  </a:lnTo>
                  <a:lnTo>
                    <a:pt x="164" y="1885"/>
                  </a:lnTo>
                  <a:lnTo>
                    <a:pt x="167" y="1901"/>
                  </a:lnTo>
                  <a:lnTo>
                    <a:pt x="168" y="1919"/>
                  </a:lnTo>
                  <a:lnTo>
                    <a:pt x="168" y="1933"/>
                  </a:lnTo>
                  <a:lnTo>
                    <a:pt x="167" y="1945"/>
                  </a:lnTo>
                  <a:lnTo>
                    <a:pt x="164" y="1957"/>
                  </a:lnTo>
                  <a:lnTo>
                    <a:pt x="161" y="1968"/>
                  </a:lnTo>
                  <a:lnTo>
                    <a:pt x="157" y="1977"/>
                  </a:lnTo>
                  <a:lnTo>
                    <a:pt x="152" y="1987"/>
                  </a:lnTo>
                  <a:lnTo>
                    <a:pt x="148" y="1995"/>
                  </a:lnTo>
                  <a:lnTo>
                    <a:pt x="141" y="2001"/>
                  </a:lnTo>
                  <a:lnTo>
                    <a:pt x="129" y="2015"/>
                  </a:lnTo>
                  <a:lnTo>
                    <a:pt x="115" y="2024"/>
                  </a:lnTo>
                  <a:lnTo>
                    <a:pt x="100" y="2033"/>
                  </a:lnTo>
                  <a:lnTo>
                    <a:pt x="84" y="2041"/>
                  </a:lnTo>
                  <a:lnTo>
                    <a:pt x="68" y="2051"/>
                  </a:lnTo>
                  <a:lnTo>
                    <a:pt x="53" y="2059"/>
                  </a:lnTo>
                  <a:lnTo>
                    <a:pt x="39" y="2069"/>
                  </a:lnTo>
                  <a:lnTo>
                    <a:pt x="25" y="2081"/>
                  </a:lnTo>
                  <a:lnTo>
                    <a:pt x="20" y="2088"/>
                  </a:lnTo>
                  <a:lnTo>
                    <a:pt x="15" y="2095"/>
                  </a:lnTo>
                  <a:lnTo>
                    <a:pt x="11" y="2104"/>
                  </a:lnTo>
                  <a:lnTo>
                    <a:pt x="7" y="2113"/>
                  </a:lnTo>
                  <a:lnTo>
                    <a:pt x="4" y="2123"/>
                  </a:lnTo>
                  <a:lnTo>
                    <a:pt x="1" y="2135"/>
                  </a:lnTo>
                  <a:lnTo>
                    <a:pt x="0" y="2147"/>
                  </a:lnTo>
                  <a:lnTo>
                    <a:pt x="0" y="2160"/>
                  </a:lnTo>
                  <a:lnTo>
                    <a:pt x="0" y="2172"/>
                  </a:lnTo>
                  <a:lnTo>
                    <a:pt x="4" y="2184"/>
                  </a:lnTo>
                  <a:lnTo>
                    <a:pt x="9" y="2197"/>
                  </a:lnTo>
                  <a:lnTo>
                    <a:pt x="17" y="2211"/>
                  </a:lnTo>
                  <a:lnTo>
                    <a:pt x="27" y="2224"/>
                  </a:lnTo>
                  <a:lnTo>
                    <a:pt x="37" y="2237"/>
                  </a:lnTo>
                  <a:lnTo>
                    <a:pt x="48" y="2251"/>
                  </a:lnTo>
                  <a:lnTo>
                    <a:pt x="61" y="2264"/>
                  </a:lnTo>
                  <a:lnTo>
                    <a:pt x="75" y="2276"/>
                  </a:lnTo>
                  <a:lnTo>
                    <a:pt x="88" y="2287"/>
                  </a:lnTo>
                  <a:lnTo>
                    <a:pt x="103" y="2297"/>
                  </a:lnTo>
                  <a:lnTo>
                    <a:pt x="116" y="2305"/>
                  </a:lnTo>
                  <a:lnTo>
                    <a:pt x="131" y="2313"/>
                  </a:lnTo>
                  <a:lnTo>
                    <a:pt x="144" y="2319"/>
                  </a:lnTo>
                  <a:lnTo>
                    <a:pt x="156" y="2321"/>
                  </a:lnTo>
                  <a:lnTo>
                    <a:pt x="168" y="2323"/>
                  </a:lnTo>
                  <a:lnTo>
                    <a:pt x="180" y="2323"/>
                  </a:lnTo>
                  <a:lnTo>
                    <a:pt x="188" y="2321"/>
                  </a:lnTo>
                  <a:lnTo>
                    <a:pt x="195" y="2319"/>
                  </a:lnTo>
                  <a:lnTo>
                    <a:pt x="199" y="2317"/>
                  </a:lnTo>
                  <a:lnTo>
                    <a:pt x="203" y="2316"/>
                  </a:lnTo>
                  <a:lnTo>
                    <a:pt x="207" y="2315"/>
                  </a:lnTo>
                  <a:lnTo>
                    <a:pt x="211" y="2315"/>
                  </a:lnTo>
                  <a:lnTo>
                    <a:pt x="216" y="2316"/>
                  </a:lnTo>
                  <a:lnTo>
                    <a:pt x="227" y="2329"/>
                  </a:lnTo>
                  <a:lnTo>
                    <a:pt x="239" y="2340"/>
                  </a:lnTo>
                  <a:lnTo>
                    <a:pt x="252" y="2352"/>
                  </a:lnTo>
                  <a:lnTo>
                    <a:pt x="264" y="2364"/>
                  </a:lnTo>
                  <a:lnTo>
                    <a:pt x="271" y="2369"/>
                  </a:lnTo>
                  <a:lnTo>
                    <a:pt x="276" y="2377"/>
                  </a:lnTo>
                  <a:lnTo>
                    <a:pt x="281" y="2384"/>
                  </a:lnTo>
                  <a:lnTo>
                    <a:pt x="285" y="2393"/>
                  </a:lnTo>
                  <a:lnTo>
                    <a:pt x="289" y="2403"/>
                  </a:lnTo>
                  <a:lnTo>
                    <a:pt x="292" y="2413"/>
                  </a:lnTo>
                  <a:lnTo>
                    <a:pt x="293" y="2424"/>
                  </a:lnTo>
                  <a:lnTo>
                    <a:pt x="295" y="2437"/>
                  </a:lnTo>
                  <a:lnTo>
                    <a:pt x="295" y="2449"/>
                  </a:lnTo>
                  <a:lnTo>
                    <a:pt x="295" y="2461"/>
                  </a:lnTo>
                  <a:lnTo>
                    <a:pt x="293" y="2470"/>
                  </a:lnTo>
                  <a:lnTo>
                    <a:pt x="291" y="2480"/>
                  </a:lnTo>
                  <a:lnTo>
                    <a:pt x="287" y="2488"/>
                  </a:lnTo>
                  <a:lnTo>
                    <a:pt x="281" y="2496"/>
                  </a:lnTo>
                  <a:lnTo>
                    <a:pt x="275" y="2502"/>
                  </a:lnTo>
                  <a:lnTo>
                    <a:pt x="264" y="2509"/>
                  </a:lnTo>
                  <a:lnTo>
                    <a:pt x="271" y="2540"/>
                  </a:lnTo>
                  <a:lnTo>
                    <a:pt x="276" y="2557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accent1">
                  <a:lumMod val="20000"/>
                  <a:lumOff val="8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95" b="0" i="0" u="none" strike="noStrike" kern="1200" cap="none" spc="0" normalizeH="0" baseline="0" noProof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9" name="Freeform 35"/>
            <p:cNvSpPr>
              <a:spLocks/>
            </p:cNvSpPr>
            <p:nvPr/>
          </p:nvSpPr>
          <p:spPr bwMode="auto">
            <a:xfrm>
              <a:off x="5011013" y="2373807"/>
              <a:ext cx="89374" cy="108946"/>
            </a:xfrm>
            <a:custGeom>
              <a:avLst/>
              <a:gdLst>
                <a:gd name="T0" fmla="*/ 745 w 1241"/>
                <a:gd name="T1" fmla="*/ 200 h 1511"/>
                <a:gd name="T2" fmla="*/ 635 w 1241"/>
                <a:gd name="T3" fmla="*/ 406 h 1511"/>
                <a:gd name="T4" fmla="*/ 566 w 1241"/>
                <a:gd name="T5" fmla="*/ 462 h 1511"/>
                <a:gd name="T6" fmla="*/ 487 w 1241"/>
                <a:gd name="T7" fmla="*/ 490 h 1511"/>
                <a:gd name="T8" fmla="*/ 464 w 1241"/>
                <a:gd name="T9" fmla="*/ 541 h 1511"/>
                <a:gd name="T10" fmla="*/ 490 w 1241"/>
                <a:gd name="T11" fmla="*/ 602 h 1511"/>
                <a:gd name="T12" fmla="*/ 500 w 1241"/>
                <a:gd name="T13" fmla="*/ 644 h 1511"/>
                <a:gd name="T14" fmla="*/ 476 w 1241"/>
                <a:gd name="T15" fmla="*/ 682 h 1511"/>
                <a:gd name="T16" fmla="*/ 466 w 1241"/>
                <a:gd name="T17" fmla="*/ 717 h 1511"/>
                <a:gd name="T18" fmla="*/ 487 w 1241"/>
                <a:gd name="T19" fmla="*/ 757 h 1511"/>
                <a:gd name="T20" fmla="*/ 472 w 1241"/>
                <a:gd name="T21" fmla="*/ 809 h 1511"/>
                <a:gd name="T22" fmla="*/ 422 w 1241"/>
                <a:gd name="T23" fmla="*/ 841 h 1511"/>
                <a:gd name="T24" fmla="*/ 344 w 1241"/>
                <a:gd name="T25" fmla="*/ 858 h 1511"/>
                <a:gd name="T26" fmla="*/ 326 w 1241"/>
                <a:gd name="T27" fmla="*/ 915 h 1511"/>
                <a:gd name="T28" fmla="*/ 286 w 1241"/>
                <a:gd name="T29" fmla="*/ 943 h 1511"/>
                <a:gd name="T30" fmla="*/ 215 w 1241"/>
                <a:gd name="T31" fmla="*/ 939 h 1511"/>
                <a:gd name="T32" fmla="*/ 168 w 1241"/>
                <a:gd name="T33" fmla="*/ 1002 h 1511"/>
                <a:gd name="T34" fmla="*/ 112 w 1241"/>
                <a:gd name="T35" fmla="*/ 1037 h 1511"/>
                <a:gd name="T36" fmla="*/ 62 w 1241"/>
                <a:gd name="T37" fmla="*/ 1050 h 1511"/>
                <a:gd name="T38" fmla="*/ 16 w 1241"/>
                <a:gd name="T39" fmla="*/ 1117 h 1511"/>
                <a:gd name="T40" fmla="*/ 2 w 1241"/>
                <a:gd name="T41" fmla="*/ 1190 h 1511"/>
                <a:gd name="T42" fmla="*/ 54 w 1241"/>
                <a:gd name="T43" fmla="*/ 1251 h 1511"/>
                <a:gd name="T44" fmla="*/ 139 w 1241"/>
                <a:gd name="T45" fmla="*/ 1299 h 1511"/>
                <a:gd name="T46" fmla="*/ 200 w 1241"/>
                <a:gd name="T47" fmla="*/ 1294 h 1511"/>
                <a:gd name="T48" fmla="*/ 256 w 1241"/>
                <a:gd name="T49" fmla="*/ 1295 h 1511"/>
                <a:gd name="T50" fmla="*/ 326 w 1241"/>
                <a:gd name="T51" fmla="*/ 1338 h 1511"/>
                <a:gd name="T52" fmla="*/ 390 w 1241"/>
                <a:gd name="T53" fmla="*/ 1391 h 1511"/>
                <a:gd name="T54" fmla="*/ 476 w 1241"/>
                <a:gd name="T55" fmla="*/ 1398 h 1511"/>
                <a:gd name="T56" fmla="*/ 519 w 1241"/>
                <a:gd name="T57" fmla="*/ 1423 h 1511"/>
                <a:gd name="T58" fmla="*/ 560 w 1241"/>
                <a:gd name="T59" fmla="*/ 1456 h 1511"/>
                <a:gd name="T60" fmla="*/ 606 w 1241"/>
                <a:gd name="T61" fmla="*/ 1444 h 1511"/>
                <a:gd name="T62" fmla="*/ 644 w 1241"/>
                <a:gd name="T63" fmla="*/ 1415 h 1511"/>
                <a:gd name="T64" fmla="*/ 733 w 1241"/>
                <a:gd name="T65" fmla="*/ 1446 h 1511"/>
                <a:gd name="T66" fmla="*/ 847 w 1241"/>
                <a:gd name="T67" fmla="*/ 1511 h 1511"/>
                <a:gd name="T68" fmla="*/ 884 w 1241"/>
                <a:gd name="T69" fmla="*/ 1498 h 1511"/>
                <a:gd name="T70" fmla="*/ 923 w 1241"/>
                <a:gd name="T71" fmla="*/ 1470 h 1511"/>
                <a:gd name="T72" fmla="*/ 969 w 1241"/>
                <a:gd name="T73" fmla="*/ 1482 h 1511"/>
                <a:gd name="T74" fmla="*/ 1008 w 1241"/>
                <a:gd name="T75" fmla="*/ 1466 h 1511"/>
                <a:gd name="T76" fmla="*/ 1000 w 1241"/>
                <a:gd name="T77" fmla="*/ 1387 h 1511"/>
                <a:gd name="T78" fmla="*/ 1055 w 1241"/>
                <a:gd name="T79" fmla="*/ 1281 h 1511"/>
                <a:gd name="T80" fmla="*/ 1225 w 1241"/>
                <a:gd name="T81" fmla="*/ 1231 h 1511"/>
                <a:gd name="T82" fmla="*/ 1231 w 1241"/>
                <a:gd name="T83" fmla="*/ 1027 h 1511"/>
                <a:gd name="T84" fmla="*/ 1195 w 1241"/>
                <a:gd name="T85" fmla="*/ 902 h 1511"/>
                <a:gd name="T86" fmla="*/ 1104 w 1241"/>
                <a:gd name="T87" fmla="*/ 851 h 1511"/>
                <a:gd name="T88" fmla="*/ 1077 w 1241"/>
                <a:gd name="T89" fmla="*/ 801 h 1511"/>
                <a:gd name="T90" fmla="*/ 1091 w 1241"/>
                <a:gd name="T91" fmla="*/ 712 h 1511"/>
                <a:gd name="T92" fmla="*/ 1081 w 1241"/>
                <a:gd name="T93" fmla="*/ 557 h 1511"/>
                <a:gd name="T94" fmla="*/ 1076 w 1241"/>
                <a:gd name="T95" fmla="*/ 438 h 1511"/>
                <a:gd name="T96" fmla="*/ 1091 w 1241"/>
                <a:gd name="T97" fmla="*/ 368 h 1511"/>
                <a:gd name="T98" fmla="*/ 1071 w 1241"/>
                <a:gd name="T99" fmla="*/ 314 h 1511"/>
                <a:gd name="T100" fmla="*/ 1000 w 1241"/>
                <a:gd name="T101" fmla="*/ 205 h 1511"/>
                <a:gd name="T102" fmla="*/ 904 w 1241"/>
                <a:gd name="T103" fmla="*/ 109 h 1511"/>
                <a:gd name="T104" fmla="*/ 853 w 1241"/>
                <a:gd name="T105" fmla="*/ 21 h 1511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241"/>
                <a:gd name="T160" fmla="*/ 0 h 1511"/>
                <a:gd name="T161" fmla="*/ 1241 w 1241"/>
                <a:gd name="T162" fmla="*/ 1511 h 1511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241" h="1511">
                  <a:moveTo>
                    <a:pt x="832" y="12"/>
                  </a:moveTo>
                  <a:lnTo>
                    <a:pt x="816" y="49"/>
                  </a:lnTo>
                  <a:lnTo>
                    <a:pt x="799" y="87"/>
                  </a:lnTo>
                  <a:lnTo>
                    <a:pt x="781" y="124"/>
                  </a:lnTo>
                  <a:lnTo>
                    <a:pt x="764" y="163"/>
                  </a:lnTo>
                  <a:lnTo>
                    <a:pt x="745" y="200"/>
                  </a:lnTo>
                  <a:lnTo>
                    <a:pt x="727" y="237"/>
                  </a:lnTo>
                  <a:lnTo>
                    <a:pt x="707" y="273"/>
                  </a:lnTo>
                  <a:lnTo>
                    <a:pt x="687" y="308"/>
                  </a:lnTo>
                  <a:lnTo>
                    <a:pt x="667" y="350"/>
                  </a:lnTo>
                  <a:lnTo>
                    <a:pt x="646" y="389"/>
                  </a:lnTo>
                  <a:lnTo>
                    <a:pt x="635" y="406"/>
                  </a:lnTo>
                  <a:lnTo>
                    <a:pt x="622" y="422"/>
                  </a:lnTo>
                  <a:lnTo>
                    <a:pt x="608" y="438"/>
                  </a:lnTo>
                  <a:lnTo>
                    <a:pt x="591" y="452"/>
                  </a:lnTo>
                  <a:lnTo>
                    <a:pt x="583" y="456"/>
                  </a:lnTo>
                  <a:lnTo>
                    <a:pt x="575" y="460"/>
                  </a:lnTo>
                  <a:lnTo>
                    <a:pt x="566" y="462"/>
                  </a:lnTo>
                  <a:lnTo>
                    <a:pt x="556" y="466"/>
                  </a:lnTo>
                  <a:lnTo>
                    <a:pt x="535" y="472"/>
                  </a:lnTo>
                  <a:lnTo>
                    <a:pt x="514" y="477"/>
                  </a:lnTo>
                  <a:lnTo>
                    <a:pt x="504" y="481"/>
                  </a:lnTo>
                  <a:lnTo>
                    <a:pt x="495" y="485"/>
                  </a:lnTo>
                  <a:lnTo>
                    <a:pt x="487" y="490"/>
                  </a:lnTo>
                  <a:lnTo>
                    <a:pt x="479" y="496"/>
                  </a:lnTo>
                  <a:lnTo>
                    <a:pt x="474" y="502"/>
                  </a:lnTo>
                  <a:lnTo>
                    <a:pt x="468" y="510"/>
                  </a:lnTo>
                  <a:lnTo>
                    <a:pt x="466" y="520"/>
                  </a:lnTo>
                  <a:lnTo>
                    <a:pt x="464" y="530"/>
                  </a:lnTo>
                  <a:lnTo>
                    <a:pt x="464" y="541"/>
                  </a:lnTo>
                  <a:lnTo>
                    <a:pt x="466" y="550"/>
                  </a:lnTo>
                  <a:lnTo>
                    <a:pt x="468" y="558"/>
                  </a:lnTo>
                  <a:lnTo>
                    <a:pt x="470" y="566"/>
                  </a:lnTo>
                  <a:lnTo>
                    <a:pt x="476" y="580"/>
                  </a:lnTo>
                  <a:lnTo>
                    <a:pt x="483" y="592"/>
                  </a:lnTo>
                  <a:lnTo>
                    <a:pt x="490" y="602"/>
                  </a:lnTo>
                  <a:lnTo>
                    <a:pt x="495" y="613"/>
                  </a:lnTo>
                  <a:lnTo>
                    <a:pt x="498" y="618"/>
                  </a:lnTo>
                  <a:lnTo>
                    <a:pt x="499" y="625"/>
                  </a:lnTo>
                  <a:lnTo>
                    <a:pt x="500" y="632"/>
                  </a:lnTo>
                  <a:lnTo>
                    <a:pt x="500" y="638"/>
                  </a:lnTo>
                  <a:lnTo>
                    <a:pt x="500" y="644"/>
                  </a:lnTo>
                  <a:lnTo>
                    <a:pt x="499" y="649"/>
                  </a:lnTo>
                  <a:lnTo>
                    <a:pt x="498" y="654"/>
                  </a:lnTo>
                  <a:lnTo>
                    <a:pt x="495" y="658"/>
                  </a:lnTo>
                  <a:lnTo>
                    <a:pt x="490" y="666"/>
                  </a:lnTo>
                  <a:lnTo>
                    <a:pt x="483" y="674"/>
                  </a:lnTo>
                  <a:lnTo>
                    <a:pt x="476" y="682"/>
                  </a:lnTo>
                  <a:lnTo>
                    <a:pt x="470" y="692"/>
                  </a:lnTo>
                  <a:lnTo>
                    <a:pt x="468" y="696"/>
                  </a:lnTo>
                  <a:lnTo>
                    <a:pt x="466" y="701"/>
                  </a:lnTo>
                  <a:lnTo>
                    <a:pt x="464" y="705"/>
                  </a:lnTo>
                  <a:lnTo>
                    <a:pt x="464" y="710"/>
                  </a:lnTo>
                  <a:lnTo>
                    <a:pt x="466" y="717"/>
                  </a:lnTo>
                  <a:lnTo>
                    <a:pt x="468" y="724"/>
                  </a:lnTo>
                  <a:lnTo>
                    <a:pt x="472" y="730"/>
                  </a:lnTo>
                  <a:lnTo>
                    <a:pt x="476" y="736"/>
                  </a:lnTo>
                  <a:lnTo>
                    <a:pt x="480" y="742"/>
                  </a:lnTo>
                  <a:lnTo>
                    <a:pt x="484" y="749"/>
                  </a:lnTo>
                  <a:lnTo>
                    <a:pt x="487" y="757"/>
                  </a:lnTo>
                  <a:lnTo>
                    <a:pt x="488" y="765"/>
                  </a:lnTo>
                  <a:lnTo>
                    <a:pt x="488" y="776"/>
                  </a:lnTo>
                  <a:lnTo>
                    <a:pt x="486" y="785"/>
                  </a:lnTo>
                  <a:lnTo>
                    <a:pt x="482" y="793"/>
                  </a:lnTo>
                  <a:lnTo>
                    <a:pt x="478" y="801"/>
                  </a:lnTo>
                  <a:lnTo>
                    <a:pt x="472" y="809"/>
                  </a:lnTo>
                  <a:lnTo>
                    <a:pt x="466" y="815"/>
                  </a:lnTo>
                  <a:lnTo>
                    <a:pt x="458" y="822"/>
                  </a:lnTo>
                  <a:lnTo>
                    <a:pt x="450" y="827"/>
                  </a:lnTo>
                  <a:lnTo>
                    <a:pt x="440" y="833"/>
                  </a:lnTo>
                  <a:lnTo>
                    <a:pt x="431" y="837"/>
                  </a:lnTo>
                  <a:lnTo>
                    <a:pt x="422" y="841"/>
                  </a:lnTo>
                  <a:lnTo>
                    <a:pt x="412" y="843"/>
                  </a:lnTo>
                  <a:lnTo>
                    <a:pt x="392" y="847"/>
                  </a:lnTo>
                  <a:lnTo>
                    <a:pt x="374" y="849"/>
                  </a:lnTo>
                  <a:lnTo>
                    <a:pt x="362" y="850"/>
                  </a:lnTo>
                  <a:lnTo>
                    <a:pt x="352" y="853"/>
                  </a:lnTo>
                  <a:lnTo>
                    <a:pt x="344" y="858"/>
                  </a:lnTo>
                  <a:lnTo>
                    <a:pt x="339" y="865"/>
                  </a:lnTo>
                  <a:lnTo>
                    <a:pt x="335" y="871"/>
                  </a:lnTo>
                  <a:lnTo>
                    <a:pt x="332" y="879"/>
                  </a:lnTo>
                  <a:lnTo>
                    <a:pt x="330" y="889"/>
                  </a:lnTo>
                  <a:lnTo>
                    <a:pt x="328" y="898"/>
                  </a:lnTo>
                  <a:lnTo>
                    <a:pt x="326" y="915"/>
                  </a:lnTo>
                  <a:lnTo>
                    <a:pt x="320" y="930"/>
                  </a:lnTo>
                  <a:lnTo>
                    <a:pt x="318" y="937"/>
                  </a:lnTo>
                  <a:lnTo>
                    <a:pt x="312" y="942"/>
                  </a:lnTo>
                  <a:lnTo>
                    <a:pt x="304" y="945"/>
                  </a:lnTo>
                  <a:lnTo>
                    <a:pt x="296" y="946"/>
                  </a:lnTo>
                  <a:lnTo>
                    <a:pt x="286" y="943"/>
                  </a:lnTo>
                  <a:lnTo>
                    <a:pt x="274" y="939"/>
                  </a:lnTo>
                  <a:lnTo>
                    <a:pt x="259" y="935"/>
                  </a:lnTo>
                  <a:lnTo>
                    <a:pt x="242" y="934"/>
                  </a:lnTo>
                  <a:lnTo>
                    <a:pt x="232" y="934"/>
                  </a:lnTo>
                  <a:lnTo>
                    <a:pt x="223" y="937"/>
                  </a:lnTo>
                  <a:lnTo>
                    <a:pt x="215" y="939"/>
                  </a:lnTo>
                  <a:lnTo>
                    <a:pt x="208" y="945"/>
                  </a:lnTo>
                  <a:lnTo>
                    <a:pt x="202" y="950"/>
                  </a:lnTo>
                  <a:lnTo>
                    <a:pt x="195" y="957"/>
                  </a:lnTo>
                  <a:lnTo>
                    <a:pt x="190" y="963"/>
                  </a:lnTo>
                  <a:lnTo>
                    <a:pt x="186" y="970"/>
                  </a:lnTo>
                  <a:lnTo>
                    <a:pt x="168" y="1002"/>
                  </a:lnTo>
                  <a:lnTo>
                    <a:pt x="151" y="1030"/>
                  </a:lnTo>
                  <a:lnTo>
                    <a:pt x="144" y="1035"/>
                  </a:lnTo>
                  <a:lnTo>
                    <a:pt x="136" y="1038"/>
                  </a:lnTo>
                  <a:lnTo>
                    <a:pt x="128" y="1038"/>
                  </a:lnTo>
                  <a:lnTo>
                    <a:pt x="120" y="1038"/>
                  </a:lnTo>
                  <a:lnTo>
                    <a:pt x="112" y="1037"/>
                  </a:lnTo>
                  <a:lnTo>
                    <a:pt x="103" y="1035"/>
                  </a:lnTo>
                  <a:lnTo>
                    <a:pt x="94" y="1034"/>
                  </a:lnTo>
                  <a:lnTo>
                    <a:pt x="86" y="1035"/>
                  </a:lnTo>
                  <a:lnTo>
                    <a:pt x="78" y="1039"/>
                  </a:lnTo>
                  <a:lnTo>
                    <a:pt x="70" y="1043"/>
                  </a:lnTo>
                  <a:lnTo>
                    <a:pt x="62" y="1050"/>
                  </a:lnTo>
                  <a:lnTo>
                    <a:pt x="54" y="1057"/>
                  </a:lnTo>
                  <a:lnTo>
                    <a:pt x="47" y="1065"/>
                  </a:lnTo>
                  <a:lnTo>
                    <a:pt x="40" y="1074"/>
                  </a:lnTo>
                  <a:lnTo>
                    <a:pt x="34" y="1085"/>
                  </a:lnTo>
                  <a:lnTo>
                    <a:pt x="27" y="1094"/>
                  </a:lnTo>
                  <a:lnTo>
                    <a:pt x="16" y="1117"/>
                  </a:lnTo>
                  <a:lnTo>
                    <a:pt x="8" y="1139"/>
                  </a:lnTo>
                  <a:lnTo>
                    <a:pt x="4" y="1150"/>
                  </a:lnTo>
                  <a:lnTo>
                    <a:pt x="3" y="1161"/>
                  </a:lnTo>
                  <a:lnTo>
                    <a:pt x="2" y="1171"/>
                  </a:lnTo>
                  <a:lnTo>
                    <a:pt x="0" y="1181"/>
                  </a:lnTo>
                  <a:lnTo>
                    <a:pt x="2" y="1190"/>
                  </a:lnTo>
                  <a:lnTo>
                    <a:pt x="6" y="1199"/>
                  </a:lnTo>
                  <a:lnTo>
                    <a:pt x="12" y="1210"/>
                  </a:lnTo>
                  <a:lnTo>
                    <a:pt x="20" y="1221"/>
                  </a:lnTo>
                  <a:lnTo>
                    <a:pt x="30" y="1231"/>
                  </a:lnTo>
                  <a:lnTo>
                    <a:pt x="42" y="1242"/>
                  </a:lnTo>
                  <a:lnTo>
                    <a:pt x="54" y="1251"/>
                  </a:lnTo>
                  <a:lnTo>
                    <a:pt x="68" y="1262"/>
                  </a:lnTo>
                  <a:lnTo>
                    <a:pt x="82" y="1271"/>
                  </a:lnTo>
                  <a:lnTo>
                    <a:pt x="96" y="1279"/>
                  </a:lnTo>
                  <a:lnTo>
                    <a:pt x="111" y="1287"/>
                  </a:lnTo>
                  <a:lnTo>
                    <a:pt x="126" y="1294"/>
                  </a:lnTo>
                  <a:lnTo>
                    <a:pt x="139" y="1299"/>
                  </a:lnTo>
                  <a:lnTo>
                    <a:pt x="152" y="1303"/>
                  </a:lnTo>
                  <a:lnTo>
                    <a:pt x="164" y="1306"/>
                  </a:lnTo>
                  <a:lnTo>
                    <a:pt x="175" y="1307"/>
                  </a:lnTo>
                  <a:lnTo>
                    <a:pt x="184" y="1305"/>
                  </a:lnTo>
                  <a:lnTo>
                    <a:pt x="195" y="1298"/>
                  </a:lnTo>
                  <a:lnTo>
                    <a:pt x="200" y="1294"/>
                  </a:lnTo>
                  <a:lnTo>
                    <a:pt x="207" y="1291"/>
                  </a:lnTo>
                  <a:lnTo>
                    <a:pt x="215" y="1290"/>
                  </a:lnTo>
                  <a:lnTo>
                    <a:pt x="223" y="1289"/>
                  </a:lnTo>
                  <a:lnTo>
                    <a:pt x="235" y="1290"/>
                  </a:lnTo>
                  <a:lnTo>
                    <a:pt x="246" y="1291"/>
                  </a:lnTo>
                  <a:lnTo>
                    <a:pt x="256" y="1295"/>
                  </a:lnTo>
                  <a:lnTo>
                    <a:pt x="267" y="1299"/>
                  </a:lnTo>
                  <a:lnTo>
                    <a:pt x="278" y="1303"/>
                  </a:lnTo>
                  <a:lnTo>
                    <a:pt x="288" y="1310"/>
                  </a:lnTo>
                  <a:lnTo>
                    <a:pt x="298" y="1315"/>
                  </a:lnTo>
                  <a:lnTo>
                    <a:pt x="307" y="1323"/>
                  </a:lnTo>
                  <a:lnTo>
                    <a:pt x="326" y="1338"/>
                  </a:lnTo>
                  <a:lnTo>
                    <a:pt x="342" y="1353"/>
                  </a:lnTo>
                  <a:lnTo>
                    <a:pt x="356" y="1367"/>
                  </a:lnTo>
                  <a:lnTo>
                    <a:pt x="368" y="1379"/>
                  </a:lnTo>
                  <a:lnTo>
                    <a:pt x="375" y="1384"/>
                  </a:lnTo>
                  <a:lnTo>
                    <a:pt x="382" y="1388"/>
                  </a:lnTo>
                  <a:lnTo>
                    <a:pt x="390" y="1391"/>
                  </a:lnTo>
                  <a:lnTo>
                    <a:pt x="396" y="1392"/>
                  </a:lnTo>
                  <a:lnTo>
                    <a:pt x="411" y="1395"/>
                  </a:lnTo>
                  <a:lnTo>
                    <a:pt x="427" y="1395"/>
                  </a:lnTo>
                  <a:lnTo>
                    <a:pt x="443" y="1395"/>
                  </a:lnTo>
                  <a:lnTo>
                    <a:pt x="459" y="1396"/>
                  </a:lnTo>
                  <a:lnTo>
                    <a:pt x="476" y="1398"/>
                  </a:lnTo>
                  <a:lnTo>
                    <a:pt x="495" y="1403"/>
                  </a:lnTo>
                  <a:lnTo>
                    <a:pt x="499" y="1404"/>
                  </a:lnTo>
                  <a:lnTo>
                    <a:pt x="503" y="1407"/>
                  </a:lnTo>
                  <a:lnTo>
                    <a:pt x="507" y="1410"/>
                  </a:lnTo>
                  <a:lnTo>
                    <a:pt x="511" y="1414"/>
                  </a:lnTo>
                  <a:lnTo>
                    <a:pt x="519" y="1423"/>
                  </a:lnTo>
                  <a:lnTo>
                    <a:pt x="526" y="1432"/>
                  </a:lnTo>
                  <a:lnTo>
                    <a:pt x="535" y="1442"/>
                  </a:lnTo>
                  <a:lnTo>
                    <a:pt x="544" y="1450"/>
                  </a:lnTo>
                  <a:lnTo>
                    <a:pt x="548" y="1452"/>
                  </a:lnTo>
                  <a:lnTo>
                    <a:pt x="555" y="1455"/>
                  </a:lnTo>
                  <a:lnTo>
                    <a:pt x="560" y="1456"/>
                  </a:lnTo>
                  <a:lnTo>
                    <a:pt x="567" y="1458"/>
                  </a:lnTo>
                  <a:lnTo>
                    <a:pt x="575" y="1456"/>
                  </a:lnTo>
                  <a:lnTo>
                    <a:pt x="583" y="1455"/>
                  </a:lnTo>
                  <a:lnTo>
                    <a:pt x="590" y="1454"/>
                  </a:lnTo>
                  <a:lnTo>
                    <a:pt x="595" y="1451"/>
                  </a:lnTo>
                  <a:lnTo>
                    <a:pt x="606" y="1444"/>
                  </a:lnTo>
                  <a:lnTo>
                    <a:pt x="614" y="1436"/>
                  </a:lnTo>
                  <a:lnTo>
                    <a:pt x="622" y="1428"/>
                  </a:lnTo>
                  <a:lnTo>
                    <a:pt x="630" y="1422"/>
                  </a:lnTo>
                  <a:lnTo>
                    <a:pt x="634" y="1419"/>
                  </a:lnTo>
                  <a:lnTo>
                    <a:pt x="639" y="1416"/>
                  </a:lnTo>
                  <a:lnTo>
                    <a:pt x="644" y="1415"/>
                  </a:lnTo>
                  <a:lnTo>
                    <a:pt x="651" y="1415"/>
                  </a:lnTo>
                  <a:lnTo>
                    <a:pt x="664" y="1416"/>
                  </a:lnTo>
                  <a:lnTo>
                    <a:pt x="678" y="1419"/>
                  </a:lnTo>
                  <a:lnTo>
                    <a:pt x="691" y="1424"/>
                  </a:lnTo>
                  <a:lnTo>
                    <a:pt x="705" y="1430"/>
                  </a:lnTo>
                  <a:lnTo>
                    <a:pt x="733" y="1446"/>
                  </a:lnTo>
                  <a:lnTo>
                    <a:pt x="763" y="1463"/>
                  </a:lnTo>
                  <a:lnTo>
                    <a:pt x="789" y="1480"/>
                  </a:lnTo>
                  <a:lnTo>
                    <a:pt x="815" y="1496"/>
                  </a:lnTo>
                  <a:lnTo>
                    <a:pt x="827" y="1503"/>
                  </a:lnTo>
                  <a:lnTo>
                    <a:pt x="837" y="1507"/>
                  </a:lnTo>
                  <a:lnTo>
                    <a:pt x="847" y="1511"/>
                  </a:lnTo>
                  <a:lnTo>
                    <a:pt x="856" y="1511"/>
                  </a:lnTo>
                  <a:lnTo>
                    <a:pt x="861" y="1511"/>
                  </a:lnTo>
                  <a:lnTo>
                    <a:pt x="867" y="1510"/>
                  </a:lnTo>
                  <a:lnTo>
                    <a:pt x="871" y="1507"/>
                  </a:lnTo>
                  <a:lnTo>
                    <a:pt x="876" y="1504"/>
                  </a:lnTo>
                  <a:lnTo>
                    <a:pt x="884" y="1498"/>
                  </a:lnTo>
                  <a:lnTo>
                    <a:pt x="892" y="1491"/>
                  </a:lnTo>
                  <a:lnTo>
                    <a:pt x="900" y="1483"/>
                  </a:lnTo>
                  <a:lnTo>
                    <a:pt x="908" y="1476"/>
                  </a:lnTo>
                  <a:lnTo>
                    <a:pt x="913" y="1474"/>
                  </a:lnTo>
                  <a:lnTo>
                    <a:pt x="917" y="1471"/>
                  </a:lnTo>
                  <a:lnTo>
                    <a:pt x="923" y="1470"/>
                  </a:lnTo>
                  <a:lnTo>
                    <a:pt x="928" y="1470"/>
                  </a:lnTo>
                  <a:lnTo>
                    <a:pt x="937" y="1470"/>
                  </a:lnTo>
                  <a:lnTo>
                    <a:pt x="945" y="1472"/>
                  </a:lnTo>
                  <a:lnTo>
                    <a:pt x="953" y="1475"/>
                  </a:lnTo>
                  <a:lnTo>
                    <a:pt x="961" y="1479"/>
                  </a:lnTo>
                  <a:lnTo>
                    <a:pt x="969" y="1482"/>
                  </a:lnTo>
                  <a:lnTo>
                    <a:pt x="977" y="1484"/>
                  </a:lnTo>
                  <a:lnTo>
                    <a:pt x="985" y="1487"/>
                  </a:lnTo>
                  <a:lnTo>
                    <a:pt x="995" y="1487"/>
                  </a:lnTo>
                  <a:lnTo>
                    <a:pt x="1000" y="1482"/>
                  </a:lnTo>
                  <a:lnTo>
                    <a:pt x="1005" y="1474"/>
                  </a:lnTo>
                  <a:lnTo>
                    <a:pt x="1008" y="1466"/>
                  </a:lnTo>
                  <a:lnTo>
                    <a:pt x="1009" y="1456"/>
                  </a:lnTo>
                  <a:lnTo>
                    <a:pt x="1011" y="1447"/>
                  </a:lnTo>
                  <a:lnTo>
                    <a:pt x="1011" y="1438"/>
                  </a:lnTo>
                  <a:lnTo>
                    <a:pt x="1009" y="1428"/>
                  </a:lnTo>
                  <a:lnTo>
                    <a:pt x="1008" y="1419"/>
                  </a:lnTo>
                  <a:lnTo>
                    <a:pt x="1000" y="1387"/>
                  </a:lnTo>
                  <a:lnTo>
                    <a:pt x="995" y="1372"/>
                  </a:lnTo>
                  <a:lnTo>
                    <a:pt x="1013" y="1341"/>
                  </a:lnTo>
                  <a:lnTo>
                    <a:pt x="1028" y="1313"/>
                  </a:lnTo>
                  <a:lnTo>
                    <a:pt x="1036" y="1301"/>
                  </a:lnTo>
                  <a:lnTo>
                    <a:pt x="1044" y="1290"/>
                  </a:lnTo>
                  <a:lnTo>
                    <a:pt x="1055" y="1281"/>
                  </a:lnTo>
                  <a:lnTo>
                    <a:pt x="1067" y="1271"/>
                  </a:lnTo>
                  <a:lnTo>
                    <a:pt x="1205" y="1271"/>
                  </a:lnTo>
                  <a:lnTo>
                    <a:pt x="1212" y="1261"/>
                  </a:lnTo>
                  <a:lnTo>
                    <a:pt x="1217" y="1251"/>
                  </a:lnTo>
                  <a:lnTo>
                    <a:pt x="1221" y="1241"/>
                  </a:lnTo>
                  <a:lnTo>
                    <a:pt x="1225" y="1231"/>
                  </a:lnTo>
                  <a:lnTo>
                    <a:pt x="1231" y="1211"/>
                  </a:lnTo>
                  <a:lnTo>
                    <a:pt x="1235" y="1190"/>
                  </a:lnTo>
                  <a:lnTo>
                    <a:pt x="1239" y="1146"/>
                  </a:lnTo>
                  <a:lnTo>
                    <a:pt x="1241" y="1097"/>
                  </a:lnTo>
                  <a:lnTo>
                    <a:pt x="1239" y="1075"/>
                  </a:lnTo>
                  <a:lnTo>
                    <a:pt x="1231" y="1027"/>
                  </a:lnTo>
                  <a:lnTo>
                    <a:pt x="1224" y="998"/>
                  </a:lnTo>
                  <a:lnTo>
                    <a:pt x="1219" y="969"/>
                  </a:lnTo>
                  <a:lnTo>
                    <a:pt x="1212" y="943"/>
                  </a:lnTo>
                  <a:lnTo>
                    <a:pt x="1205" y="922"/>
                  </a:lnTo>
                  <a:lnTo>
                    <a:pt x="1201" y="911"/>
                  </a:lnTo>
                  <a:lnTo>
                    <a:pt x="1195" y="902"/>
                  </a:lnTo>
                  <a:lnTo>
                    <a:pt x="1188" y="895"/>
                  </a:lnTo>
                  <a:lnTo>
                    <a:pt x="1180" y="889"/>
                  </a:lnTo>
                  <a:lnTo>
                    <a:pt x="1161" y="878"/>
                  </a:lnTo>
                  <a:lnTo>
                    <a:pt x="1141" y="870"/>
                  </a:lnTo>
                  <a:lnTo>
                    <a:pt x="1121" y="862"/>
                  </a:lnTo>
                  <a:lnTo>
                    <a:pt x="1104" y="851"/>
                  </a:lnTo>
                  <a:lnTo>
                    <a:pt x="1096" y="846"/>
                  </a:lnTo>
                  <a:lnTo>
                    <a:pt x="1088" y="838"/>
                  </a:lnTo>
                  <a:lnTo>
                    <a:pt x="1083" y="830"/>
                  </a:lnTo>
                  <a:lnTo>
                    <a:pt x="1079" y="819"/>
                  </a:lnTo>
                  <a:lnTo>
                    <a:pt x="1077" y="810"/>
                  </a:lnTo>
                  <a:lnTo>
                    <a:pt x="1077" y="801"/>
                  </a:lnTo>
                  <a:lnTo>
                    <a:pt x="1080" y="793"/>
                  </a:lnTo>
                  <a:lnTo>
                    <a:pt x="1083" y="785"/>
                  </a:lnTo>
                  <a:lnTo>
                    <a:pt x="1088" y="770"/>
                  </a:lnTo>
                  <a:lnTo>
                    <a:pt x="1091" y="760"/>
                  </a:lnTo>
                  <a:lnTo>
                    <a:pt x="1091" y="740"/>
                  </a:lnTo>
                  <a:lnTo>
                    <a:pt x="1091" y="712"/>
                  </a:lnTo>
                  <a:lnTo>
                    <a:pt x="1091" y="681"/>
                  </a:lnTo>
                  <a:lnTo>
                    <a:pt x="1091" y="650"/>
                  </a:lnTo>
                  <a:lnTo>
                    <a:pt x="1089" y="626"/>
                  </a:lnTo>
                  <a:lnTo>
                    <a:pt x="1088" y="602"/>
                  </a:lnTo>
                  <a:lnTo>
                    <a:pt x="1085" y="580"/>
                  </a:lnTo>
                  <a:lnTo>
                    <a:pt x="1081" y="557"/>
                  </a:lnTo>
                  <a:lnTo>
                    <a:pt x="1079" y="534"/>
                  </a:lnTo>
                  <a:lnTo>
                    <a:pt x="1076" y="512"/>
                  </a:lnTo>
                  <a:lnTo>
                    <a:pt x="1073" y="488"/>
                  </a:lnTo>
                  <a:lnTo>
                    <a:pt x="1072" y="464"/>
                  </a:lnTo>
                  <a:lnTo>
                    <a:pt x="1073" y="450"/>
                  </a:lnTo>
                  <a:lnTo>
                    <a:pt x="1076" y="438"/>
                  </a:lnTo>
                  <a:lnTo>
                    <a:pt x="1079" y="428"/>
                  </a:lnTo>
                  <a:lnTo>
                    <a:pt x="1081" y="416"/>
                  </a:lnTo>
                  <a:lnTo>
                    <a:pt x="1085" y="405"/>
                  </a:lnTo>
                  <a:lnTo>
                    <a:pt x="1088" y="393"/>
                  </a:lnTo>
                  <a:lnTo>
                    <a:pt x="1089" y="381"/>
                  </a:lnTo>
                  <a:lnTo>
                    <a:pt x="1091" y="368"/>
                  </a:lnTo>
                  <a:lnTo>
                    <a:pt x="1091" y="360"/>
                  </a:lnTo>
                  <a:lnTo>
                    <a:pt x="1089" y="353"/>
                  </a:lnTo>
                  <a:lnTo>
                    <a:pt x="1087" y="345"/>
                  </a:lnTo>
                  <a:lnTo>
                    <a:pt x="1085" y="338"/>
                  </a:lnTo>
                  <a:lnTo>
                    <a:pt x="1079" y="326"/>
                  </a:lnTo>
                  <a:lnTo>
                    <a:pt x="1071" y="314"/>
                  </a:lnTo>
                  <a:lnTo>
                    <a:pt x="1052" y="293"/>
                  </a:lnTo>
                  <a:lnTo>
                    <a:pt x="1036" y="272"/>
                  </a:lnTo>
                  <a:lnTo>
                    <a:pt x="1029" y="252"/>
                  </a:lnTo>
                  <a:lnTo>
                    <a:pt x="1020" y="234"/>
                  </a:lnTo>
                  <a:lnTo>
                    <a:pt x="1011" y="220"/>
                  </a:lnTo>
                  <a:lnTo>
                    <a:pt x="1000" y="205"/>
                  </a:lnTo>
                  <a:lnTo>
                    <a:pt x="977" y="181"/>
                  </a:lnTo>
                  <a:lnTo>
                    <a:pt x="952" y="159"/>
                  </a:lnTo>
                  <a:lnTo>
                    <a:pt x="940" y="147"/>
                  </a:lnTo>
                  <a:lnTo>
                    <a:pt x="928" y="135"/>
                  </a:lnTo>
                  <a:lnTo>
                    <a:pt x="916" y="123"/>
                  </a:lnTo>
                  <a:lnTo>
                    <a:pt x="904" y="109"/>
                  </a:lnTo>
                  <a:lnTo>
                    <a:pt x="893" y="93"/>
                  </a:lnTo>
                  <a:lnTo>
                    <a:pt x="884" y="77"/>
                  </a:lnTo>
                  <a:lnTo>
                    <a:pt x="875" y="57"/>
                  </a:lnTo>
                  <a:lnTo>
                    <a:pt x="868" y="36"/>
                  </a:lnTo>
                  <a:lnTo>
                    <a:pt x="863" y="31"/>
                  </a:lnTo>
                  <a:lnTo>
                    <a:pt x="853" y="21"/>
                  </a:lnTo>
                  <a:lnTo>
                    <a:pt x="847" y="16"/>
                  </a:lnTo>
                  <a:lnTo>
                    <a:pt x="843" y="11"/>
                  </a:lnTo>
                  <a:lnTo>
                    <a:pt x="839" y="5"/>
                  </a:lnTo>
                  <a:lnTo>
                    <a:pt x="837" y="0"/>
                  </a:lnTo>
                  <a:lnTo>
                    <a:pt x="832" y="12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accent1">
                  <a:lumMod val="20000"/>
                  <a:lumOff val="8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95" b="0" i="0" u="none" strike="noStrike" kern="1200" cap="none" spc="0" normalizeH="0" baseline="0" noProof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0" name="Freeform 45"/>
            <p:cNvSpPr>
              <a:spLocks/>
            </p:cNvSpPr>
            <p:nvPr/>
          </p:nvSpPr>
          <p:spPr bwMode="auto">
            <a:xfrm>
              <a:off x="4867638" y="2270049"/>
              <a:ext cx="103051" cy="86544"/>
            </a:xfrm>
            <a:custGeom>
              <a:avLst/>
              <a:gdLst>
                <a:gd name="T0" fmla="*/ 644 w 1433"/>
                <a:gd name="T1" fmla="*/ 218 h 1196"/>
                <a:gd name="T2" fmla="*/ 633 w 1433"/>
                <a:gd name="T3" fmla="*/ 313 h 1196"/>
                <a:gd name="T4" fmla="*/ 673 w 1433"/>
                <a:gd name="T5" fmla="*/ 372 h 1196"/>
                <a:gd name="T6" fmla="*/ 725 w 1433"/>
                <a:gd name="T7" fmla="*/ 409 h 1196"/>
                <a:gd name="T8" fmla="*/ 738 w 1433"/>
                <a:gd name="T9" fmla="*/ 464 h 1196"/>
                <a:gd name="T10" fmla="*/ 773 w 1433"/>
                <a:gd name="T11" fmla="*/ 473 h 1196"/>
                <a:gd name="T12" fmla="*/ 820 w 1433"/>
                <a:gd name="T13" fmla="*/ 487 h 1196"/>
                <a:gd name="T14" fmla="*/ 840 w 1433"/>
                <a:gd name="T15" fmla="*/ 549 h 1196"/>
                <a:gd name="T16" fmla="*/ 894 w 1433"/>
                <a:gd name="T17" fmla="*/ 554 h 1196"/>
                <a:gd name="T18" fmla="*/ 945 w 1433"/>
                <a:gd name="T19" fmla="*/ 575 h 1196"/>
                <a:gd name="T20" fmla="*/ 1018 w 1433"/>
                <a:gd name="T21" fmla="*/ 625 h 1196"/>
                <a:gd name="T22" fmla="*/ 1040 w 1433"/>
                <a:gd name="T23" fmla="*/ 679 h 1196"/>
                <a:gd name="T24" fmla="*/ 1190 w 1433"/>
                <a:gd name="T25" fmla="*/ 726 h 1196"/>
                <a:gd name="T26" fmla="*/ 1238 w 1433"/>
                <a:gd name="T27" fmla="*/ 798 h 1196"/>
                <a:gd name="T28" fmla="*/ 1275 w 1433"/>
                <a:gd name="T29" fmla="*/ 795 h 1196"/>
                <a:gd name="T30" fmla="*/ 1309 w 1433"/>
                <a:gd name="T31" fmla="*/ 766 h 1196"/>
                <a:gd name="T32" fmla="*/ 1350 w 1433"/>
                <a:gd name="T33" fmla="*/ 778 h 1196"/>
                <a:gd name="T34" fmla="*/ 1355 w 1433"/>
                <a:gd name="T35" fmla="*/ 813 h 1196"/>
                <a:gd name="T36" fmla="*/ 1353 w 1433"/>
                <a:gd name="T37" fmla="*/ 858 h 1196"/>
                <a:gd name="T38" fmla="*/ 1413 w 1433"/>
                <a:gd name="T39" fmla="*/ 901 h 1196"/>
                <a:gd name="T40" fmla="*/ 1399 w 1433"/>
                <a:gd name="T41" fmla="*/ 953 h 1196"/>
                <a:gd name="T42" fmla="*/ 1269 w 1433"/>
                <a:gd name="T43" fmla="*/ 1112 h 1196"/>
                <a:gd name="T44" fmla="*/ 1171 w 1433"/>
                <a:gd name="T45" fmla="*/ 1186 h 1196"/>
                <a:gd name="T46" fmla="*/ 1093 w 1433"/>
                <a:gd name="T47" fmla="*/ 1194 h 1196"/>
                <a:gd name="T48" fmla="*/ 1010 w 1433"/>
                <a:gd name="T49" fmla="*/ 1159 h 1196"/>
                <a:gd name="T50" fmla="*/ 957 w 1433"/>
                <a:gd name="T51" fmla="*/ 1102 h 1196"/>
                <a:gd name="T52" fmla="*/ 810 w 1433"/>
                <a:gd name="T53" fmla="*/ 989 h 1196"/>
                <a:gd name="T54" fmla="*/ 756 w 1433"/>
                <a:gd name="T55" fmla="*/ 922 h 1196"/>
                <a:gd name="T56" fmla="*/ 734 w 1433"/>
                <a:gd name="T57" fmla="*/ 867 h 1196"/>
                <a:gd name="T58" fmla="*/ 706 w 1433"/>
                <a:gd name="T59" fmla="*/ 910 h 1196"/>
                <a:gd name="T60" fmla="*/ 670 w 1433"/>
                <a:gd name="T61" fmla="*/ 911 h 1196"/>
                <a:gd name="T62" fmla="*/ 608 w 1433"/>
                <a:gd name="T63" fmla="*/ 886 h 1196"/>
                <a:gd name="T64" fmla="*/ 562 w 1433"/>
                <a:gd name="T65" fmla="*/ 903 h 1196"/>
                <a:gd name="T66" fmla="*/ 512 w 1433"/>
                <a:gd name="T67" fmla="*/ 922 h 1196"/>
                <a:gd name="T68" fmla="*/ 465 w 1433"/>
                <a:gd name="T69" fmla="*/ 901 h 1196"/>
                <a:gd name="T70" fmla="*/ 430 w 1433"/>
                <a:gd name="T71" fmla="*/ 807 h 1196"/>
                <a:gd name="T72" fmla="*/ 399 w 1433"/>
                <a:gd name="T73" fmla="*/ 714 h 1196"/>
                <a:gd name="T74" fmla="*/ 355 w 1433"/>
                <a:gd name="T75" fmla="*/ 693 h 1196"/>
                <a:gd name="T76" fmla="*/ 331 w 1433"/>
                <a:gd name="T77" fmla="*/ 717 h 1196"/>
                <a:gd name="T78" fmla="*/ 280 w 1433"/>
                <a:gd name="T79" fmla="*/ 683 h 1196"/>
                <a:gd name="T80" fmla="*/ 228 w 1433"/>
                <a:gd name="T81" fmla="*/ 650 h 1196"/>
                <a:gd name="T82" fmla="*/ 179 w 1433"/>
                <a:gd name="T83" fmla="*/ 646 h 1196"/>
                <a:gd name="T84" fmla="*/ 173 w 1433"/>
                <a:gd name="T85" fmla="*/ 567 h 1196"/>
                <a:gd name="T86" fmla="*/ 157 w 1433"/>
                <a:gd name="T87" fmla="*/ 533 h 1196"/>
                <a:gd name="T88" fmla="*/ 113 w 1433"/>
                <a:gd name="T89" fmla="*/ 545 h 1196"/>
                <a:gd name="T90" fmla="*/ 71 w 1433"/>
                <a:gd name="T91" fmla="*/ 558 h 1196"/>
                <a:gd name="T92" fmla="*/ 60 w 1433"/>
                <a:gd name="T93" fmla="*/ 530 h 1196"/>
                <a:gd name="T94" fmla="*/ 67 w 1433"/>
                <a:gd name="T95" fmla="*/ 424 h 1196"/>
                <a:gd name="T96" fmla="*/ 9 w 1433"/>
                <a:gd name="T97" fmla="*/ 392 h 1196"/>
                <a:gd name="T98" fmla="*/ 4 w 1433"/>
                <a:gd name="T99" fmla="*/ 358 h 1196"/>
                <a:gd name="T100" fmla="*/ 24 w 1433"/>
                <a:gd name="T101" fmla="*/ 284 h 1196"/>
                <a:gd name="T102" fmla="*/ 108 w 1433"/>
                <a:gd name="T103" fmla="*/ 301 h 1196"/>
                <a:gd name="T104" fmla="*/ 188 w 1433"/>
                <a:gd name="T105" fmla="*/ 261 h 1196"/>
                <a:gd name="T106" fmla="*/ 207 w 1433"/>
                <a:gd name="T107" fmla="*/ 218 h 1196"/>
                <a:gd name="T108" fmla="*/ 203 w 1433"/>
                <a:gd name="T109" fmla="*/ 162 h 1196"/>
                <a:gd name="T110" fmla="*/ 261 w 1433"/>
                <a:gd name="T111" fmla="*/ 109 h 1196"/>
                <a:gd name="T112" fmla="*/ 457 w 1433"/>
                <a:gd name="T113" fmla="*/ 0 h 1196"/>
                <a:gd name="T114" fmla="*/ 540 w 1433"/>
                <a:gd name="T115" fmla="*/ 20 h 1196"/>
                <a:gd name="T116" fmla="*/ 626 w 1433"/>
                <a:gd name="T117" fmla="*/ 30 h 1196"/>
                <a:gd name="T118" fmla="*/ 669 w 1433"/>
                <a:gd name="T119" fmla="*/ 98 h 119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433"/>
                <a:gd name="T181" fmla="*/ 0 h 1196"/>
                <a:gd name="T182" fmla="*/ 1433 w 1433"/>
                <a:gd name="T183" fmla="*/ 1196 h 119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433" h="1196">
                  <a:moveTo>
                    <a:pt x="692" y="121"/>
                  </a:moveTo>
                  <a:lnTo>
                    <a:pt x="681" y="138"/>
                  </a:lnTo>
                  <a:lnTo>
                    <a:pt x="670" y="157"/>
                  </a:lnTo>
                  <a:lnTo>
                    <a:pt x="660" y="177"/>
                  </a:lnTo>
                  <a:lnTo>
                    <a:pt x="650" y="197"/>
                  </a:lnTo>
                  <a:lnTo>
                    <a:pt x="644" y="218"/>
                  </a:lnTo>
                  <a:lnTo>
                    <a:pt x="637" y="242"/>
                  </a:lnTo>
                  <a:lnTo>
                    <a:pt x="634" y="254"/>
                  </a:lnTo>
                  <a:lnTo>
                    <a:pt x="633" y="268"/>
                  </a:lnTo>
                  <a:lnTo>
                    <a:pt x="632" y="281"/>
                  </a:lnTo>
                  <a:lnTo>
                    <a:pt x="632" y="296"/>
                  </a:lnTo>
                  <a:lnTo>
                    <a:pt x="633" y="313"/>
                  </a:lnTo>
                  <a:lnTo>
                    <a:pt x="636" y="328"/>
                  </a:lnTo>
                  <a:lnTo>
                    <a:pt x="641" y="340"/>
                  </a:lnTo>
                  <a:lnTo>
                    <a:pt x="648" y="350"/>
                  </a:lnTo>
                  <a:lnTo>
                    <a:pt x="656" y="358"/>
                  </a:lnTo>
                  <a:lnTo>
                    <a:pt x="664" y="366"/>
                  </a:lnTo>
                  <a:lnTo>
                    <a:pt x="673" y="372"/>
                  </a:lnTo>
                  <a:lnTo>
                    <a:pt x="684" y="377"/>
                  </a:lnTo>
                  <a:lnTo>
                    <a:pt x="693" y="382"/>
                  </a:lnTo>
                  <a:lnTo>
                    <a:pt x="702" y="389"/>
                  </a:lnTo>
                  <a:lnTo>
                    <a:pt x="710" y="394"/>
                  </a:lnTo>
                  <a:lnTo>
                    <a:pt x="718" y="401"/>
                  </a:lnTo>
                  <a:lnTo>
                    <a:pt x="725" y="409"/>
                  </a:lnTo>
                  <a:lnTo>
                    <a:pt x="730" y="420"/>
                  </a:lnTo>
                  <a:lnTo>
                    <a:pt x="733" y="432"/>
                  </a:lnTo>
                  <a:lnTo>
                    <a:pt x="734" y="446"/>
                  </a:lnTo>
                  <a:lnTo>
                    <a:pt x="734" y="453"/>
                  </a:lnTo>
                  <a:lnTo>
                    <a:pt x="737" y="460"/>
                  </a:lnTo>
                  <a:lnTo>
                    <a:pt x="738" y="464"/>
                  </a:lnTo>
                  <a:lnTo>
                    <a:pt x="742" y="466"/>
                  </a:lnTo>
                  <a:lnTo>
                    <a:pt x="746" y="469"/>
                  </a:lnTo>
                  <a:lnTo>
                    <a:pt x="750" y="470"/>
                  </a:lnTo>
                  <a:lnTo>
                    <a:pt x="756" y="471"/>
                  </a:lnTo>
                  <a:lnTo>
                    <a:pt x="761" y="473"/>
                  </a:lnTo>
                  <a:lnTo>
                    <a:pt x="773" y="473"/>
                  </a:lnTo>
                  <a:lnTo>
                    <a:pt x="785" y="473"/>
                  </a:lnTo>
                  <a:lnTo>
                    <a:pt x="797" y="473"/>
                  </a:lnTo>
                  <a:lnTo>
                    <a:pt x="806" y="475"/>
                  </a:lnTo>
                  <a:lnTo>
                    <a:pt x="812" y="479"/>
                  </a:lnTo>
                  <a:lnTo>
                    <a:pt x="816" y="483"/>
                  </a:lnTo>
                  <a:lnTo>
                    <a:pt x="820" y="487"/>
                  </a:lnTo>
                  <a:lnTo>
                    <a:pt x="822" y="493"/>
                  </a:lnTo>
                  <a:lnTo>
                    <a:pt x="825" y="506"/>
                  </a:lnTo>
                  <a:lnTo>
                    <a:pt x="829" y="519"/>
                  </a:lnTo>
                  <a:lnTo>
                    <a:pt x="832" y="533"/>
                  </a:lnTo>
                  <a:lnTo>
                    <a:pt x="836" y="543"/>
                  </a:lnTo>
                  <a:lnTo>
                    <a:pt x="840" y="549"/>
                  </a:lnTo>
                  <a:lnTo>
                    <a:pt x="844" y="551"/>
                  </a:lnTo>
                  <a:lnTo>
                    <a:pt x="849" y="554"/>
                  </a:lnTo>
                  <a:lnTo>
                    <a:pt x="854" y="554"/>
                  </a:lnTo>
                  <a:lnTo>
                    <a:pt x="873" y="554"/>
                  </a:lnTo>
                  <a:lnTo>
                    <a:pt x="885" y="554"/>
                  </a:lnTo>
                  <a:lnTo>
                    <a:pt x="894" y="554"/>
                  </a:lnTo>
                  <a:lnTo>
                    <a:pt x="902" y="554"/>
                  </a:lnTo>
                  <a:lnTo>
                    <a:pt x="910" y="555"/>
                  </a:lnTo>
                  <a:lnTo>
                    <a:pt x="918" y="557"/>
                  </a:lnTo>
                  <a:lnTo>
                    <a:pt x="925" y="561"/>
                  </a:lnTo>
                  <a:lnTo>
                    <a:pt x="932" y="565"/>
                  </a:lnTo>
                  <a:lnTo>
                    <a:pt x="945" y="575"/>
                  </a:lnTo>
                  <a:lnTo>
                    <a:pt x="960" y="589"/>
                  </a:lnTo>
                  <a:lnTo>
                    <a:pt x="974" y="601"/>
                  </a:lnTo>
                  <a:lnTo>
                    <a:pt x="990" y="613"/>
                  </a:lnTo>
                  <a:lnTo>
                    <a:pt x="1000" y="618"/>
                  </a:lnTo>
                  <a:lnTo>
                    <a:pt x="1009" y="622"/>
                  </a:lnTo>
                  <a:lnTo>
                    <a:pt x="1018" y="625"/>
                  </a:lnTo>
                  <a:lnTo>
                    <a:pt x="1029" y="626"/>
                  </a:lnTo>
                  <a:lnTo>
                    <a:pt x="1030" y="639"/>
                  </a:lnTo>
                  <a:lnTo>
                    <a:pt x="1030" y="650"/>
                  </a:lnTo>
                  <a:lnTo>
                    <a:pt x="1032" y="658"/>
                  </a:lnTo>
                  <a:lnTo>
                    <a:pt x="1034" y="666"/>
                  </a:lnTo>
                  <a:lnTo>
                    <a:pt x="1040" y="679"/>
                  </a:lnTo>
                  <a:lnTo>
                    <a:pt x="1048" y="693"/>
                  </a:lnTo>
                  <a:lnTo>
                    <a:pt x="1150" y="693"/>
                  </a:lnTo>
                  <a:lnTo>
                    <a:pt x="1162" y="702"/>
                  </a:lnTo>
                  <a:lnTo>
                    <a:pt x="1173" y="710"/>
                  </a:lnTo>
                  <a:lnTo>
                    <a:pt x="1182" y="718"/>
                  </a:lnTo>
                  <a:lnTo>
                    <a:pt x="1190" y="726"/>
                  </a:lnTo>
                  <a:lnTo>
                    <a:pt x="1206" y="742"/>
                  </a:lnTo>
                  <a:lnTo>
                    <a:pt x="1222" y="759"/>
                  </a:lnTo>
                  <a:lnTo>
                    <a:pt x="1226" y="775"/>
                  </a:lnTo>
                  <a:lnTo>
                    <a:pt x="1230" y="789"/>
                  </a:lnTo>
                  <a:lnTo>
                    <a:pt x="1234" y="794"/>
                  </a:lnTo>
                  <a:lnTo>
                    <a:pt x="1238" y="798"/>
                  </a:lnTo>
                  <a:lnTo>
                    <a:pt x="1245" y="801"/>
                  </a:lnTo>
                  <a:lnTo>
                    <a:pt x="1253" y="801"/>
                  </a:lnTo>
                  <a:lnTo>
                    <a:pt x="1259" y="801"/>
                  </a:lnTo>
                  <a:lnTo>
                    <a:pt x="1266" y="799"/>
                  </a:lnTo>
                  <a:lnTo>
                    <a:pt x="1271" y="798"/>
                  </a:lnTo>
                  <a:lnTo>
                    <a:pt x="1275" y="795"/>
                  </a:lnTo>
                  <a:lnTo>
                    <a:pt x="1283" y="790"/>
                  </a:lnTo>
                  <a:lnTo>
                    <a:pt x="1290" y="783"/>
                  </a:lnTo>
                  <a:lnTo>
                    <a:pt x="1295" y="777"/>
                  </a:lnTo>
                  <a:lnTo>
                    <a:pt x="1301" y="771"/>
                  </a:lnTo>
                  <a:lnTo>
                    <a:pt x="1305" y="769"/>
                  </a:lnTo>
                  <a:lnTo>
                    <a:pt x="1309" y="766"/>
                  </a:lnTo>
                  <a:lnTo>
                    <a:pt x="1313" y="766"/>
                  </a:lnTo>
                  <a:lnTo>
                    <a:pt x="1318" y="765"/>
                  </a:lnTo>
                  <a:lnTo>
                    <a:pt x="1329" y="767"/>
                  </a:lnTo>
                  <a:lnTo>
                    <a:pt x="1341" y="771"/>
                  </a:lnTo>
                  <a:lnTo>
                    <a:pt x="1346" y="775"/>
                  </a:lnTo>
                  <a:lnTo>
                    <a:pt x="1350" y="778"/>
                  </a:lnTo>
                  <a:lnTo>
                    <a:pt x="1354" y="781"/>
                  </a:lnTo>
                  <a:lnTo>
                    <a:pt x="1354" y="783"/>
                  </a:lnTo>
                  <a:lnTo>
                    <a:pt x="1358" y="791"/>
                  </a:lnTo>
                  <a:lnTo>
                    <a:pt x="1358" y="799"/>
                  </a:lnTo>
                  <a:lnTo>
                    <a:pt x="1358" y="806"/>
                  </a:lnTo>
                  <a:lnTo>
                    <a:pt x="1355" y="813"/>
                  </a:lnTo>
                  <a:lnTo>
                    <a:pt x="1354" y="821"/>
                  </a:lnTo>
                  <a:lnTo>
                    <a:pt x="1351" y="827"/>
                  </a:lnTo>
                  <a:lnTo>
                    <a:pt x="1349" y="835"/>
                  </a:lnTo>
                  <a:lnTo>
                    <a:pt x="1349" y="843"/>
                  </a:lnTo>
                  <a:lnTo>
                    <a:pt x="1350" y="851"/>
                  </a:lnTo>
                  <a:lnTo>
                    <a:pt x="1353" y="858"/>
                  </a:lnTo>
                  <a:lnTo>
                    <a:pt x="1357" y="863"/>
                  </a:lnTo>
                  <a:lnTo>
                    <a:pt x="1362" y="869"/>
                  </a:lnTo>
                  <a:lnTo>
                    <a:pt x="1373" y="877"/>
                  </a:lnTo>
                  <a:lnTo>
                    <a:pt x="1386" y="885"/>
                  </a:lnTo>
                  <a:lnTo>
                    <a:pt x="1399" y="893"/>
                  </a:lnTo>
                  <a:lnTo>
                    <a:pt x="1413" y="901"/>
                  </a:lnTo>
                  <a:lnTo>
                    <a:pt x="1419" y="905"/>
                  </a:lnTo>
                  <a:lnTo>
                    <a:pt x="1425" y="910"/>
                  </a:lnTo>
                  <a:lnTo>
                    <a:pt x="1429" y="915"/>
                  </a:lnTo>
                  <a:lnTo>
                    <a:pt x="1433" y="922"/>
                  </a:lnTo>
                  <a:lnTo>
                    <a:pt x="1417" y="937"/>
                  </a:lnTo>
                  <a:lnTo>
                    <a:pt x="1399" y="953"/>
                  </a:lnTo>
                  <a:lnTo>
                    <a:pt x="1383" y="971"/>
                  </a:lnTo>
                  <a:lnTo>
                    <a:pt x="1367" y="990"/>
                  </a:lnTo>
                  <a:lnTo>
                    <a:pt x="1335" y="1031"/>
                  </a:lnTo>
                  <a:lnTo>
                    <a:pt x="1302" y="1072"/>
                  </a:lnTo>
                  <a:lnTo>
                    <a:pt x="1286" y="1094"/>
                  </a:lnTo>
                  <a:lnTo>
                    <a:pt x="1269" y="1112"/>
                  </a:lnTo>
                  <a:lnTo>
                    <a:pt x="1250" y="1131"/>
                  </a:lnTo>
                  <a:lnTo>
                    <a:pt x="1231" y="1147"/>
                  </a:lnTo>
                  <a:lnTo>
                    <a:pt x="1213" y="1163"/>
                  </a:lnTo>
                  <a:lnTo>
                    <a:pt x="1193" y="1175"/>
                  </a:lnTo>
                  <a:lnTo>
                    <a:pt x="1182" y="1180"/>
                  </a:lnTo>
                  <a:lnTo>
                    <a:pt x="1171" y="1186"/>
                  </a:lnTo>
                  <a:lnTo>
                    <a:pt x="1161" y="1190"/>
                  </a:lnTo>
                  <a:lnTo>
                    <a:pt x="1150" y="1192"/>
                  </a:lnTo>
                  <a:lnTo>
                    <a:pt x="1136" y="1195"/>
                  </a:lnTo>
                  <a:lnTo>
                    <a:pt x="1122" y="1196"/>
                  </a:lnTo>
                  <a:lnTo>
                    <a:pt x="1108" y="1195"/>
                  </a:lnTo>
                  <a:lnTo>
                    <a:pt x="1093" y="1194"/>
                  </a:lnTo>
                  <a:lnTo>
                    <a:pt x="1078" y="1191"/>
                  </a:lnTo>
                  <a:lnTo>
                    <a:pt x="1064" y="1186"/>
                  </a:lnTo>
                  <a:lnTo>
                    <a:pt x="1049" y="1180"/>
                  </a:lnTo>
                  <a:lnTo>
                    <a:pt x="1036" y="1175"/>
                  </a:lnTo>
                  <a:lnTo>
                    <a:pt x="1022" y="1167"/>
                  </a:lnTo>
                  <a:lnTo>
                    <a:pt x="1010" y="1159"/>
                  </a:lnTo>
                  <a:lnTo>
                    <a:pt x="998" y="1151"/>
                  </a:lnTo>
                  <a:lnTo>
                    <a:pt x="988" y="1142"/>
                  </a:lnTo>
                  <a:lnTo>
                    <a:pt x="978" y="1132"/>
                  </a:lnTo>
                  <a:lnTo>
                    <a:pt x="969" y="1122"/>
                  </a:lnTo>
                  <a:lnTo>
                    <a:pt x="962" y="1112"/>
                  </a:lnTo>
                  <a:lnTo>
                    <a:pt x="957" y="1102"/>
                  </a:lnTo>
                  <a:lnTo>
                    <a:pt x="933" y="1079"/>
                  </a:lnTo>
                  <a:lnTo>
                    <a:pt x="908" y="1060"/>
                  </a:lnTo>
                  <a:lnTo>
                    <a:pt x="882" y="1042"/>
                  </a:lnTo>
                  <a:lnTo>
                    <a:pt x="858" y="1026"/>
                  </a:lnTo>
                  <a:lnTo>
                    <a:pt x="834" y="1009"/>
                  </a:lnTo>
                  <a:lnTo>
                    <a:pt x="810" y="989"/>
                  </a:lnTo>
                  <a:lnTo>
                    <a:pt x="798" y="978"/>
                  </a:lnTo>
                  <a:lnTo>
                    <a:pt x="788" y="966"/>
                  </a:lnTo>
                  <a:lnTo>
                    <a:pt x="776" y="954"/>
                  </a:lnTo>
                  <a:lnTo>
                    <a:pt x="765" y="939"/>
                  </a:lnTo>
                  <a:lnTo>
                    <a:pt x="758" y="931"/>
                  </a:lnTo>
                  <a:lnTo>
                    <a:pt x="756" y="922"/>
                  </a:lnTo>
                  <a:lnTo>
                    <a:pt x="753" y="913"/>
                  </a:lnTo>
                  <a:lnTo>
                    <a:pt x="752" y="903"/>
                  </a:lnTo>
                  <a:lnTo>
                    <a:pt x="749" y="894"/>
                  </a:lnTo>
                  <a:lnTo>
                    <a:pt x="746" y="886"/>
                  </a:lnTo>
                  <a:lnTo>
                    <a:pt x="742" y="877"/>
                  </a:lnTo>
                  <a:lnTo>
                    <a:pt x="734" y="867"/>
                  </a:lnTo>
                  <a:lnTo>
                    <a:pt x="728" y="873"/>
                  </a:lnTo>
                  <a:lnTo>
                    <a:pt x="724" y="881"/>
                  </a:lnTo>
                  <a:lnTo>
                    <a:pt x="720" y="889"/>
                  </a:lnTo>
                  <a:lnTo>
                    <a:pt x="716" y="897"/>
                  </a:lnTo>
                  <a:lnTo>
                    <a:pt x="712" y="903"/>
                  </a:lnTo>
                  <a:lnTo>
                    <a:pt x="706" y="910"/>
                  </a:lnTo>
                  <a:lnTo>
                    <a:pt x="704" y="913"/>
                  </a:lnTo>
                  <a:lnTo>
                    <a:pt x="700" y="914"/>
                  </a:lnTo>
                  <a:lnTo>
                    <a:pt x="697" y="915"/>
                  </a:lnTo>
                  <a:lnTo>
                    <a:pt x="692" y="915"/>
                  </a:lnTo>
                  <a:lnTo>
                    <a:pt x="681" y="914"/>
                  </a:lnTo>
                  <a:lnTo>
                    <a:pt x="670" y="911"/>
                  </a:lnTo>
                  <a:lnTo>
                    <a:pt x="660" y="906"/>
                  </a:lnTo>
                  <a:lnTo>
                    <a:pt x="650" y="901"/>
                  </a:lnTo>
                  <a:lnTo>
                    <a:pt x="640" y="895"/>
                  </a:lnTo>
                  <a:lnTo>
                    <a:pt x="629" y="890"/>
                  </a:lnTo>
                  <a:lnTo>
                    <a:pt x="618" y="887"/>
                  </a:lnTo>
                  <a:lnTo>
                    <a:pt x="608" y="886"/>
                  </a:lnTo>
                  <a:lnTo>
                    <a:pt x="600" y="886"/>
                  </a:lnTo>
                  <a:lnTo>
                    <a:pt x="593" y="887"/>
                  </a:lnTo>
                  <a:lnTo>
                    <a:pt x="588" y="889"/>
                  </a:lnTo>
                  <a:lnTo>
                    <a:pt x="582" y="891"/>
                  </a:lnTo>
                  <a:lnTo>
                    <a:pt x="572" y="897"/>
                  </a:lnTo>
                  <a:lnTo>
                    <a:pt x="562" y="903"/>
                  </a:lnTo>
                  <a:lnTo>
                    <a:pt x="552" y="910"/>
                  </a:lnTo>
                  <a:lnTo>
                    <a:pt x="541" y="917"/>
                  </a:lnTo>
                  <a:lnTo>
                    <a:pt x="534" y="918"/>
                  </a:lnTo>
                  <a:lnTo>
                    <a:pt x="528" y="921"/>
                  </a:lnTo>
                  <a:lnTo>
                    <a:pt x="520" y="921"/>
                  </a:lnTo>
                  <a:lnTo>
                    <a:pt x="512" y="922"/>
                  </a:lnTo>
                  <a:lnTo>
                    <a:pt x="502" y="921"/>
                  </a:lnTo>
                  <a:lnTo>
                    <a:pt x="493" y="919"/>
                  </a:lnTo>
                  <a:lnTo>
                    <a:pt x="485" y="917"/>
                  </a:lnTo>
                  <a:lnTo>
                    <a:pt x="478" y="911"/>
                  </a:lnTo>
                  <a:lnTo>
                    <a:pt x="472" y="906"/>
                  </a:lnTo>
                  <a:lnTo>
                    <a:pt x="465" y="901"/>
                  </a:lnTo>
                  <a:lnTo>
                    <a:pt x="460" y="894"/>
                  </a:lnTo>
                  <a:lnTo>
                    <a:pt x="456" y="886"/>
                  </a:lnTo>
                  <a:lnTo>
                    <a:pt x="448" y="869"/>
                  </a:lnTo>
                  <a:lnTo>
                    <a:pt x="441" y="849"/>
                  </a:lnTo>
                  <a:lnTo>
                    <a:pt x="436" y="829"/>
                  </a:lnTo>
                  <a:lnTo>
                    <a:pt x="430" y="807"/>
                  </a:lnTo>
                  <a:lnTo>
                    <a:pt x="426" y="786"/>
                  </a:lnTo>
                  <a:lnTo>
                    <a:pt x="421" y="765"/>
                  </a:lnTo>
                  <a:lnTo>
                    <a:pt x="414" y="746"/>
                  </a:lnTo>
                  <a:lnTo>
                    <a:pt x="408" y="729"/>
                  </a:lnTo>
                  <a:lnTo>
                    <a:pt x="402" y="721"/>
                  </a:lnTo>
                  <a:lnTo>
                    <a:pt x="399" y="714"/>
                  </a:lnTo>
                  <a:lnTo>
                    <a:pt x="393" y="707"/>
                  </a:lnTo>
                  <a:lnTo>
                    <a:pt x="387" y="702"/>
                  </a:lnTo>
                  <a:lnTo>
                    <a:pt x="380" y="698"/>
                  </a:lnTo>
                  <a:lnTo>
                    <a:pt x="372" y="695"/>
                  </a:lnTo>
                  <a:lnTo>
                    <a:pt x="364" y="694"/>
                  </a:lnTo>
                  <a:lnTo>
                    <a:pt x="355" y="693"/>
                  </a:lnTo>
                  <a:lnTo>
                    <a:pt x="351" y="694"/>
                  </a:lnTo>
                  <a:lnTo>
                    <a:pt x="347" y="697"/>
                  </a:lnTo>
                  <a:lnTo>
                    <a:pt x="344" y="701"/>
                  </a:lnTo>
                  <a:lnTo>
                    <a:pt x="341" y="705"/>
                  </a:lnTo>
                  <a:lnTo>
                    <a:pt x="336" y="713"/>
                  </a:lnTo>
                  <a:lnTo>
                    <a:pt x="331" y="717"/>
                  </a:lnTo>
                  <a:lnTo>
                    <a:pt x="323" y="717"/>
                  </a:lnTo>
                  <a:lnTo>
                    <a:pt x="315" y="714"/>
                  </a:lnTo>
                  <a:lnTo>
                    <a:pt x="308" y="711"/>
                  </a:lnTo>
                  <a:lnTo>
                    <a:pt x="301" y="706"/>
                  </a:lnTo>
                  <a:lnTo>
                    <a:pt x="291" y="695"/>
                  </a:lnTo>
                  <a:lnTo>
                    <a:pt x="280" y="683"/>
                  </a:lnTo>
                  <a:lnTo>
                    <a:pt x="269" y="671"/>
                  </a:lnTo>
                  <a:lnTo>
                    <a:pt x="259" y="661"/>
                  </a:lnTo>
                  <a:lnTo>
                    <a:pt x="252" y="657"/>
                  </a:lnTo>
                  <a:lnTo>
                    <a:pt x="245" y="654"/>
                  </a:lnTo>
                  <a:lnTo>
                    <a:pt x="237" y="651"/>
                  </a:lnTo>
                  <a:lnTo>
                    <a:pt x="228" y="650"/>
                  </a:lnTo>
                  <a:lnTo>
                    <a:pt x="208" y="651"/>
                  </a:lnTo>
                  <a:lnTo>
                    <a:pt x="191" y="653"/>
                  </a:lnTo>
                  <a:lnTo>
                    <a:pt x="187" y="651"/>
                  </a:lnTo>
                  <a:lnTo>
                    <a:pt x="184" y="650"/>
                  </a:lnTo>
                  <a:lnTo>
                    <a:pt x="181" y="649"/>
                  </a:lnTo>
                  <a:lnTo>
                    <a:pt x="179" y="646"/>
                  </a:lnTo>
                  <a:lnTo>
                    <a:pt x="177" y="642"/>
                  </a:lnTo>
                  <a:lnTo>
                    <a:pt x="176" y="638"/>
                  </a:lnTo>
                  <a:lnTo>
                    <a:pt x="175" y="633"/>
                  </a:lnTo>
                  <a:lnTo>
                    <a:pt x="175" y="626"/>
                  </a:lnTo>
                  <a:lnTo>
                    <a:pt x="173" y="599"/>
                  </a:lnTo>
                  <a:lnTo>
                    <a:pt x="173" y="567"/>
                  </a:lnTo>
                  <a:lnTo>
                    <a:pt x="172" y="559"/>
                  </a:lnTo>
                  <a:lnTo>
                    <a:pt x="171" y="553"/>
                  </a:lnTo>
                  <a:lnTo>
                    <a:pt x="169" y="546"/>
                  </a:lnTo>
                  <a:lnTo>
                    <a:pt x="165" y="541"/>
                  </a:lnTo>
                  <a:lnTo>
                    <a:pt x="163" y="537"/>
                  </a:lnTo>
                  <a:lnTo>
                    <a:pt x="157" y="533"/>
                  </a:lnTo>
                  <a:lnTo>
                    <a:pt x="152" y="531"/>
                  </a:lnTo>
                  <a:lnTo>
                    <a:pt x="144" y="530"/>
                  </a:lnTo>
                  <a:lnTo>
                    <a:pt x="136" y="531"/>
                  </a:lnTo>
                  <a:lnTo>
                    <a:pt x="128" y="535"/>
                  </a:lnTo>
                  <a:lnTo>
                    <a:pt x="120" y="539"/>
                  </a:lnTo>
                  <a:lnTo>
                    <a:pt x="113" y="545"/>
                  </a:lnTo>
                  <a:lnTo>
                    <a:pt x="105" y="551"/>
                  </a:lnTo>
                  <a:lnTo>
                    <a:pt x="97" y="555"/>
                  </a:lnTo>
                  <a:lnTo>
                    <a:pt x="88" y="559"/>
                  </a:lnTo>
                  <a:lnTo>
                    <a:pt x="79" y="561"/>
                  </a:lnTo>
                  <a:lnTo>
                    <a:pt x="73" y="559"/>
                  </a:lnTo>
                  <a:lnTo>
                    <a:pt x="71" y="558"/>
                  </a:lnTo>
                  <a:lnTo>
                    <a:pt x="67" y="555"/>
                  </a:lnTo>
                  <a:lnTo>
                    <a:pt x="64" y="551"/>
                  </a:lnTo>
                  <a:lnTo>
                    <a:pt x="63" y="547"/>
                  </a:lnTo>
                  <a:lnTo>
                    <a:pt x="61" y="542"/>
                  </a:lnTo>
                  <a:lnTo>
                    <a:pt x="60" y="537"/>
                  </a:lnTo>
                  <a:lnTo>
                    <a:pt x="60" y="530"/>
                  </a:lnTo>
                  <a:lnTo>
                    <a:pt x="64" y="503"/>
                  </a:lnTo>
                  <a:lnTo>
                    <a:pt x="69" y="473"/>
                  </a:lnTo>
                  <a:lnTo>
                    <a:pt x="71" y="456"/>
                  </a:lnTo>
                  <a:lnTo>
                    <a:pt x="71" y="440"/>
                  </a:lnTo>
                  <a:lnTo>
                    <a:pt x="69" y="432"/>
                  </a:lnTo>
                  <a:lnTo>
                    <a:pt x="67" y="424"/>
                  </a:lnTo>
                  <a:lnTo>
                    <a:pt x="64" y="417"/>
                  </a:lnTo>
                  <a:lnTo>
                    <a:pt x="60" y="410"/>
                  </a:lnTo>
                  <a:lnTo>
                    <a:pt x="51" y="405"/>
                  </a:lnTo>
                  <a:lnTo>
                    <a:pt x="29" y="400"/>
                  </a:lnTo>
                  <a:lnTo>
                    <a:pt x="19" y="396"/>
                  </a:lnTo>
                  <a:lnTo>
                    <a:pt x="9" y="392"/>
                  </a:lnTo>
                  <a:lnTo>
                    <a:pt x="5" y="389"/>
                  </a:lnTo>
                  <a:lnTo>
                    <a:pt x="3" y="386"/>
                  </a:lnTo>
                  <a:lnTo>
                    <a:pt x="0" y="384"/>
                  </a:lnTo>
                  <a:lnTo>
                    <a:pt x="0" y="380"/>
                  </a:lnTo>
                  <a:lnTo>
                    <a:pt x="1" y="369"/>
                  </a:lnTo>
                  <a:lnTo>
                    <a:pt x="4" y="358"/>
                  </a:lnTo>
                  <a:lnTo>
                    <a:pt x="7" y="349"/>
                  </a:lnTo>
                  <a:lnTo>
                    <a:pt x="12" y="338"/>
                  </a:lnTo>
                  <a:lnTo>
                    <a:pt x="16" y="328"/>
                  </a:lnTo>
                  <a:lnTo>
                    <a:pt x="20" y="314"/>
                  </a:lnTo>
                  <a:lnTo>
                    <a:pt x="23" y="300"/>
                  </a:lnTo>
                  <a:lnTo>
                    <a:pt x="24" y="284"/>
                  </a:lnTo>
                  <a:lnTo>
                    <a:pt x="33" y="289"/>
                  </a:lnTo>
                  <a:lnTo>
                    <a:pt x="43" y="294"/>
                  </a:lnTo>
                  <a:lnTo>
                    <a:pt x="53" y="297"/>
                  </a:lnTo>
                  <a:lnTo>
                    <a:pt x="64" y="300"/>
                  </a:lnTo>
                  <a:lnTo>
                    <a:pt x="85" y="301"/>
                  </a:lnTo>
                  <a:lnTo>
                    <a:pt x="108" y="301"/>
                  </a:lnTo>
                  <a:lnTo>
                    <a:pt x="116" y="300"/>
                  </a:lnTo>
                  <a:lnTo>
                    <a:pt x="128" y="294"/>
                  </a:lnTo>
                  <a:lnTo>
                    <a:pt x="143" y="288"/>
                  </a:lnTo>
                  <a:lnTo>
                    <a:pt x="159" y="278"/>
                  </a:lnTo>
                  <a:lnTo>
                    <a:pt x="175" y="270"/>
                  </a:lnTo>
                  <a:lnTo>
                    <a:pt x="188" y="261"/>
                  </a:lnTo>
                  <a:lnTo>
                    <a:pt x="199" y="253"/>
                  </a:lnTo>
                  <a:lnTo>
                    <a:pt x="204" y="248"/>
                  </a:lnTo>
                  <a:lnTo>
                    <a:pt x="207" y="240"/>
                  </a:lnTo>
                  <a:lnTo>
                    <a:pt x="207" y="232"/>
                  </a:lnTo>
                  <a:lnTo>
                    <a:pt x="207" y="225"/>
                  </a:lnTo>
                  <a:lnTo>
                    <a:pt x="207" y="218"/>
                  </a:lnTo>
                  <a:lnTo>
                    <a:pt x="204" y="206"/>
                  </a:lnTo>
                  <a:lnTo>
                    <a:pt x="201" y="194"/>
                  </a:lnTo>
                  <a:lnTo>
                    <a:pt x="199" y="184"/>
                  </a:lnTo>
                  <a:lnTo>
                    <a:pt x="199" y="173"/>
                  </a:lnTo>
                  <a:lnTo>
                    <a:pt x="200" y="168"/>
                  </a:lnTo>
                  <a:lnTo>
                    <a:pt x="203" y="162"/>
                  </a:lnTo>
                  <a:lnTo>
                    <a:pt x="205" y="157"/>
                  </a:lnTo>
                  <a:lnTo>
                    <a:pt x="211" y="150"/>
                  </a:lnTo>
                  <a:lnTo>
                    <a:pt x="221" y="141"/>
                  </a:lnTo>
                  <a:lnTo>
                    <a:pt x="233" y="130"/>
                  </a:lnTo>
                  <a:lnTo>
                    <a:pt x="247" y="120"/>
                  </a:lnTo>
                  <a:lnTo>
                    <a:pt x="261" y="109"/>
                  </a:lnTo>
                  <a:lnTo>
                    <a:pt x="293" y="88"/>
                  </a:lnTo>
                  <a:lnTo>
                    <a:pt x="327" y="66"/>
                  </a:lnTo>
                  <a:lnTo>
                    <a:pt x="361" y="46"/>
                  </a:lnTo>
                  <a:lnTo>
                    <a:pt x="396" y="29"/>
                  </a:lnTo>
                  <a:lnTo>
                    <a:pt x="428" y="13"/>
                  </a:lnTo>
                  <a:lnTo>
                    <a:pt x="457" y="0"/>
                  </a:lnTo>
                  <a:lnTo>
                    <a:pt x="468" y="6"/>
                  </a:lnTo>
                  <a:lnTo>
                    <a:pt x="477" y="10"/>
                  </a:lnTo>
                  <a:lnTo>
                    <a:pt x="488" y="14"/>
                  </a:lnTo>
                  <a:lnTo>
                    <a:pt x="498" y="17"/>
                  </a:lnTo>
                  <a:lnTo>
                    <a:pt x="518" y="20"/>
                  </a:lnTo>
                  <a:lnTo>
                    <a:pt x="540" y="20"/>
                  </a:lnTo>
                  <a:lnTo>
                    <a:pt x="560" y="20"/>
                  </a:lnTo>
                  <a:lnTo>
                    <a:pt x="582" y="21"/>
                  </a:lnTo>
                  <a:lnTo>
                    <a:pt x="593" y="22"/>
                  </a:lnTo>
                  <a:lnTo>
                    <a:pt x="604" y="24"/>
                  </a:lnTo>
                  <a:lnTo>
                    <a:pt x="614" y="26"/>
                  </a:lnTo>
                  <a:lnTo>
                    <a:pt x="626" y="30"/>
                  </a:lnTo>
                  <a:lnTo>
                    <a:pt x="633" y="37"/>
                  </a:lnTo>
                  <a:lnTo>
                    <a:pt x="640" y="46"/>
                  </a:lnTo>
                  <a:lnTo>
                    <a:pt x="646" y="60"/>
                  </a:lnTo>
                  <a:lnTo>
                    <a:pt x="654" y="73"/>
                  </a:lnTo>
                  <a:lnTo>
                    <a:pt x="661" y="86"/>
                  </a:lnTo>
                  <a:lnTo>
                    <a:pt x="669" y="98"/>
                  </a:lnTo>
                  <a:lnTo>
                    <a:pt x="673" y="104"/>
                  </a:lnTo>
                  <a:lnTo>
                    <a:pt x="677" y="108"/>
                  </a:lnTo>
                  <a:lnTo>
                    <a:pt x="682" y="112"/>
                  </a:lnTo>
                  <a:lnTo>
                    <a:pt x="686" y="114"/>
                  </a:lnTo>
                  <a:lnTo>
                    <a:pt x="692" y="121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accent1">
                  <a:lumMod val="20000"/>
                  <a:lumOff val="8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95" b="0" i="0" u="none" strike="noStrike" kern="1200" cap="none" spc="0" normalizeH="0" baseline="0" noProof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1" name="Freeform 46"/>
            <p:cNvSpPr>
              <a:spLocks/>
            </p:cNvSpPr>
            <p:nvPr/>
          </p:nvSpPr>
          <p:spPr bwMode="auto">
            <a:xfrm>
              <a:off x="5166178" y="2502562"/>
              <a:ext cx="99514" cy="76404"/>
            </a:xfrm>
            <a:custGeom>
              <a:avLst/>
              <a:gdLst>
                <a:gd name="T0" fmla="*/ 264 w 1378"/>
                <a:gd name="T1" fmla="*/ 55 h 1060"/>
                <a:gd name="T2" fmla="*/ 228 w 1378"/>
                <a:gd name="T3" fmla="*/ 138 h 1060"/>
                <a:gd name="T4" fmla="*/ 220 w 1378"/>
                <a:gd name="T5" fmla="*/ 203 h 1060"/>
                <a:gd name="T6" fmla="*/ 210 w 1378"/>
                <a:gd name="T7" fmla="*/ 259 h 1060"/>
                <a:gd name="T8" fmla="*/ 144 w 1378"/>
                <a:gd name="T9" fmla="*/ 264 h 1060"/>
                <a:gd name="T10" fmla="*/ 102 w 1378"/>
                <a:gd name="T11" fmla="*/ 289 h 1060"/>
                <a:gd name="T12" fmla="*/ 86 w 1378"/>
                <a:gd name="T13" fmla="*/ 359 h 1060"/>
                <a:gd name="T14" fmla="*/ 48 w 1378"/>
                <a:gd name="T15" fmla="*/ 432 h 1060"/>
                <a:gd name="T16" fmla="*/ 47 w 1378"/>
                <a:gd name="T17" fmla="*/ 508 h 1060"/>
                <a:gd name="T18" fmla="*/ 85 w 1378"/>
                <a:gd name="T19" fmla="*/ 597 h 1060"/>
                <a:gd name="T20" fmla="*/ 84 w 1378"/>
                <a:gd name="T21" fmla="*/ 644 h 1060"/>
                <a:gd name="T22" fmla="*/ 59 w 1378"/>
                <a:gd name="T23" fmla="*/ 676 h 1060"/>
                <a:gd name="T24" fmla="*/ 8 w 1378"/>
                <a:gd name="T25" fmla="*/ 748 h 1060"/>
                <a:gd name="T26" fmla="*/ 116 w 1378"/>
                <a:gd name="T27" fmla="*/ 723 h 1060"/>
                <a:gd name="T28" fmla="*/ 200 w 1378"/>
                <a:gd name="T29" fmla="*/ 711 h 1060"/>
                <a:gd name="T30" fmla="*/ 221 w 1378"/>
                <a:gd name="T31" fmla="*/ 743 h 1060"/>
                <a:gd name="T32" fmla="*/ 181 w 1378"/>
                <a:gd name="T33" fmla="*/ 765 h 1060"/>
                <a:gd name="T34" fmla="*/ 245 w 1378"/>
                <a:gd name="T35" fmla="*/ 896 h 1060"/>
                <a:gd name="T36" fmla="*/ 313 w 1378"/>
                <a:gd name="T37" fmla="*/ 994 h 1060"/>
                <a:gd name="T38" fmla="*/ 356 w 1378"/>
                <a:gd name="T39" fmla="*/ 957 h 1060"/>
                <a:gd name="T40" fmla="*/ 386 w 1378"/>
                <a:gd name="T41" fmla="*/ 956 h 1060"/>
                <a:gd name="T42" fmla="*/ 438 w 1378"/>
                <a:gd name="T43" fmla="*/ 968 h 1060"/>
                <a:gd name="T44" fmla="*/ 498 w 1378"/>
                <a:gd name="T45" fmla="*/ 953 h 1060"/>
                <a:gd name="T46" fmla="*/ 617 w 1378"/>
                <a:gd name="T47" fmla="*/ 940 h 1060"/>
                <a:gd name="T48" fmla="*/ 709 w 1378"/>
                <a:gd name="T49" fmla="*/ 872 h 1060"/>
                <a:gd name="T50" fmla="*/ 801 w 1378"/>
                <a:gd name="T51" fmla="*/ 844 h 1060"/>
                <a:gd name="T52" fmla="*/ 850 w 1378"/>
                <a:gd name="T53" fmla="*/ 881 h 1060"/>
                <a:gd name="T54" fmla="*/ 897 w 1378"/>
                <a:gd name="T55" fmla="*/ 928 h 1060"/>
                <a:gd name="T56" fmla="*/ 899 w 1378"/>
                <a:gd name="T57" fmla="*/ 981 h 1060"/>
                <a:gd name="T58" fmla="*/ 967 w 1378"/>
                <a:gd name="T59" fmla="*/ 1049 h 1060"/>
                <a:gd name="T60" fmla="*/ 1010 w 1378"/>
                <a:gd name="T61" fmla="*/ 1056 h 1060"/>
                <a:gd name="T62" fmla="*/ 1057 w 1378"/>
                <a:gd name="T63" fmla="*/ 1000 h 1060"/>
                <a:gd name="T64" fmla="*/ 1143 w 1378"/>
                <a:gd name="T65" fmla="*/ 940 h 1060"/>
                <a:gd name="T66" fmla="*/ 1174 w 1378"/>
                <a:gd name="T67" fmla="*/ 916 h 1060"/>
                <a:gd name="T68" fmla="*/ 1242 w 1378"/>
                <a:gd name="T69" fmla="*/ 912 h 1060"/>
                <a:gd name="T70" fmla="*/ 1314 w 1378"/>
                <a:gd name="T71" fmla="*/ 912 h 1060"/>
                <a:gd name="T72" fmla="*/ 1349 w 1378"/>
                <a:gd name="T73" fmla="*/ 861 h 1060"/>
                <a:gd name="T74" fmla="*/ 1365 w 1378"/>
                <a:gd name="T75" fmla="*/ 816 h 1060"/>
                <a:gd name="T76" fmla="*/ 1370 w 1378"/>
                <a:gd name="T77" fmla="*/ 770 h 1060"/>
                <a:gd name="T78" fmla="*/ 1373 w 1378"/>
                <a:gd name="T79" fmla="*/ 713 h 1060"/>
                <a:gd name="T80" fmla="*/ 1342 w 1378"/>
                <a:gd name="T81" fmla="*/ 615 h 1060"/>
                <a:gd name="T82" fmla="*/ 1338 w 1378"/>
                <a:gd name="T83" fmla="*/ 541 h 1060"/>
                <a:gd name="T84" fmla="*/ 1278 w 1378"/>
                <a:gd name="T85" fmla="*/ 457 h 1060"/>
                <a:gd name="T86" fmla="*/ 1223 w 1378"/>
                <a:gd name="T87" fmla="*/ 483 h 1060"/>
                <a:gd name="T88" fmla="*/ 1198 w 1378"/>
                <a:gd name="T89" fmla="*/ 536 h 1060"/>
                <a:gd name="T90" fmla="*/ 1173 w 1378"/>
                <a:gd name="T91" fmla="*/ 460 h 1060"/>
                <a:gd name="T92" fmla="*/ 1145 w 1378"/>
                <a:gd name="T93" fmla="*/ 419 h 1060"/>
                <a:gd name="T94" fmla="*/ 1155 w 1378"/>
                <a:gd name="T95" fmla="*/ 375 h 1060"/>
                <a:gd name="T96" fmla="*/ 1158 w 1378"/>
                <a:gd name="T97" fmla="*/ 336 h 1060"/>
                <a:gd name="T98" fmla="*/ 1117 w 1378"/>
                <a:gd name="T99" fmla="*/ 321 h 1060"/>
                <a:gd name="T100" fmla="*/ 1038 w 1378"/>
                <a:gd name="T101" fmla="*/ 348 h 1060"/>
                <a:gd name="T102" fmla="*/ 954 w 1378"/>
                <a:gd name="T103" fmla="*/ 331 h 1060"/>
                <a:gd name="T104" fmla="*/ 875 w 1378"/>
                <a:gd name="T105" fmla="*/ 285 h 1060"/>
                <a:gd name="T106" fmla="*/ 766 w 1378"/>
                <a:gd name="T107" fmla="*/ 281 h 1060"/>
                <a:gd name="T108" fmla="*/ 734 w 1378"/>
                <a:gd name="T109" fmla="*/ 229 h 1060"/>
                <a:gd name="T110" fmla="*/ 701 w 1378"/>
                <a:gd name="T111" fmla="*/ 158 h 1060"/>
                <a:gd name="T112" fmla="*/ 522 w 1378"/>
                <a:gd name="T113" fmla="*/ 72 h 1060"/>
                <a:gd name="T114" fmla="*/ 334 w 1378"/>
                <a:gd name="T115" fmla="*/ 31 h 106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78"/>
                <a:gd name="T175" fmla="*/ 0 h 1060"/>
                <a:gd name="T176" fmla="*/ 1378 w 1378"/>
                <a:gd name="T177" fmla="*/ 1060 h 106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78" h="1060">
                  <a:moveTo>
                    <a:pt x="258" y="0"/>
                  </a:moveTo>
                  <a:lnTo>
                    <a:pt x="262" y="10"/>
                  </a:lnTo>
                  <a:lnTo>
                    <a:pt x="264" y="19"/>
                  </a:lnTo>
                  <a:lnTo>
                    <a:pt x="264" y="30"/>
                  </a:lnTo>
                  <a:lnTo>
                    <a:pt x="265" y="43"/>
                  </a:lnTo>
                  <a:lnTo>
                    <a:pt x="264" y="55"/>
                  </a:lnTo>
                  <a:lnTo>
                    <a:pt x="262" y="66"/>
                  </a:lnTo>
                  <a:lnTo>
                    <a:pt x="260" y="76"/>
                  </a:lnTo>
                  <a:lnTo>
                    <a:pt x="256" y="87"/>
                  </a:lnTo>
                  <a:lnTo>
                    <a:pt x="248" y="104"/>
                  </a:lnTo>
                  <a:lnTo>
                    <a:pt x="237" y="122"/>
                  </a:lnTo>
                  <a:lnTo>
                    <a:pt x="228" y="138"/>
                  </a:lnTo>
                  <a:lnTo>
                    <a:pt x="218" y="154"/>
                  </a:lnTo>
                  <a:lnTo>
                    <a:pt x="216" y="162"/>
                  </a:lnTo>
                  <a:lnTo>
                    <a:pt x="213" y="169"/>
                  </a:lnTo>
                  <a:lnTo>
                    <a:pt x="210" y="179"/>
                  </a:lnTo>
                  <a:lnTo>
                    <a:pt x="210" y="187"/>
                  </a:lnTo>
                  <a:lnTo>
                    <a:pt x="220" y="203"/>
                  </a:lnTo>
                  <a:lnTo>
                    <a:pt x="228" y="223"/>
                  </a:lnTo>
                  <a:lnTo>
                    <a:pt x="228" y="235"/>
                  </a:lnTo>
                  <a:lnTo>
                    <a:pt x="225" y="243"/>
                  </a:lnTo>
                  <a:lnTo>
                    <a:pt x="221" y="251"/>
                  </a:lnTo>
                  <a:lnTo>
                    <a:pt x="217" y="255"/>
                  </a:lnTo>
                  <a:lnTo>
                    <a:pt x="210" y="259"/>
                  </a:lnTo>
                  <a:lnTo>
                    <a:pt x="204" y="261"/>
                  </a:lnTo>
                  <a:lnTo>
                    <a:pt x="196" y="263"/>
                  </a:lnTo>
                  <a:lnTo>
                    <a:pt x="188" y="263"/>
                  </a:lnTo>
                  <a:lnTo>
                    <a:pt x="170" y="263"/>
                  </a:lnTo>
                  <a:lnTo>
                    <a:pt x="152" y="263"/>
                  </a:lnTo>
                  <a:lnTo>
                    <a:pt x="144" y="264"/>
                  </a:lnTo>
                  <a:lnTo>
                    <a:pt x="134" y="265"/>
                  </a:lnTo>
                  <a:lnTo>
                    <a:pt x="126" y="268"/>
                  </a:lnTo>
                  <a:lnTo>
                    <a:pt x="120" y="272"/>
                  </a:lnTo>
                  <a:lnTo>
                    <a:pt x="113" y="277"/>
                  </a:lnTo>
                  <a:lnTo>
                    <a:pt x="106" y="283"/>
                  </a:lnTo>
                  <a:lnTo>
                    <a:pt x="102" y="289"/>
                  </a:lnTo>
                  <a:lnTo>
                    <a:pt x="98" y="296"/>
                  </a:lnTo>
                  <a:lnTo>
                    <a:pt x="94" y="309"/>
                  </a:lnTo>
                  <a:lnTo>
                    <a:pt x="92" y="323"/>
                  </a:lnTo>
                  <a:lnTo>
                    <a:pt x="90" y="337"/>
                  </a:lnTo>
                  <a:lnTo>
                    <a:pt x="89" y="352"/>
                  </a:lnTo>
                  <a:lnTo>
                    <a:pt x="86" y="359"/>
                  </a:lnTo>
                  <a:lnTo>
                    <a:pt x="85" y="365"/>
                  </a:lnTo>
                  <a:lnTo>
                    <a:pt x="81" y="373"/>
                  </a:lnTo>
                  <a:lnTo>
                    <a:pt x="77" y="380"/>
                  </a:lnTo>
                  <a:lnTo>
                    <a:pt x="64" y="399"/>
                  </a:lnTo>
                  <a:lnTo>
                    <a:pt x="53" y="420"/>
                  </a:lnTo>
                  <a:lnTo>
                    <a:pt x="48" y="432"/>
                  </a:lnTo>
                  <a:lnTo>
                    <a:pt x="45" y="444"/>
                  </a:lnTo>
                  <a:lnTo>
                    <a:pt x="43" y="457"/>
                  </a:lnTo>
                  <a:lnTo>
                    <a:pt x="41" y="471"/>
                  </a:lnTo>
                  <a:lnTo>
                    <a:pt x="43" y="484"/>
                  </a:lnTo>
                  <a:lnTo>
                    <a:pt x="44" y="497"/>
                  </a:lnTo>
                  <a:lnTo>
                    <a:pt x="47" y="508"/>
                  </a:lnTo>
                  <a:lnTo>
                    <a:pt x="49" y="519"/>
                  </a:lnTo>
                  <a:lnTo>
                    <a:pt x="57" y="539"/>
                  </a:lnTo>
                  <a:lnTo>
                    <a:pt x="65" y="555"/>
                  </a:lnTo>
                  <a:lnTo>
                    <a:pt x="74" y="572"/>
                  </a:lnTo>
                  <a:lnTo>
                    <a:pt x="82" y="588"/>
                  </a:lnTo>
                  <a:lnTo>
                    <a:pt x="85" y="597"/>
                  </a:lnTo>
                  <a:lnTo>
                    <a:pt x="88" y="605"/>
                  </a:lnTo>
                  <a:lnTo>
                    <a:pt x="89" y="616"/>
                  </a:lnTo>
                  <a:lnTo>
                    <a:pt x="89" y="627"/>
                  </a:lnTo>
                  <a:lnTo>
                    <a:pt x="89" y="635"/>
                  </a:lnTo>
                  <a:lnTo>
                    <a:pt x="86" y="640"/>
                  </a:lnTo>
                  <a:lnTo>
                    <a:pt x="84" y="644"/>
                  </a:lnTo>
                  <a:lnTo>
                    <a:pt x="80" y="647"/>
                  </a:lnTo>
                  <a:lnTo>
                    <a:pt x="76" y="648"/>
                  </a:lnTo>
                  <a:lnTo>
                    <a:pt x="72" y="651"/>
                  </a:lnTo>
                  <a:lnTo>
                    <a:pt x="68" y="653"/>
                  </a:lnTo>
                  <a:lnTo>
                    <a:pt x="65" y="657"/>
                  </a:lnTo>
                  <a:lnTo>
                    <a:pt x="59" y="676"/>
                  </a:lnTo>
                  <a:lnTo>
                    <a:pt x="51" y="693"/>
                  </a:lnTo>
                  <a:lnTo>
                    <a:pt x="43" y="708"/>
                  </a:lnTo>
                  <a:lnTo>
                    <a:pt x="35" y="721"/>
                  </a:lnTo>
                  <a:lnTo>
                    <a:pt x="27" y="732"/>
                  </a:lnTo>
                  <a:lnTo>
                    <a:pt x="17" y="741"/>
                  </a:lnTo>
                  <a:lnTo>
                    <a:pt x="8" y="748"/>
                  </a:lnTo>
                  <a:lnTo>
                    <a:pt x="0" y="753"/>
                  </a:lnTo>
                  <a:lnTo>
                    <a:pt x="27" y="749"/>
                  </a:lnTo>
                  <a:lnTo>
                    <a:pt x="52" y="744"/>
                  </a:lnTo>
                  <a:lnTo>
                    <a:pt x="74" y="737"/>
                  </a:lnTo>
                  <a:lnTo>
                    <a:pt x="94" y="729"/>
                  </a:lnTo>
                  <a:lnTo>
                    <a:pt x="116" y="723"/>
                  </a:lnTo>
                  <a:lnTo>
                    <a:pt x="137" y="717"/>
                  </a:lnTo>
                  <a:lnTo>
                    <a:pt x="149" y="715"/>
                  </a:lnTo>
                  <a:lnTo>
                    <a:pt x="161" y="713"/>
                  </a:lnTo>
                  <a:lnTo>
                    <a:pt x="173" y="712"/>
                  </a:lnTo>
                  <a:lnTo>
                    <a:pt x="186" y="711"/>
                  </a:lnTo>
                  <a:lnTo>
                    <a:pt x="200" y="711"/>
                  </a:lnTo>
                  <a:lnTo>
                    <a:pt x="212" y="711"/>
                  </a:lnTo>
                  <a:lnTo>
                    <a:pt x="221" y="711"/>
                  </a:lnTo>
                  <a:lnTo>
                    <a:pt x="228" y="711"/>
                  </a:lnTo>
                  <a:lnTo>
                    <a:pt x="228" y="725"/>
                  </a:lnTo>
                  <a:lnTo>
                    <a:pt x="224" y="737"/>
                  </a:lnTo>
                  <a:lnTo>
                    <a:pt x="221" y="743"/>
                  </a:lnTo>
                  <a:lnTo>
                    <a:pt x="218" y="747"/>
                  </a:lnTo>
                  <a:lnTo>
                    <a:pt x="216" y="750"/>
                  </a:lnTo>
                  <a:lnTo>
                    <a:pt x="212" y="754"/>
                  </a:lnTo>
                  <a:lnTo>
                    <a:pt x="202" y="758"/>
                  </a:lnTo>
                  <a:lnTo>
                    <a:pt x="193" y="762"/>
                  </a:lnTo>
                  <a:lnTo>
                    <a:pt x="181" y="765"/>
                  </a:lnTo>
                  <a:lnTo>
                    <a:pt x="168" y="765"/>
                  </a:lnTo>
                  <a:lnTo>
                    <a:pt x="168" y="808"/>
                  </a:lnTo>
                  <a:lnTo>
                    <a:pt x="186" y="832"/>
                  </a:lnTo>
                  <a:lnTo>
                    <a:pt x="206" y="853"/>
                  </a:lnTo>
                  <a:lnTo>
                    <a:pt x="225" y="874"/>
                  </a:lnTo>
                  <a:lnTo>
                    <a:pt x="245" y="896"/>
                  </a:lnTo>
                  <a:lnTo>
                    <a:pt x="264" y="918"/>
                  </a:lnTo>
                  <a:lnTo>
                    <a:pt x="281" y="941"/>
                  </a:lnTo>
                  <a:lnTo>
                    <a:pt x="290" y="953"/>
                  </a:lnTo>
                  <a:lnTo>
                    <a:pt x="298" y="966"/>
                  </a:lnTo>
                  <a:lnTo>
                    <a:pt x="305" y="980"/>
                  </a:lnTo>
                  <a:lnTo>
                    <a:pt x="313" y="994"/>
                  </a:lnTo>
                  <a:lnTo>
                    <a:pt x="324" y="989"/>
                  </a:lnTo>
                  <a:lnTo>
                    <a:pt x="333" y="982"/>
                  </a:lnTo>
                  <a:lnTo>
                    <a:pt x="340" y="976"/>
                  </a:lnTo>
                  <a:lnTo>
                    <a:pt x="345" y="968"/>
                  </a:lnTo>
                  <a:lnTo>
                    <a:pt x="350" y="962"/>
                  </a:lnTo>
                  <a:lnTo>
                    <a:pt x="356" y="957"/>
                  </a:lnTo>
                  <a:lnTo>
                    <a:pt x="360" y="954"/>
                  </a:lnTo>
                  <a:lnTo>
                    <a:pt x="364" y="953"/>
                  </a:lnTo>
                  <a:lnTo>
                    <a:pt x="368" y="952"/>
                  </a:lnTo>
                  <a:lnTo>
                    <a:pt x="373" y="952"/>
                  </a:lnTo>
                  <a:lnTo>
                    <a:pt x="380" y="953"/>
                  </a:lnTo>
                  <a:lnTo>
                    <a:pt x="386" y="956"/>
                  </a:lnTo>
                  <a:lnTo>
                    <a:pt x="393" y="960"/>
                  </a:lnTo>
                  <a:lnTo>
                    <a:pt x="400" y="965"/>
                  </a:lnTo>
                  <a:lnTo>
                    <a:pt x="410" y="974"/>
                  </a:lnTo>
                  <a:lnTo>
                    <a:pt x="421" y="982"/>
                  </a:lnTo>
                  <a:lnTo>
                    <a:pt x="429" y="974"/>
                  </a:lnTo>
                  <a:lnTo>
                    <a:pt x="438" y="968"/>
                  </a:lnTo>
                  <a:lnTo>
                    <a:pt x="448" y="962"/>
                  </a:lnTo>
                  <a:lnTo>
                    <a:pt x="457" y="958"/>
                  </a:lnTo>
                  <a:lnTo>
                    <a:pt x="466" y="956"/>
                  </a:lnTo>
                  <a:lnTo>
                    <a:pt x="477" y="954"/>
                  </a:lnTo>
                  <a:lnTo>
                    <a:pt x="488" y="953"/>
                  </a:lnTo>
                  <a:lnTo>
                    <a:pt x="498" y="953"/>
                  </a:lnTo>
                  <a:lnTo>
                    <a:pt x="521" y="954"/>
                  </a:lnTo>
                  <a:lnTo>
                    <a:pt x="544" y="954"/>
                  </a:lnTo>
                  <a:lnTo>
                    <a:pt x="566" y="954"/>
                  </a:lnTo>
                  <a:lnTo>
                    <a:pt x="589" y="952"/>
                  </a:lnTo>
                  <a:lnTo>
                    <a:pt x="604" y="946"/>
                  </a:lnTo>
                  <a:lnTo>
                    <a:pt x="617" y="940"/>
                  </a:lnTo>
                  <a:lnTo>
                    <a:pt x="629" y="933"/>
                  </a:lnTo>
                  <a:lnTo>
                    <a:pt x="641" y="925"/>
                  </a:lnTo>
                  <a:lnTo>
                    <a:pt x="664" y="906"/>
                  </a:lnTo>
                  <a:lnTo>
                    <a:pt x="686" y="889"/>
                  </a:lnTo>
                  <a:lnTo>
                    <a:pt x="697" y="880"/>
                  </a:lnTo>
                  <a:lnTo>
                    <a:pt x="709" y="872"/>
                  </a:lnTo>
                  <a:lnTo>
                    <a:pt x="722" y="864"/>
                  </a:lnTo>
                  <a:lnTo>
                    <a:pt x="736" y="857"/>
                  </a:lnTo>
                  <a:lnTo>
                    <a:pt x="750" y="852"/>
                  </a:lnTo>
                  <a:lnTo>
                    <a:pt x="765" y="846"/>
                  </a:lnTo>
                  <a:lnTo>
                    <a:pt x="782" y="844"/>
                  </a:lnTo>
                  <a:lnTo>
                    <a:pt x="801" y="844"/>
                  </a:lnTo>
                  <a:lnTo>
                    <a:pt x="809" y="844"/>
                  </a:lnTo>
                  <a:lnTo>
                    <a:pt x="817" y="846"/>
                  </a:lnTo>
                  <a:lnTo>
                    <a:pt x="823" y="850"/>
                  </a:lnTo>
                  <a:lnTo>
                    <a:pt x="830" y="854"/>
                  </a:lnTo>
                  <a:lnTo>
                    <a:pt x="841" y="866"/>
                  </a:lnTo>
                  <a:lnTo>
                    <a:pt x="850" y="881"/>
                  </a:lnTo>
                  <a:lnTo>
                    <a:pt x="861" y="896"/>
                  </a:lnTo>
                  <a:lnTo>
                    <a:pt x="870" y="909"/>
                  </a:lnTo>
                  <a:lnTo>
                    <a:pt x="877" y="916"/>
                  </a:lnTo>
                  <a:lnTo>
                    <a:pt x="882" y="921"/>
                  </a:lnTo>
                  <a:lnTo>
                    <a:pt x="889" y="925"/>
                  </a:lnTo>
                  <a:lnTo>
                    <a:pt x="897" y="928"/>
                  </a:lnTo>
                  <a:lnTo>
                    <a:pt x="897" y="942"/>
                  </a:lnTo>
                  <a:lnTo>
                    <a:pt x="897" y="950"/>
                  </a:lnTo>
                  <a:lnTo>
                    <a:pt x="897" y="958"/>
                  </a:lnTo>
                  <a:lnTo>
                    <a:pt x="897" y="970"/>
                  </a:lnTo>
                  <a:lnTo>
                    <a:pt x="898" y="974"/>
                  </a:lnTo>
                  <a:lnTo>
                    <a:pt x="899" y="981"/>
                  </a:lnTo>
                  <a:lnTo>
                    <a:pt x="903" y="988"/>
                  </a:lnTo>
                  <a:lnTo>
                    <a:pt x="909" y="994"/>
                  </a:lnTo>
                  <a:lnTo>
                    <a:pt x="921" y="1009"/>
                  </a:lnTo>
                  <a:lnTo>
                    <a:pt x="935" y="1024"/>
                  </a:lnTo>
                  <a:lnTo>
                    <a:pt x="951" y="1038"/>
                  </a:lnTo>
                  <a:lnTo>
                    <a:pt x="967" y="1049"/>
                  </a:lnTo>
                  <a:lnTo>
                    <a:pt x="975" y="1054"/>
                  </a:lnTo>
                  <a:lnTo>
                    <a:pt x="982" y="1057"/>
                  </a:lnTo>
                  <a:lnTo>
                    <a:pt x="987" y="1060"/>
                  </a:lnTo>
                  <a:lnTo>
                    <a:pt x="993" y="1060"/>
                  </a:lnTo>
                  <a:lnTo>
                    <a:pt x="1002" y="1058"/>
                  </a:lnTo>
                  <a:lnTo>
                    <a:pt x="1010" y="1056"/>
                  </a:lnTo>
                  <a:lnTo>
                    <a:pt x="1019" y="1049"/>
                  </a:lnTo>
                  <a:lnTo>
                    <a:pt x="1027" y="1041"/>
                  </a:lnTo>
                  <a:lnTo>
                    <a:pt x="1035" y="1032"/>
                  </a:lnTo>
                  <a:lnTo>
                    <a:pt x="1043" y="1022"/>
                  </a:lnTo>
                  <a:lnTo>
                    <a:pt x="1050" y="1012"/>
                  </a:lnTo>
                  <a:lnTo>
                    <a:pt x="1057" y="1000"/>
                  </a:lnTo>
                  <a:lnTo>
                    <a:pt x="1075" y="958"/>
                  </a:lnTo>
                  <a:lnTo>
                    <a:pt x="1083" y="940"/>
                  </a:lnTo>
                  <a:lnTo>
                    <a:pt x="1103" y="940"/>
                  </a:lnTo>
                  <a:lnTo>
                    <a:pt x="1118" y="940"/>
                  </a:lnTo>
                  <a:lnTo>
                    <a:pt x="1131" y="940"/>
                  </a:lnTo>
                  <a:lnTo>
                    <a:pt x="1143" y="940"/>
                  </a:lnTo>
                  <a:lnTo>
                    <a:pt x="1149" y="938"/>
                  </a:lnTo>
                  <a:lnTo>
                    <a:pt x="1153" y="936"/>
                  </a:lnTo>
                  <a:lnTo>
                    <a:pt x="1157" y="932"/>
                  </a:lnTo>
                  <a:lnTo>
                    <a:pt x="1161" y="928"/>
                  </a:lnTo>
                  <a:lnTo>
                    <a:pt x="1169" y="920"/>
                  </a:lnTo>
                  <a:lnTo>
                    <a:pt x="1174" y="916"/>
                  </a:lnTo>
                  <a:lnTo>
                    <a:pt x="1182" y="913"/>
                  </a:lnTo>
                  <a:lnTo>
                    <a:pt x="1191" y="910"/>
                  </a:lnTo>
                  <a:lnTo>
                    <a:pt x="1201" y="909"/>
                  </a:lnTo>
                  <a:lnTo>
                    <a:pt x="1209" y="909"/>
                  </a:lnTo>
                  <a:lnTo>
                    <a:pt x="1225" y="909"/>
                  </a:lnTo>
                  <a:lnTo>
                    <a:pt x="1242" y="912"/>
                  </a:lnTo>
                  <a:lnTo>
                    <a:pt x="1257" y="913"/>
                  </a:lnTo>
                  <a:lnTo>
                    <a:pt x="1271" y="916"/>
                  </a:lnTo>
                  <a:lnTo>
                    <a:pt x="1286" y="917"/>
                  </a:lnTo>
                  <a:lnTo>
                    <a:pt x="1301" y="916"/>
                  </a:lnTo>
                  <a:lnTo>
                    <a:pt x="1307" y="914"/>
                  </a:lnTo>
                  <a:lnTo>
                    <a:pt x="1314" y="912"/>
                  </a:lnTo>
                  <a:lnTo>
                    <a:pt x="1319" y="908"/>
                  </a:lnTo>
                  <a:lnTo>
                    <a:pt x="1323" y="904"/>
                  </a:lnTo>
                  <a:lnTo>
                    <a:pt x="1330" y="894"/>
                  </a:lnTo>
                  <a:lnTo>
                    <a:pt x="1337" y="884"/>
                  </a:lnTo>
                  <a:lnTo>
                    <a:pt x="1342" y="873"/>
                  </a:lnTo>
                  <a:lnTo>
                    <a:pt x="1349" y="861"/>
                  </a:lnTo>
                  <a:lnTo>
                    <a:pt x="1354" y="856"/>
                  </a:lnTo>
                  <a:lnTo>
                    <a:pt x="1359" y="852"/>
                  </a:lnTo>
                  <a:lnTo>
                    <a:pt x="1365" y="848"/>
                  </a:lnTo>
                  <a:lnTo>
                    <a:pt x="1373" y="844"/>
                  </a:lnTo>
                  <a:lnTo>
                    <a:pt x="1369" y="830"/>
                  </a:lnTo>
                  <a:lnTo>
                    <a:pt x="1365" y="816"/>
                  </a:lnTo>
                  <a:lnTo>
                    <a:pt x="1362" y="802"/>
                  </a:lnTo>
                  <a:lnTo>
                    <a:pt x="1361" y="789"/>
                  </a:lnTo>
                  <a:lnTo>
                    <a:pt x="1361" y="784"/>
                  </a:lnTo>
                  <a:lnTo>
                    <a:pt x="1363" y="778"/>
                  </a:lnTo>
                  <a:lnTo>
                    <a:pt x="1366" y="774"/>
                  </a:lnTo>
                  <a:lnTo>
                    <a:pt x="1370" y="770"/>
                  </a:lnTo>
                  <a:lnTo>
                    <a:pt x="1373" y="766"/>
                  </a:lnTo>
                  <a:lnTo>
                    <a:pt x="1375" y="761"/>
                  </a:lnTo>
                  <a:lnTo>
                    <a:pt x="1378" y="754"/>
                  </a:lnTo>
                  <a:lnTo>
                    <a:pt x="1378" y="747"/>
                  </a:lnTo>
                  <a:lnTo>
                    <a:pt x="1377" y="731"/>
                  </a:lnTo>
                  <a:lnTo>
                    <a:pt x="1373" y="713"/>
                  </a:lnTo>
                  <a:lnTo>
                    <a:pt x="1367" y="695"/>
                  </a:lnTo>
                  <a:lnTo>
                    <a:pt x="1361" y="676"/>
                  </a:lnTo>
                  <a:lnTo>
                    <a:pt x="1354" y="659"/>
                  </a:lnTo>
                  <a:lnTo>
                    <a:pt x="1347" y="643"/>
                  </a:lnTo>
                  <a:lnTo>
                    <a:pt x="1343" y="628"/>
                  </a:lnTo>
                  <a:lnTo>
                    <a:pt x="1342" y="615"/>
                  </a:lnTo>
                  <a:lnTo>
                    <a:pt x="1342" y="607"/>
                  </a:lnTo>
                  <a:lnTo>
                    <a:pt x="1342" y="584"/>
                  </a:lnTo>
                  <a:lnTo>
                    <a:pt x="1342" y="572"/>
                  </a:lnTo>
                  <a:lnTo>
                    <a:pt x="1341" y="560"/>
                  </a:lnTo>
                  <a:lnTo>
                    <a:pt x="1339" y="551"/>
                  </a:lnTo>
                  <a:lnTo>
                    <a:pt x="1338" y="541"/>
                  </a:lnTo>
                  <a:lnTo>
                    <a:pt x="1333" y="524"/>
                  </a:lnTo>
                  <a:lnTo>
                    <a:pt x="1325" y="507"/>
                  </a:lnTo>
                  <a:lnTo>
                    <a:pt x="1325" y="440"/>
                  </a:lnTo>
                  <a:lnTo>
                    <a:pt x="1325" y="452"/>
                  </a:lnTo>
                  <a:lnTo>
                    <a:pt x="1301" y="453"/>
                  </a:lnTo>
                  <a:lnTo>
                    <a:pt x="1278" y="457"/>
                  </a:lnTo>
                  <a:lnTo>
                    <a:pt x="1267" y="460"/>
                  </a:lnTo>
                  <a:lnTo>
                    <a:pt x="1257" y="463"/>
                  </a:lnTo>
                  <a:lnTo>
                    <a:pt x="1247" y="467"/>
                  </a:lnTo>
                  <a:lnTo>
                    <a:pt x="1238" y="472"/>
                  </a:lnTo>
                  <a:lnTo>
                    <a:pt x="1230" y="477"/>
                  </a:lnTo>
                  <a:lnTo>
                    <a:pt x="1223" y="483"/>
                  </a:lnTo>
                  <a:lnTo>
                    <a:pt x="1217" y="491"/>
                  </a:lnTo>
                  <a:lnTo>
                    <a:pt x="1211" y="497"/>
                  </a:lnTo>
                  <a:lnTo>
                    <a:pt x="1206" y="507"/>
                  </a:lnTo>
                  <a:lnTo>
                    <a:pt x="1202" y="516"/>
                  </a:lnTo>
                  <a:lnTo>
                    <a:pt x="1199" y="525"/>
                  </a:lnTo>
                  <a:lnTo>
                    <a:pt x="1198" y="536"/>
                  </a:lnTo>
                  <a:lnTo>
                    <a:pt x="1162" y="536"/>
                  </a:lnTo>
                  <a:lnTo>
                    <a:pt x="1163" y="519"/>
                  </a:lnTo>
                  <a:lnTo>
                    <a:pt x="1167" y="503"/>
                  </a:lnTo>
                  <a:lnTo>
                    <a:pt x="1171" y="487"/>
                  </a:lnTo>
                  <a:lnTo>
                    <a:pt x="1174" y="471"/>
                  </a:lnTo>
                  <a:lnTo>
                    <a:pt x="1173" y="460"/>
                  </a:lnTo>
                  <a:lnTo>
                    <a:pt x="1169" y="452"/>
                  </a:lnTo>
                  <a:lnTo>
                    <a:pt x="1165" y="444"/>
                  </a:lnTo>
                  <a:lnTo>
                    <a:pt x="1158" y="437"/>
                  </a:lnTo>
                  <a:lnTo>
                    <a:pt x="1153" y="432"/>
                  </a:lnTo>
                  <a:lnTo>
                    <a:pt x="1149" y="425"/>
                  </a:lnTo>
                  <a:lnTo>
                    <a:pt x="1145" y="419"/>
                  </a:lnTo>
                  <a:lnTo>
                    <a:pt x="1143" y="409"/>
                  </a:lnTo>
                  <a:lnTo>
                    <a:pt x="1145" y="401"/>
                  </a:lnTo>
                  <a:lnTo>
                    <a:pt x="1146" y="393"/>
                  </a:lnTo>
                  <a:lnTo>
                    <a:pt x="1149" y="387"/>
                  </a:lnTo>
                  <a:lnTo>
                    <a:pt x="1153" y="380"/>
                  </a:lnTo>
                  <a:lnTo>
                    <a:pt x="1155" y="375"/>
                  </a:lnTo>
                  <a:lnTo>
                    <a:pt x="1159" y="368"/>
                  </a:lnTo>
                  <a:lnTo>
                    <a:pt x="1161" y="363"/>
                  </a:lnTo>
                  <a:lnTo>
                    <a:pt x="1162" y="356"/>
                  </a:lnTo>
                  <a:lnTo>
                    <a:pt x="1161" y="349"/>
                  </a:lnTo>
                  <a:lnTo>
                    <a:pt x="1161" y="343"/>
                  </a:lnTo>
                  <a:lnTo>
                    <a:pt x="1158" y="336"/>
                  </a:lnTo>
                  <a:lnTo>
                    <a:pt x="1155" y="331"/>
                  </a:lnTo>
                  <a:lnTo>
                    <a:pt x="1151" y="327"/>
                  </a:lnTo>
                  <a:lnTo>
                    <a:pt x="1146" y="323"/>
                  </a:lnTo>
                  <a:lnTo>
                    <a:pt x="1139" y="320"/>
                  </a:lnTo>
                  <a:lnTo>
                    <a:pt x="1131" y="320"/>
                  </a:lnTo>
                  <a:lnTo>
                    <a:pt x="1117" y="321"/>
                  </a:lnTo>
                  <a:lnTo>
                    <a:pt x="1103" y="324"/>
                  </a:lnTo>
                  <a:lnTo>
                    <a:pt x="1090" y="329"/>
                  </a:lnTo>
                  <a:lnTo>
                    <a:pt x="1077" y="335"/>
                  </a:lnTo>
                  <a:lnTo>
                    <a:pt x="1065" y="340"/>
                  </a:lnTo>
                  <a:lnTo>
                    <a:pt x="1051" y="345"/>
                  </a:lnTo>
                  <a:lnTo>
                    <a:pt x="1038" y="348"/>
                  </a:lnTo>
                  <a:lnTo>
                    <a:pt x="1023" y="349"/>
                  </a:lnTo>
                  <a:lnTo>
                    <a:pt x="1010" y="349"/>
                  </a:lnTo>
                  <a:lnTo>
                    <a:pt x="998" y="347"/>
                  </a:lnTo>
                  <a:lnTo>
                    <a:pt x="986" y="344"/>
                  </a:lnTo>
                  <a:lnTo>
                    <a:pt x="975" y="340"/>
                  </a:lnTo>
                  <a:lnTo>
                    <a:pt x="954" y="331"/>
                  </a:lnTo>
                  <a:lnTo>
                    <a:pt x="935" y="319"/>
                  </a:lnTo>
                  <a:lnTo>
                    <a:pt x="918" y="307"/>
                  </a:lnTo>
                  <a:lnTo>
                    <a:pt x="901" y="296"/>
                  </a:lnTo>
                  <a:lnTo>
                    <a:pt x="893" y="292"/>
                  </a:lnTo>
                  <a:lnTo>
                    <a:pt x="885" y="288"/>
                  </a:lnTo>
                  <a:lnTo>
                    <a:pt x="875" y="285"/>
                  </a:lnTo>
                  <a:lnTo>
                    <a:pt x="866" y="284"/>
                  </a:lnTo>
                  <a:lnTo>
                    <a:pt x="839" y="284"/>
                  </a:lnTo>
                  <a:lnTo>
                    <a:pt x="808" y="285"/>
                  </a:lnTo>
                  <a:lnTo>
                    <a:pt x="793" y="284"/>
                  </a:lnTo>
                  <a:lnTo>
                    <a:pt x="778" y="284"/>
                  </a:lnTo>
                  <a:lnTo>
                    <a:pt x="766" y="281"/>
                  </a:lnTo>
                  <a:lnTo>
                    <a:pt x="758" y="277"/>
                  </a:lnTo>
                  <a:lnTo>
                    <a:pt x="752" y="271"/>
                  </a:lnTo>
                  <a:lnTo>
                    <a:pt x="748" y="263"/>
                  </a:lnTo>
                  <a:lnTo>
                    <a:pt x="742" y="255"/>
                  </a:lnTo>
                  <a:lnTo>
                    <a:pt x="740" y="247"/>
                  </a:lnTo>
                  <a:lnTo>
                    <a:pt x="734" y="229"/>
                  </a:lnTo>
                  <a:lnTo>
                    <a:pt x="730" y="212"/>
                  </a:lnTo>
                  <a:lnTo>
                    <a:pt x="725" y="195"/>
                  </a:lnTo>
                  <a:lnTo>
                    <a:pt x="717" y="179"/>
                  </a:lnTo>
                  <a:lnTo>
                    <a:pt x="713" y="171"/>
                  </a:lnTo>
                  <a:lnTo>
                    <a:pt x="708" y="164"/>
                  </a:lnTo>
                  <a:lnTo>
                    <a:pt x="701" y="158"/>
                  </a:lnTo>
                  <a:lnTo>
                    <a:pt x="692" y="151"/>
                  </a:lnTo>
                  <a:lnTo>
                    <a:pt x="649" y="127"/>
                  </a:lnTo>
                  <a:lnTo>
                    <a:pt x="602" y="102"/>
                  </a:lnTo>
                  <a:lnTo>
                    <a:pt x="576" y="91"/>
                  </a:lnTo>
                  <a:lnTo>
                    <a:pt x="550" y="80"/>
                  </a:lnTo>
                  <a:lnTo>
                    <a:pt x="522" y="72"/>
                  </a:lnTo>
                  <a:lnTo>
                    <a:pt x="493" y="67"/>
                  </a:lnTo>
                  <a:lnTo>
                    <a:pt x="457" y="60"/>
                  </a:lnTo>
                  <a:lnTo>
                    <a:pt x="400" y="50"/>
                  </a:lnTo>
                  <a:lnTo>
                    <a:pt x="370" y="43"/>
                  </a:lnTo>
                  <a:lnTo>
                    <a:pt x="345" y="35"/>
                  </a:lnTo>
                  <a:lnTo>
                    <a:pt x="334" y="31"/>
                  </a:lnTo>
                  <a:lnTo>
                    <a:pt x="326" y="27"/>
                  </a:lnTo>
                  <a:lnTo>
                    <a:pt x="321" y="23"/>
                  </a:lnTo>
                  <a:lnTo>
                    <a:pt x="318" y="19"/>
                  </a:lnTo>
                  <a:lnTo>
                    <a:pt x="258" y="0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accent1">
                  <a:lumMod val="20000"/>
                  <a:lumOff val="8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95" b="0" i="0" u="none" strike="noStrike" kern="1200" cap="none" spc="0" normalizeH="0" baseline="0" noProof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2" name="Freeform 47"/>
            <p:cNvSpPr>
              <a:spLocks/>
            </p:cNvSpPr>
            <p:nvPr/>
          </p:nvSpPr>
          <p:spPr bwMode="auto">
            <a:xfrm>
              <a:off x="5261683" y="2523550"/>
              <a:ext cx="48106" cy="81828"/>
            </a:xfrm>
            <a:custGeom>
              <a:avLst/>
              <a:gdLst>
                <a:gd name="T0" fmla="*/ 591 w 667"/>
                <a:gd name="T1" fmla="*/ 1089 h 1138"/>
                <a:gd name="T2" fmla="*/ 621 w 667"/>
                <a:gd name="T3" fmla="*/ 1045 h 1138"/>
                <a:gd name="T4" fmla="*/ 623 w 667"/>
                <a:gd name="T5" fmla="*/ 993 h 1138"/>
                <a:gd name="T6" fmla="*/ 597 w 667"/>
                <a:gd name="T7" fmla="*/ 915 h 1138"/>
                <a:gd name="T8" fmla="*/ 583 w 667"/>
                <a:gd name="T9" fmla="*/ 849 h 1138"/>
                <a:gd name="T10" fmla="*/ 610 w 667"/>
                <a:gd name="T11" fmla="*/ 779 h 1138"/>
                <a:gd name="T12" fmla="*/ 663 w 667"/>
                <a:gd name="T13" fmla="*/ 704 h 1138"/>
                <a:gd name="T14" fmla="*/ 665 w 667"/>
                <a:gd name="T15" fmla="*/ 657 h 1138"/>
                <a:gd name="T16" fmla="*/ 645 w 667"/>
                <a:gd name="T17" fmla="*/ 633 h 1138"/>
                <a:gd name="T18" fmla="*/ 598 w 667"/>
                <a:gd name="T19" fmla="*/ 625 h 1138"/>
                <a:gd name="T20" fmla="*/ 539 w 667"/>
                <a:gd name="T21" fmla="*/ 624 h 1138"/>
                <a:gd name="T22" fmla="*/ 537 w 667"/>
                <a:gd name="T23" fmla="*/ 593 h 1138"/>
                <a:gd name="T24" fmla="*/ 566 w 667"/>
                <a:gd name="T25" fmla="*/ 511 h 1138"/>
                <a:gd name="T26" fmla="*/ 567 w 667"/>
                <a:gd name="T27" fmla="*/ 458 h 1138"/>
                <a:gd name="T28" fmla="*/ 541 w 667"/>
                <a:gd name="T29" fmla="*/ 408 h 1138"/>
                <a:gd name="T30" fmla="*/ 535 w 667"/>
                <a:gd name="T31" fmla="*/ 376 h 1138"/>
                <a:gd name="T32" fmla="*/ 553 w 667"/>
                <a:gd name="T33" fmla="*/ 358 h 1138"/>
                <a:gd name="T34" fmla="*/ 590 w 667"/>
                <a:gd name="T35" fmla="*/ 320 h 1138"/>
                <a:gd name="T36" fmla="*/ 633 w 667"/>
                <a:gd name="T37" fmla="*/ 292 h 1138"/>
                <a:gd name="T38" fmla="*/ 655 w 667"/>
                <a:gd name="T39" fmla="*/ 259 h 1138"/>
                <a:gd name="T40" fmla="*/ 642 w 667"/>
                <a:gd name="T41" fmla="*/ 186 h 1138"/>
                <a:gd name="T42" fmla="*/ 598 w 667"/>
                <a:gd name="T43" fmla="*/ 122 h 1138"/>
                <a:gd name="T44" fmla="*/ 571 w 667"/>
                <a:gd name="T45" fmla="*/ 67 h 1138"/>
                <a:gd name="T46" fmla="*/ 553 w 667"/>
                <a:gd name="T47" fmla="*/ 2 h 1138"/>
                <a:gd name="T48" fmla="*/ 511 w 667"/>
                <a:gd name="T49" fmla="*/ 19 h 1138"/>
                <a:gd name="T50" fmla="*/ 475 w 667"/>
                <a:gd name="T51" fmla="*/ 55 h 1138"/>
                <a:gd name="T52" fmla="*/ 435 w 667"/>
                <a:gd name="T53" fmla="*/ 58 h 1138"/>
                <a:gd name="T54" fmla="*/ 366 w 667"/>
                <a:gd name="T55" fmla="*/ 36 h 1138"/>
                <a:gd name="T56" fmla="*/ 313 w 667"/>
                <a:gd name="T57" fmla="*/ 39 h 1138"/>
                <a:gd name="T58" fmla="*/ 271 w 667"/>
                <a:gd name="T59" fmla="*/ 34 h 1138"/>
                <a:gd name="T60" fmla="*/ 226 w 667"/>
                <a:gd name="T61" fmla="*/ 48 h 1138"/>
                <a:gd name="T62" fmla="*/ 188 w 667"/>
                <a:gd name="T63" fmla="*/ 60 h 1138"/>
                <a:gd name="T64" fmla="*/ 125 w 667"/>
                <a:gd name="T65" fmla="*/ 120 h 1138"/>
                <a:gd name="T66" fmla="*/ 70 w 667"/>
                <a:gd name="T67" fmla="*/ 130 h 1138"/>
                <a:gd name="T68" fmla="*/ 0 w 667"/>
                <a:gd name="T69" fmla="*/ 218 h 1138"/>
                <a:gd name="T70" fmla="*/ 17 w 667"/>
                <a:gd name="T71" fmla="*/ 283 h 1138"/>
                <a:gd name="T72" fmla="*/ 22 w 667"/>
                <a:gd name="T73" fmla="*/ 354 h 1138"/>
                <a:gd name="T74" fmla="*/ 52 w 667"/>
                <a:gd name="T75" fmla="*/ 442 h 1138"/>
                <a:gd name="T76" fmla="*/ 45 w 667"/>
                <a:gd name="T77" fmla="*/ 481 h 1138"/>
                <a:gd name="T78" fmla="*/ 37 w 667"/>
                <a:gd name="T79" fmla="*/ 517 h 1138"/>
                <a:gd name="T80" fmla="*/ 65 w 667"/>
                <a:gd name="T81" fmla="*/ 588 h 1138"/>
                <a:gd name="T82" fmla="*/ 153 w 667"/>
                <a:gd name="T83" fmla="*/ 661 h 1138"/>
                <a:gd name="T84" fmla="*/ 202 w 667"/>
                <a:gd name="T85" fmla="*/ 713 h 1138"/>
                <a:gd name="T86" fmla="*/ 244 w 667"/>
                <a:gd name="T87" fmla="*/ 797 h 1138"/>
                <a:gd name="T88" fmla="*/ 285 w 667"/>
                <a:gd name="T89" fmla="*/ 824 h 1138"/>
                <a:gd name="T90" fmla="*/ 290 w 667"/>
                <a:gd name="T91" fmla="*/ 848 h 1138"/>
                <a:gd name="T92" fmla="*/ 270 w 667"/>
                <a:gd name="T93" fmla="*/ 880 h 1138"/>
                <a:gd name="T94" fmla="*/ 283 w 667"/>
                <a:gd name="T95" fmla="*/ 905 h 1138"/>
                <a:gd name="T96" fmla="*/ 310 w 667"/>
                <a:gd name="T97" fmla="*/ 936 h 1138"/>
                <a:gd name="T98" fmla="*/ 309 w 667"/>
                <a:gd name="T99" fmla="*/ 964 h 1138"/>
                <a:gd name="T100" fmla="*/ 301 w 667"/>
                <a:gd name="T101" fmla="*/ 988 h 1138"/>
                <a:gd name="T102" fmla="*/ 315 w 667"/>
                <a:gd name="T103" fmla="*/ 1031 h 1138"/>
                <a:gd name="T104" fmla="*/ 373 w 667"/>
                <a:gd name="T105" fmla="*/ 1056 h 1138"/>
                <a:gd name="T106" fmla="*/ 473 w 667"/>
                <a:gd name="T107" fmla="*/ 1072 h 1138"/>
                <a:gd name="T108" fmla="*/ 509 w 667"/>
                <a:gd name="T109" fmla="*/ 1098 h 1138"/>
                <a:gd name="T110" fmla="*/ 517 w 667"/>
                <a:gd name="T111" fmla="*/ 1138 h 113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667"/>
                <a:gd name="T169" fmla="*/ 0 h 1138"/>
                <a:gd name="T170" fmla="*/ 667 w 667"/>
                <a:gd name="T171" fmla="*/ 1138 h 1138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667" h="1138">
                  <a:moveTo>
                    <a:pt x="517" y="1138"/>
                  </a:moveTo>
                  <a:lnTo>
                    <a:pt x="537" y="1126"/>
                  </a:lnTo>
                  <a:lnTo>
                    <a:pt x="557" y="1116"/>
                  </a:lnTo>
                  <a:lnTo>
                    <a:pt x="575" y="1102"/>
                  </a:lnTo>
                  <a:lnTo>
                    <a:pt x="591" y="1089"/>
                  </a:lnTo>
                  <a:lnTo>
                    <a:pt x="599" y="1081"/>
                  </a:lnTo>
                  <a:lnTo>
                    <a:pt x="606" y="1073"/>
                  </a:lnTo>
                  <a:lnTo>
                    <a:pt x="611" y="1065"/>
                  </a:lnTo>
                  <a:lnTo>
                    <a:pt x="617" y="1056"/>
                  </a:lnTo>
                  <a:lnTo>
                    <a:pt x="621" y="1045"/>
                  </a:lnTo>
                  <a:lnTo>
                    <a:pt x="623" y="1036"/>
                  </a:lnTo>
                  <a:lnTo>
                    <a:pt x="625" y="1024"/>
                  </a:lnTo>
                  <a:lnTo>
                    <a:pt x="626" y="1012"/>
                  </a:lnTo>
                  <a:lnTo>
                    <a:pt x="625" y="1003"/>
                  </a:lnTo>
                  <a:lnTo>
                    <a:pt x="623" y="993"/>
                  </a:lnTo>
                  <a:lnTo>
                    <a:pt x="622" y="984"/>
                  </a:lnTo>
                  <a:lnTo>
                    <a:pt x="619" y="975"/>
                  </a:lnTo>
                  <a:lnTo>
                    <a:pt x="613" y="956"/>
                  </a:lnTo>
                  <a:lnTo>
                    <a:pt x="605" y="936"/>
                  </a:lnTo>
                  <a:lnTo>
                    <a:pt x="597" y="915"/>
                  </a:lnTo>
                  <a:lnTo>
                    <a:pt x="590" y="893"/>
                  </a:lnTo>
                  <a:lnTo>
                    <a:pt x="587" y="883"/>
                  </a:lnTo>
                  <a:lnTo>
                    <a:pt x="585" y="872"/>
                  </a:lnTo>
                  <a:lnTo>
                    <a:pt x="583" y="861"/>
                  </a:lnTo>
                  <a:lnTo>
                    <a:pt x="583" y="849"/>
                  </a:lnTo>
                  <a:lnTo>
                    <a:pt x="585" y="836"/>
                  </a:lnTo>
                  <a:lnTo>
                    <a:pt x="587" y="823"/>
                  </a:lnTo>
                  <a:lnTo>
                    <a:pt x="591" y="811"/>
                  </a:lnTo>
                  <a:lnTo>
                    <a:pt x="597" y="800"/>
                  </a:lnTo>
                  <a:lnTo>
                    <a:pt x="610" y="779"/>
                  </a:lnTo>
                  <a:lnTo>
                    <a:pt x="626" y="760"/>
                  </a:lnTo>
                  <a:lnTo>
                    <a:pt x="641" y="743"/>
                  </a:lnTo>
                  <a:lnTo>
                    <a:pt x="654" y="724"/>
                  </a:lnTo>
                  <a:lnTo>
                    <a:pt x="659" y="715"/>
                  </a:lnTo>
                  <a:lnTo>
                    <a:pt x="663" y="704"/>
                  </a:lnTo>
                  <a:lnTo>
                    <a:pt x="666" y="693"/>
                  </a:lnTo>
                  <a:lnTo>
                    <a:pt x="667" y="681"/>
                  </a:lnTo>
                  <a:lnTo>
                    <a:pt x="667" y="672"/>
                  </a:lnTo>
                  <a:lnTo>
                    <a:pt x="666" y="664"/>
                  </a:lnTo>
                  <a:lnTo>
                    <a:pt x="665" y="657"/>
                  </a:lnTo>
                  <a:lnTo>
                    <a:pt x="662" y="651"/>
                  </a:lnTo>
                  <a:lnTo>
                    <a:pt x="659" y="645"/>
                  </a:lnTo>
                  <a:lnTo>
                    <a:pt x="655" y="641"/>
                  </a:lnTo>
                  <a:lnTo>
                    <a:pt x="650" y="637"/>
                  </a:lnTo>
                  <a:lnTo>
                    <a:pt x="645" y="633"/>
                  </a:lnTo>
                  <a:lnTo>
                    <a:pt x="639" y="631"/>
                  </a:lnTo>
                  <a:lnTo>
                    <a:pt x="633" y="628"/>
                  </a:lnTo>
                  <a:lnTo>
                    <a:pt x="625" y="627"/>
                  </a:lnTo>
                  <a:lnTo>
                    <a:pt x="617" y="625"/>
                  </a:lnTo>
                  <a:lnTo>
                    <a:pt x="598" y="625"/>
                  </a:lnTo>
                  <a:lnTo>
                    <a:pt x="577" y="627"/>
                  </a:lnTo>
                  <a:lnTo>
                    <a:pt x="563" y="628"/>
                  </a:lnTo>
                  <a:lnTo>
                    <a:pt x="550" y="629"/>
                  </a:lnTo>
                  <a:lnTo>
                    <a:pt x="543" y="628"/>
                  </a:lnTo>
                  <a:lnTo>
                    <a:pt x="539" y="624"/>
                  </a:lnTo>
                  <a:lnTo>
                    <a:pt x="538" y="621"/>
                  </a:lnTo>
                  <a:lnTo>
                    <a:pt x="537" y="617"/>
                  </a:lnTo>
                  <a:lnTo>
                    <a:pt x="535" y="613"/>
                  </a:lnTo>
                  <a:lnTo>
                    <a:pt x="535" y="608"/>
                  </a:lnTo>
                  <a:lnTo>
                    <a:pt x="537" y="593"/>
                  </a:lnTo>
                  <a:lnTo>
                    <a:pt x="541" y="577"/>
                  </a:lnTo>
                  <a:lnTo>
                    <a:pt x="546" y="561"/>
                  </a:lnTo>
                  <a:lnTo>
                    <a:pt x="553" y="544"/>
                  </a:lnTo>
                  <a:lnTo>
                    <a:pt x="559" y="528"/>
                  </a:lnTo>
                  <a:lnTo>
                    <a:pt x="566" y="511"/>
                  </a:lnTo>
                  <a:lnTo>
                    <a:pt x="570" y="493"/>
                  </a:lnTo>
                  <a:lnTo>
                    <a:pt x="571" y="476"/>
                  </a:lnTo>
                  <a:lnTo>
                    <a:pt x="571" y="469"/>
                  </a:lnTo>
                  <a:lnTo>
                    <a:pt x="570" y="463"/>
                  </a:lnTo>
                  <a:lnTo>
                    <a:pt x="567" y="458"/>
                  </a:lnTo>
                  <a:lnTo>
                    <a:pt x="566" y="452"/>
                  </a:lnTo>
                  <a:lnTo>
                    <a:pt x="559" y="442"/>
                  </a:lnTo>
                  <a:lnTo>
                    <a:pt x="553" y="431"/>
                  </a:lnTo>
                  <a:lnTo>
                    <a:pt x="546" y="419"/>
                  </a:lnTo>
                  <a:lnTo>
                    <a:pt x="541" y="408"/>
                  </a:lnTo>
                  <a:lnTo>
                    <a:pt x="538" y="402"/>
                  </a:lnTo>
                  <a:lnTo>
                    <a:pt x="537" y="395"/>
                  </a:lnTo>
                  <a:lnTo>
                    <a:pt x="535" y="387"/>
                  </a:lnTo>
                  <a:lnTo>
                    <a:pt x="535" y="380"/>
                  </a:lnTo>
                  <a:lnTo>
                    <a:pt x="535" y="376"/>
                  </a:lnTo>
                  <a:lnTo>
                    <a:pt x="537" y="372"/>
                  </a:lnTo>
                  <a:lnTo>
                    <a:pt x="538" y="368"/>
                  </a:lnTo>
                  <a:lnTo>
                    <a:pt x="541" y="366"/>
                  </a:lnTo>
                  <a:lnTo>
                    <a:pt x="546" y="362"/>
                  </a:lnTo>
                  <a:lnTo>
                    <a:pt x="553" y="358"/>
                  </a:lnTo>
                  <a:lnTo>
                    <a:pt x="569" y="351"/>
                  </a:lnTo>
                  <a:lnTo>
                    <a:pt x="583" y="344"/>
                  </a:lnTo>
                  <a:lnTo>
                    <a:pt x="585" y="335"/>
                  </a:lnTo>
                  <a:lnTo>
                    <a:pt x="586" y="327"/>
                  </a:lnTo>
                  <a:lnTo>
                    <a:pt x="590" y="320"/>
                  </a:lnTo>
                  <a:lnTo>
                    <a:pt x="594" y="315"/>
                  </a:lnTo>
                  <a:lnTo>
                    <a:pt x="606" y="307"/>
                  </a:lnTo>
                  <a:lnTo>
                    <a:pt x="619" y="300"/>
                  </a:lnTo>
                  <a:lnTo>
                    <a:pt x="626" y="296"/>
                  </a:lnTo>
                  <a:lnTo>
                    <a:pt x="633" y="292"/>
                  </a:lnTo>
                  <a:lnTo>
                    <a:pt x="639" y="288"/>
                  </a:lnTo>
                  <a:lnTo>
                    <a:pt x="645" y="283"/>
                  </a:lnTo>
                  <a:lnTo>
                    <a:pt x="649" y="276"/>
                  </a:lnTo>
                  <a:lnTo>
                    <a:pt x="653" y="268"/>
                  </a:lnTo>
                  <a:lnTo>
                    <a:pt x="655" y="259"/>
                  </a:lnTo>
                  <a:lnTo>
                    <a:pt x="655" y="247"/>
                  </a:lnTo>
                  <a:lnTo>
                    <a:pt x="654" y="230"/>
                  </a:lnTo>
                  <a:lnTo>
                    <a:pt x="651" y="214"/>
                  </a:lnTo>
                  <a:lnTo>
                    <a:pt x="647" y="199"/>
                  </a:lnTo>
                  <a:lnTo>
                    <a:pt x="642" y="186"/>
                  </a:lnTo>
                  <a:lnTo>
                    <a:pt x="635" y="174"/>
                  </a:lnTo>
                  <a:lnTo>
                    <a:pt x="629" y="162"/>
                  </a:lnTo>
                  <a:lnTo>
                    <a:pt x="621" y="151"/>
                  </a:lnTo>
                  <a:lnTo>
                    <a:pt x="614" y="142"/>
                  </a:lnTo>
                  <a:lnTo>
                    <a:pt x="598" y="122"/>
                  </a:lnTo>
                  <a:lnTo>
                    <a:pt x="585" y="104"/>
                  </a:lnTo>
                  <a:lnTo>
                    <a:pt x="579" y="95"/>
                  </a:lnTo>
                  <a:lnTo>
                    <a:pt x="575" y="86"/>
                  </a:lnTo>
                  <a:lnTo>
                    <a:pt x="573" y="76"/>
                  </a:lnTo>
                  <a:lnTo>
                    <a:pt x="571" y="67"/>
                  </a:lnTo>
                  <a:lnTo>
                    <a:pt x="570" y="55"/>
                  </a:lnTo>
                  <a:lnTo>
                    <a:pt x="569" y="38"/>
                  </a:lnTo>
                  <a:lnTo>
                    <a:pt x="566" y="19"/>
                  </a:lnTo>
                  <a:lnTo>
                    <a:pt x="565" y="0"/>
                  </a:lnTo>
                  <a:lnTo>
                    <a:pt x="553" y="2"/>
                  </a:lnTo>
                  <a:lnTo>
                    <a:pt x="542" y="3"/>
                  </a:lnTo>
                  <a:lnTo>
                    <a:pt x="533" y="6"/>
                  </a:lnTo>
                  <a:lnTo>
                    <a:pt x="525" y="10"/>
                  </a:lnTo>
                  <a:lnTo>
                    <a:pt x="518" y="15"/>
                  </a:lnTo>
                  <a:lnTo>
                    <a:pt x="511" y="19"/>
                  </a:lnTo>
                  <a:lnTo>
                    <a:pt x="506" y="24"/>
                  </a:lnTo>
                  <a:lnTo>
                    <a:pt x="501" y="31"/>
                  </a:lnTo>
                  <a:lnTo>
                    <a:pt x="491" y="42"/>
                  </a:lnTo>
                  <a:lnTo>
                    <a:pt x="481" y="51"/>
                  </a:lnTo>
                  <a:lnTo>
                    <a:pt x="475" y="55"/>
                  </a:lnTo>
                  <a:lnTo>
                    <a:pt x="469" y="58"/>
                  </a:lnTo>
                  <a:lnTo>
                    <a:pt x="461" y="60"/>
                  </a:lnTo>
                  <a:lnTo>
                    <a:pt x="451" y="60"/>
                  </a:lnTo>
                  <a:lnTo>
                    <a:pt x="442" y="60"/>
                  </a:lnTo>
                  <a:lnTo>
                    <a:pt x="435" y="58"/>
                  </a:lnTo>
                  <a:lnTo>
                    <a:pt x="430" y="55"/>
                  </a:lnTo>
                  <a:lnTo>
                    <a:pt x="425" y="51"/>
                  </a:lnTo>
                  <a:lnTo>
                    <a:pt x="417" y="43"/>
                  </a:lnTo>
                  <a:lnTo>
                    <a:pt x="409" y="36"/>
                  </a:lnTo>
                  <a:lnTo>
                    <a:pt x="366" y="36"/>
                  </a:lnTo>
                  <a:lnTo>
                    <a:pt x="366" y="60"/>
                  </a:lnTo>
                  <a:lnTo>
                    <a:pt x="337" y="60"/>
                  </a:lnTo>
                  <a:lnTo>
                    <a:pt x="327" y="54"/>
                  </a:lnTo>
                  <a:lnTo>
                    <a:pt x="318" y="43"/>
                  </a:lnTo>
                  <a:lnTo>
                    <a:pt x="313" y="39"/>
                  </a:lnTo>
                  <a:lnTo>
                    <a:pt x="306" y="35"/>
                  </a:lnTo>
                  <a:lnTo>
                    <a:pt x="301" y="31"/>
                  </a:lnTo>
                  <a:lnTo>
                    <a:pt x="294" y="31"/>
                  </a:lnTo>
                  <a:lnTo>
                    <a:pt x="282" y="31"/>
                  </a:lnTo>
                  <a:lnTo>
                    <a:pt x="271" y="34"/>
                  </a:lnTo>
                  <a:lnTo>
                    <a:pt x="262" y="36"/>
                  </a:lnTo>
                  <a:lnTo>
                    <a:pt x="253" y="39"/>
                  </a:lnTo>
                  <a:lnTo>
                    <a:pt x="245" y="43"/>
                  </a:lnTo>
                  <a:lnTo>
                    <a:pt x="236" y="46"/>
                  </a:lnTo>
                  <a:lnTo>
                    <a:pt x="226" y="48"/>
                  </a:lnTo>
                  <a:lnTo>
                    <a:pt x="216" y="48"/>
                  </a:lnTo>
                  <a:lnTo>
                    <a:pt x="209" y="50"/>
                  </a:lnTo>
                  <a:lnTo>
                    <a:pt x="201" y="52"/>
                  </a:lnTo>
                  <a:lnTo>
                    <a:pt x="194" y="56"/>
                  </a:lnTo>
                  <a:lnTo>
                    <a:pt x="188" y="60"/>
                  </a:lnTo>
                  <a:lnTo>
                    <a:pt x="176" y="74"/>
                  </a:lnTo>
                  <a:lnTo>
                    <a:pt x="162" y="88"/>
                  </a:lnTo>
                  <a:lnTo>
                    <a:pt x="149" y="102"/>
                  </a:lnTo>
                  <a:lnTo>
                    <a:pt x="134" y="115"/>
                  </a:lnTo>
                  <a:lnTo>
                    <a:pt x="125" y="120"/>
                  </a:lnTo>
                  <a:lnTo>
                    <a:pt x="117" y="123"/>
                  </a:lnTo>
                  <a:lnTo>
                    <a:pt x="106" y="126"/>
                  </a:lnTo>
                  <a:lnTo>
                    <a:pt x="96" y="127"/>
                  </a:lnTo>
                  <a:lnTo>
                    <a:pt x="82" y="128"/>
                  </a:lnTo>
                  <a:lnTo>
                    <a:pt x="70" y="130"/>
                  </a:lnTo>
                  <a:lnTo>
                    <a:pt x="58" y="132"/>
                  </a:lnTo>
                  <a:lnTo>
                    <a:pt x="48" y="136"/>
                  </a:lnTo>
                  <a:lnTo>
                    <a:pt x="25" y="144"/>
                  </a:lnTo>
                  <a:lnTo>
                    <a:pt x="0" y="151"/>
                  </a:lnTo>
                  <a:lnTo>
                    <a:pt x="0" y="218"/>
                  </a:lnTo>
                  <a:lnTo>
                    <a:pt x="8" y="235"/>
                  </a:lnTo>
                  <a:lnTo>
                    <a:pt x="13" y="252"/>
                  </a:lnTo>
                  <a:lnTo>
                    <a:pt x="14" y="262"/>
                  </a:lnTo>
                  <a:lnTo>
                    <a:pt x="16" y="271"/>
                  </a:lnTo>
                  <a:lnTo>
                    <a:pt x="17" y="283"/>
                  </a:lnTo>
                  <a:lnTo>
                    <a:pt x="17" y="295"/>
                  </a:lnTo>
                  <a:lnTo>
                    <a:pt x="17" y="318"/>
                  </a:lnTo>
                  <a:lnTo>
                    <a:pt x="17" y="326"/>
                  </a:lnTo>
                  <a:lnTo>
                    <a:pt x="18" y="339"/>
                  </a:lnTo>
                  <a:lnTo>
                    <a:pt x="22" y="354"/>
                  </a:lnTo>
                  <a:lnTo>
                    <a:pt x="29" y="370"/>
                  </a:lnTo>
                  <a:lnTo>
                    <a:pt x="36" y="387"/>
                  </a:lnTo>
                  <a:lnTo>
                    <a:pt x="42" y="406"/>
                  </a:lnTo>
                  <a:lnTo>
                    <a:pt x="48" y="424"/>
                  </a:lnTo>
                  <a:lnTo>
                    <a:pt x="52" y="442"/>
                  </a:lnTo>
                  <a:lnTo>
                    <a:pt x="53" y="458"/>
                  </a:lnTo>
                  <a:lnTo>
                    <a:pt x="53" y="465"/>
                  </a:lnTo>
                  <a:lnTo>
                    <a:pt x="50" y="472"/>
                  </a:lnTo>
                  <a:lnTo>
                    <a:pt x="48" y="477"/>
                  </a:lnTo>
                  <a:lnTo>
                    <a:pt x="45" y="481"/>
                  </a:lnTo>
                  <a:lnTo>
                    <a:pt x="41" y="485"/>
                  </a:lnTo>
                  <a:lnTo>
                    <a:pt x="38" y="489"/>
                  </a:lnTo>
                  <a:lnTo>
                    <a:pt x="36" y="495"/>
                  </a:lnTo>
                  <a:lnTo>
                    <a:pt x="36" y="500"/>
                  </a:lnTo>
                  <a:lnTo>
                    <a:pt x="37" y="517"/>
                  </a:lnTo>
                  <a:lnTo>
                    <a:pt x="40" y="533"/>
                  </a:lnTo>
                  <a:lnTo>
                    <a:pt x="44" y="549"/>
                  </a:lnTo>
                  <a:lnTo>
                    <a:pt x="49" y="563"/>
                  </a:lnTo>
                  <a:lnTo>
                    <a:pt x="57" y="576"/>
                  </a:lnTo>
                  <a:lnTo>
                    <a:pt x="65" y="588"/>
                  </a:lnTo>
                  <a:lnTo>
                    <a:pt x="74" y="600"/>
                  </a:lnTo>
                  <a:lnTo>
                    <a:pt x="85" y="611"/>
                  </a:lnTo>
                  <a:lnTo>
                    <a:pt x="106" y="629"/>
                  </a:lnTo>
                  <a:lnTo>
                    <a:pt x="129" y="645"/>
                  </a:lnTo>
                  <a:lnTo>
                    <a:pt x="153" y="661"/>
                  </a:lnTo>
                  <a:lnTo>
                    <a:pt x="174" y="675"/>
                  </a:lnTo>
                  <a:lnTo>
                    <a:pt x="182" y="683"/>
                  </a:lnTo>
                  <a:lnTo>
                    <a:pt x="190" y="692"/>
                  </a:lnTo>
                  <a:lnTo>
                    <a:pt x="196" y="703"/>
                  </a:lnTo>
                  <a:lnTo>
                    <a:pt x="202" y="713"/>
                  </a:lnTo>
                  <a:lnTo>
                    <a:pt x="213" y="739"/>
                  </a:lnTo>
                  <a:lnTo>
                    <a:pt x="224" y="764"/>
                  </a:lnTo>
                  <a:lnTo>
                    <a:pt x="229" y="776"/>
                  </a:lnTo>
                  <a:lnTo>
                    <a:pt x="236" y="787"/>
                  </a:lnTo>
                  <a:lnTo>
                    <a:pt x="244" y="797"/>
                  </a:lnTo>
                  <a:lnTo>
                    <a:pt x="252" y="807"/>
                  </a:lnTo>
                  <a:lnTo>
                    <a:pt x="261" y="815"/>
                  </a:lnTo>
                  <a:lnTo>
                    <a:pt x="273" y="820"/>
                  </a:lnTo>
                  <a:lnTo>
                    <a:pt x="278" y="823"/>
                  </a:lnTo>
                  <a:lnTo>
                    <a:pt x="285" y="824"/>
                  </a:lnTo>
                  <a:lnTo>
                    <a:pt x="293" y="825"/>
                  </a:lnTo>
                  <a:lnTo>
                    <a:pt x="301" y="825"/>
                  </a:lnTo>
                  <a:lnTo>
                    <a:pt x="299" y="833"/>
                  </a:lnTo>
                  <a:lnTo>
                    <a:pt x="295" y="841"/>
                  </a:lnTo>
                  <a:lnTo>
                    <a:pt x="290" y="848"/>
                  </a:lnTo>
                  <a:lnTo>
                    <a:pt x="285" y="855"/>
                  </a:lnTo>
                  <a:lnTo>
                    <a:pt x="279" y="861"/>
                  </a:lnTo>
                  <a:lnTo>
                    <a:pt x="275" y="867"/>
                  </a:lnTo>
                  <a:lnTo>
                    <a:pt x="271" y="873"/>
                  </a:lnTo>
                  <a:lnTo>
                    <a:pt x="270" y="880"/>
                  </a:lnTo>
                  <a:lnTo>
                    <a:pt x="270" y="885"/>
                  </a:lnTo>
                  <a:lnTo>
                    <a:pt x="271" y="889"/>
                  </a:lnTo>
                  <a:lnTo>
                    <a:pt x="274" y="895"/>
                  </a:lnTo>
                  <a:lnTo>
                    <a:pt x="277" y="899"/>
                  </a:lnTo>
                  <a:lnTo>
                    <a:pt x="283" y="905"/>
                  </a:lnTo>
                  <a:lnTo>
                    <a:pt x="291" y="913"/>
                  </a:lnTo>
                  <a:lnTo>
                    <a:pt x="299" y="920"/>
                  </a:lnTo>
                  <a:lnTo>
                    <a:pt x="306" y="927"/>
                  </a:lnTo>
                  <a:lnTo>
                    <a:pt x="309" y="931"/>
                  </a:lnTo>
                  <a:lnTo>
                    <a:pt x="310" y="936"/>
                  </a:lnTo>
                  <a:lnTo>
                    <a:pt x="311" y="940"/>
                  </a:lnTo>
                  <a:lnTo>
                    <a:pt x="313" y="945"/>
                  </a:lnTo>
                  <a:lnTo>
                    <a:pt x="311" y="953"/>
                  </a:lnTo>
                  <a:lnTo>
                    <a:pt x="310" y="959"/>
                  </a:lnTo>
                  <a:lnTo>
                    <a:pt x="309" y="964"/>
                  </a:lnTo>
                  <a:lnTo>
                    <a:pt x="306" y="967"/>
                  </a:lnTo>
                  <a:lnTo>
                    <a:pt x="303" y="971"/>
                  </a:lnTo>
                  <a:lnTo>
                    <a:pt x="302" y="975"/>
                  </a:lnTo>
                  <a:lnTo>
                    <a:pt x="301" y="980"/>
                  </a:lnTo>
                  <a:lnTo>
                    <a:pt x="301" y="988"/>
                  </a:lnTo>
                  <a:lnTo>
                    <a:pt x="301" y="999"/>
                  </a:lnTo>
                  <a:lnTo>
                    <a:pt x="303" y="1008"/>
                  </a:lnTo>
                  <a:lnTo>
                    <a:pt x="306" y="1017"/>
                  </a:lnTo>
                  <a:lnTo>
                    <a:pt x="310" y="1024"/>
                  </a:lnTo>
                  <a:lnTo>
                    <a:pt x="315" y="1031"/>
                  </a:lnTo>
                  <a:lnTo>
                    <a:pt x="322" y="1036"/>
                  </a:lnTo>
                  <a:lnTo>
                    <a:pt x="329" y="1041"/>
                  </a:lnTo>
                  <a:lnTo>
                    <a:pt x="337" y="1045"/>
                  </a:lnTo>
                  <a:lnTo>
                    <a:pt x="354" y="1052"/>
                  </a:lnTo>
                  <a:lnTo>
                    <a:pt x="373" y="1056"/>
                  </a:lnTo>
                  <a:lnTo>
                    <a:pt x="394" y="1060"/>
                  </a:lnTo>
                  <a:lnTo>
                    <a:pt x="414" y="1062"/>
                  </a:lnTo>
                  <a:lnTo>
                    <a:pt x="435" y="1065"/>
                  </a:lnTo>
                  <a:lnTo>
                    <a:pt x="455" y="1068"/>
                  </a:lnTo>
                  <a:lnTo>
                    <a:pt x="473" y="1072"/>
                  </a:lnTo>
                  <a:lnTo>
                    <a:pt x="489" y="1078"/>
                  </a:lnTo>
                  <a:lnTo>
                    <a:pt x="495" y="1082"/>
                  </a:lnTo>
                  <a:lnTo>
                    <a:pt x="501" y="1086"/>
                  </a:lnTo>
                  <a:lnTo>
                    <a:pt x="505" y="1092"/>
                  </a:lnTo>
                  <a:lnTo>
                    <a:pt x="509" y="1098"/>
                  </a:lnTo>
                  <a:lnTo>
                    <a:pt x="511" y="1105"/>
                  </a:lnTo>
                  <a:lnTo>
                    <a:pt x="513" y="1113"/>
                  </a:lnTo>
                  <a:lnTo>
                    <a:pt x="513" y="1122"/>
                  </a:lnTo>
                  <a:lnTo>
                    <a:pt x="511" y="1132"/>
                  </a:lnTo>
                  <a:lnTo>
                    <a:pt x="517" y="1138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accent1">
                  <a:lumMod val="20000"/>
                  <a:lumOff val="8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95" b="0" i="0" u="none" strike="noStrike" kern="1200" cap="none" spc="0" normalizeH="0" baseline="0" noProof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3" name="Freeform 48"/>
            <p:cNvSpPr>
              <a:spLocks/>
            </p:cNvSpPr>
            <p:nvPr/>
          </p:nvSpPr>
          <p:spPr bwMode="auto">
            <a:xfrm>
              <a:off x="5372044" y="2372864"/>
              <a:ext cx="202564" cy="238172"/>
            </a:xfrm>
            <a:custGeom>
              <a:avLst/>
              <a:gdLst>
                <a:gd name="T0" fmla="*/ 1236 w 2819"/>
                <a:gd name="T1" fmla="*/ 135 h 3306"/>
                <a:gd name="T2" fmla="*/ 1330 w 2819"/>
                <a:gd name="T3" fmla="*/ 305 h 3306"/>
                <a:gd name="T4" fmla="*/ 1437 w 2819"/>
                <a:gd name="T5" fmla="*/ 417 h 3306"/>
                <a:gd name="T6" fmla="*/ 1516 w 2819"/>
                <a:gd name="T7" fmla="*/ 633 h 3306"/>
                <a:gd name="T8" fmla="*/ 1560 w 2819"/>
                <a:gd name="T9" fmla="*/ 1014 h 3306"/>
                <a:gd name="T10" fmla="*/ 1644 w 2819"/>
                <a:gd name="T11" fmla="*/ 1186 h 3306"/>
                <a:gd name="T12" fmla="*/ 1862 w 2819"/>
                <a:gd name="T13" fmla="*/ 1019 h 3306"/>
                <a:gd name="T14" fmla="*/ 1997 w 2819"/>
                <a:gd name="T15" fmla="*/ 1063 h 3306"/>
                <a:gd name="T16" fmla="*/ 2133 w 2819"/>
                <a:gd name="T17" fmla="*/ 708 h 3306"/>
                <a:gd name="T18" fmla="*/ 2301 w 2819"/>
                <a:gd name="T19" fmla="*/ 602 h 3306"/>
                <a:gd name="T20" fmla="*/ 2449 w 2819"/>
                <a:gd name="T21" fmla="*/ 750 h 3306"/>
                <a:gd name="T22" fmla="*/ 2627 w 2819"/>
                <a:gd name="T23" fmla="*/ 722 h 3306"/>
                <a:gd name="T24" fmla="*/ 2819 w 2819"/>
                <a:gd name="T25" fmla="*/ 951 h 3306"/>
                <a:gd name="T26" fmla="*/ 2620 w 2819"/>
                <a:gd name="T27" fmla="*/ 1019 h 3306"/>
                <a:gd name="T28" fmla="*/ 2740 w 2819"/>
                <a:gd name="T29" fmla="*/ 1253 h 3306"/>
                <a:gd name="T30" fmla="*/ 2679 w 2819"/>
                <a:gd name="T31" fmla="*/ 1416 h 3306"/>
                <a:gd name="T32" fmla="*/ 2559 w 2819"/>
                <a:gd name="T33" fmla="*/ 1355 h 3306"/>
                <a:gd name="T34" fmla="*/ 2379 w 2819"/>
                <a:gd name="T35" fmla="*/ 1552 h 3306"/>
                <a:gd name="T36" fmla="*/ 2278 w 2819"/>
                <a:gd name="T37" fmla="*/ 1616 h 3306"/>
                <a:gd name="T38" fmla="*/ 2154 w 2819"/>
                <a:gd name="T39" fmla="*/ 1598 h 3306"/>
                <a:gd name="T40" fmla="*/ 1987 w 2819"/>
                <a:gd name="T41" fmla="*/ 1578 h 3306"/>
                <a:gd name="T42" fmla="*/ 1837 w 2819"/>
                <a:gd name="T43" fmla="*/ 1674 h 3306"/>
                <a:gd name="T44" fmla="*/ 1773 w 2819"/>
                <a:gd name="T45" fmla="*/ 1770 h 3306"/>
                <a:gd name="T46" fmla="*/ 1688 w 2819"/>
                <a:gd name="T47" fmla="*/ 1895 h 3306"/>
                <a:gd name="T48" fmla="*/ 1733 w 2819"/>
                <a:gd name="T49" fmla="*/ 2131 h 3306"/>
                <a:gd name="T50" fmla="*/ 1826 w 2819"/>
                <a:gd name="T51" fmla="*/ 2313 h 3306"/>
                <a:gd name="T52" fmla="*/ 1680 w 2819"/>
                <a:gd name="T53" fmla="*/ 2802 h 3306"/>
                <a:gd name="T54" fmla="*/ 1528 w 2819"/>
                <a:gd name="T55" fmla="*/ 3022 h 3306"/>
                <a:gd name="T56" fmla="*/ 1385 w 2819"/>
                <a:gd name="T57" fmla="*/ 3173 h 3306"/>
                <a:gd name="T58" fmla="*/ 1308 w 2819"/>
                <a:gd name="T59" fmla="*/ 3305 h 3306"/>
                <a:gd name="T60" fmla="*/ 1257 w 2819"/>
                <a:gd name="T61" fmla="*/ 3225 h 3306"/>
                <a:gd name="T62" fmla="*/ 1085 w 2819"/>
                <a:gd name="T63" fmla="*/ 3106 h 3306"/>
                <a:gd name="T64" fmla="*/ 923 w 2819"/>
                <a:gd name="T65" fmla="*/ 3038 h 3306"/>
                <a:gd name="T66" fmla="*/ 713 w 2819"/>
                <a:gd name="T67" fmla="*/ 2926 h 3306"/>
                <a:gd name="T68" fmla="*/ 623 w 2819"/>
                <a:gd name="T69" fmla="*/ 2872 h 3306"/>
                <a:gd name="T70" fmla="*/ 456 w 2819"/>
                <a:gd name="T71" fmla="*/ 2944 h 3306"/>
                <a:gd name="T72" fmla="*/ 218 w 2819"/>
                <a:gd name="T73" fmla="*/ 2820 h 3306"/>
                <a:gd name="T74" fmla="*/ 74 w 2819"/>
                <a:gd name="T75" fmla="*/ 2764 h 3306"/>
                <a:gd name="T76" fmla="*/ 56 w 2819"/>
                <a:gd name="T77" fmla="*/ 2628 h 3306"/>
                <a:gd name="T78" fmla="*/ 139 w 2819"/>
                <a:gd name="T79" fmla="*/ 2540 h 3306"/>
                <a:gd name="T80" fmla="*/ 139 w 2819"/>
                <a:gd name="T81" fmla="*/ 2364 h 3306"/>
                <a:gd name="T82" fmla="*/ 204 w 2819"/>
                <a:gd name="T83" fmla="*/ 2204 h 3306"/>
                <a:gd name="T84" fmla="*/ 215 w 2819"/>
                <a:gd name="T85" fmla="*/ 2036 h 3306"/>
                <a:gd name="T86" fmla="*/ 222 w 2819"/>
                <a:gd name="T87" fmla="*/ 1818 h 3306"/>
                <a:gd name="T88" fmla="*/ 419 w 2819"/>
                <a:gd name="T89" fmla="*/ 1743 h 3306"/>
                <a:gd name="T90" fmla="*/ 545 w 2819"/>
                <a:gd name="T91" fmla="*/ 1778 h 3306"/>
                <a:gd name="T92" fmla="*/ 617 w 2819"/>
                <a:gd name="T93" fmla="*/ 1806 h 3306"/>
                <a:gd name="T94" fmla="*/ 677 w 2819"/>
                <a:gd name="T95" fmla="*/ 1604 h 3306"/>
                <a:gd name="T96" fmla="*/ 768 w 2819"/>
                <a:gd name="T97" fmla="*/ 1440 h 3306"/>
                <a:gd name="T98" fmla="*/ 835 w 2819"/>
                <a:gd name="T99" fmla="*/ 1338 h 3306"/>
                <a:gd name="T100" fmla="*/ 1032 w 2819"/>
                <a:gd name="T101" fmla="*/ 1454 h 3306"/>
                <a:gd name="T102" fmla="*/ 1084 w 2819"/>
                <a:gd name="T103" fmla="*/ 1326 h 3306"/>
                <a:gd name="T104" fmla="*/ 1009 w 2819"/>
                <a:gd name="T105" fmla="*/ 1186 h 3306"/>
                <a:gd name="T106" fmla="*/ 940 w 2819"/>
                <a:gd name="T107" fmla="*/ 1030 h 3306"/>
                <a:gd name="T108" fmla="*/ 941 w 2819"/>
                <a:gd name="T109" fmla="*/ 794 h 3306"/>
                <a:gd name="T110" fmla="*/ 1016 w 2819"/>
                <a:gd name="T111" fmla="*/ 678 h 3306"/>
                <a:gd name="T112" fmla="*/ 1053 w 2819"/>
                <a:gd name="T113" fmla="*/ 537 h 3306"/>
                <a:gd name="T114" fmla="*/ 1048 w 2819"/>
                <a:gd name="T115" fmla="*/ 404 h 3306"/>
                <a:gd name="T116" fmla="*/ 1017 w 2819"/>
                <a:gd name="T117" fmla="*/ 244 h 3306"/>
                <a:gd name="T118" fmla="*/ 988 w 2819"/>
                <a:gd name="T119" fmla="*/ 116 h 3306"/>
                <a:gd name="T120" fmla="*/ 1132 w 2819"/>
                <a:gd name="T121" fmla="*/ 8 h 330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2819"/>
                <a:gd name="T184" fmla="*/ 0 h 3306"/>
                <a:gd name="T185" fmla="*/ 2819 w 2819"/>
                <a:gd name="T186" fmla="*/ 3306 h 330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2819" h="3306">
                  <a:moveTo>
                    <a:pt x="1174" y="12"/>
                  </a:moveTo>
                  <a:lnTo>
                    <a:pt x="1184" y="17"/>
                  </a:lnTo>
                  <a:lnTo>
                    <a:pt x="1188" y="21"/>
                  </a:lnTo>
                  <a:lnTo>
                    <a:pt x="1188" y="27"/>
                  </a:lnTo>
                  <a:lnTo>
                    <a:pt x="1186" y="43"/>
                  </a:lnTo>
                  <a:lnTo>
                    <a:pt x="1186" y="55"/>
                  </a:lnTo>
                  <a:lnTo>
                    <a:pt x="1182" y="65"/>
                  </a:lnTo>
                  <a:lnTo>
                    <a:pt x="1178" y="73"/>
                  </a:lnTo>
                  <a:lnTo>
                    <a:pt x="1174" y="81"/>
                  </a:lnTo>
                  <a:lnTo>
                    <a:pt x="1169" y="88"/>
                  </a:lnTo>
                  <a:lnTo>
                    <a:pt x="1164" y="96"/>
                  </a:lnTo>
                  <a:lnTo>
                    <a:pt x="1160" y="104"/>
                  </a:lnTo>
                  <a:lnTo>
                    <a:pt x="1157" y="115"/>
                  </a:lnTo>
                  <a:lnTo>
                    <a:pt x="1186" y="120"/>
                  </a:lnTo>
                  <a:lnTo>
                    <a:pt x="1213" y="127"/>
                  </a:lnTo>
                  <a:lnTo>
                    <a:pt x="1224" y="131"/>
                  </a:lnTo>
                  <a:lnTo>
                    <a:pt x="1236" y="135"/>
                  </a:lnTo>
                  <a:lnTo>
                    <a:pt x="1245" y="140"/>
                  </a:lnTo>
                  <a:lnTo>
                    <a:pt x="1254" y="145"/>
                  </a:lnTo>
                  <a:lnTo>
                    <a:pt x="1264" y="152"/>
                  </a:lnTo>
                  <a:lnTo>
                    <a:pt x="1272" y="159"/>
                  </a:lnTo>
                  <a:lnTo>
                    <a:pt x="1278" y="167"/>
                  </a:lnTo>
                  <a:lnTo>
                    <a:pt x="1285" y="175"/>
                  </a:lnTo>
                  <a:lnTo>
                    <a:pt x="1292" y="184"/>
                  </a:lnTo>
                  <a:lnTo>
                    <a:pt x="1297" y="195"/>
                  </a:lnTo>
                  <a:lnTo>
                    <a:pt x="1302" y="205"/>
                  </a:lnTo>
                  <a:lnTo>
                    <a:pt x="1308" y="217"/>
                  </a:lnTo>
                  <a:lnTo>
                    <a:pt x="1313" y="226"/>
                  </a:lnTo>
                  <a:lnTo>
                    <a:pt x="1317" y="234"/>
                  </a:lnTo>
                  <a:lnTo>
                    <a:pt x="1320" y="244"/>
                  </a:lnTo>
                  <a:lnTo>
                    <a:pt x="1322" y="252"/>
                  </a:lnTo>
                  <a:lnTo>
                    <a:pt x="1326" y="269"/>
                  </a:lnTo>
                  <a:lnTo>
                    <a:pt x="1329" y="286"/>
                  </a:lnTo>
                  <a:lnTo>
                    <a:pt x="1330" y="305"/>
                  </a:lnTo>
                  <a:lnTo>
                    <a:pt x="1334" y="322"/>
                  </a:lnTo>
                  <a:lnTo>
                    <a:pt x="1337" y="332"/>
                  </a:lnTo>
                  <a:lnTo>
                    <a:pt x="1340" y="342"/>
                  </a:lnTo>
                  <a:lnTo>
                    <a:pt x="1344" y="352"/>
                  </a:lnTo>
                  <a:lnTo>
                    <a:pt x="1349" y="361"/>
                  </a:lnTo>
                  <a:lnTo>
                    <a:pt x="1353" y="366"/>
                  </a:lnTo>
                  <a:lnTo>
                    <a:pt x="1358" y="372"/>
                  </a:lnTo>
                  <a:lnTo>
                    <a:pt x="1365" y="374"/>
                  </a:lnTo>
                  <a:lnTo>
                    <a:pt x="1372" y="378"/>
                  </a:lnTo>
                  <a:lnTo>
                    <a:pt x="1386" y="384"/>
                  </a:lnTo>
                  <a:lnTo>
                    <a:pt x="1401" y="389"/>
                  </a:lnTo>
                  <a:lnTo>
                    <a:pt x="1409" y="392"/>
                  </a:lnTo>
                  <a:lnTo>
                    <a:pt x="1416" y="396"/>
                  </a:lnTo>
                  <a:lnTo>
                    <a:pt x="1422" y="400"/>
                  </a:lnTo>
                  <a:lnTo>
                    <a:pt x="1428" y="404"/>
                  </a:lnTo>
                  <a:lnTo>
                    <a:pt x="1433" y="409"/>
                  </a:lnTo>
                  <a:lnTo>
                    <a:pt x="1437" y="417"/>
                  </a:lnTo>
                  <a:lnTo>
                    <a:pt x="1438" y="425"/>
                  </a:lnTo>
                  <a:lnTo>
                    <a:pt x="1440" y="434"/>
                  </a:lnTo>
                  <a:lnTo>
                    <a:pt x="1440" y="462"/>
                  </a:lnTo>
                  <a:lnTo>
                    <a:pt x="1440" y="481"/>
                  </a:lnTo>
                  <a:lnTo>
                    <a:pt x="1440" y="492"/>
                  </a:lnTo>
                  <a:lnTo>
                    <a:pt x="1440" y="500"/>
                  </a:lnTo>
                  <a:lnTo>
                    <a:pt x="1441" y="516"/>
                  </a:lnTo>
                  <a:lnTo>
                    <a:pt x="1442" y="530"/>
                  </a:lnTo>
                  <a:lnTo>
                    <a:pt x="1446" y="544"/>
                  </a:lnTo>
                  <a:lnTo>
                    <a:pt x="1450" y="557"/>
                  </a:lnTo>
                  <a:lnTo>
                    <a:pt x="1457" y="569"/>
                  </a:lnTo>
                  <a:lnTo>
                    <a:pt x="1464" y="581"/>
                  </a:lnTo>
                  <a:lnTo>
                    <a:pt x="1472" y="593"/>
                  </a:lnTo>
                  <a:lnTo>
                    <a:pt x="1481" y="604"/>
                  </a:lnTo>
                  <a:lnTo>
                    <a:pt x="1492" y="613"/>
                  </a:lnTo>
                  <a:lnTo>
                    <a:pt x="1504" y="624"/>
                  </a:lnTo>
                  <a:lnTo>
                    <a:pt x="1516" y="633"/>
                  </a:lnTo>
                  <a:lnTo>
                    <a:pt x="1529" y="641"/>
                  </a:lnTo>
                  <a:lnTo>
                    <a:pt x="1558" y="658"/>
                  </a:lnTo>
                  <a:lnTo>
                    <a:pt x="1590" y="674"/>
                  </a:lnTo>
                  <a:lnTo>
                    <a:pt x="1588" y="692"/>
                  </a:lnTo>
                  <a:lnTo>
                    <a:pt x="1584" y="708"/>
                  </a:lnTo>
                  <a:lnTo>
                    <a:pt x="1578" y="724"/>
                  </a:lnTo>
                  <a:lnTo>
                    <a:pt x="1573" y="738"/>
                  </a:lnTo>
                  <a:lnTo>
                    <a:pt x="1568" y="754"/>
                  </a:lnTo>
                  <a:lnTo>
                    <a:pt x="1564" y="770"/>
                  </a:lnTo>
                  <a:lnTo>
                    <a:pt x="1561" y="788"/>
                  </a:lnTo>
                  <a:lnTo>
                    <a:pt x="1560" y="807"/>
                  </a:lnTo>
                  <a:lnTo>
                    <a:pt x="1560" y="849"/>
                  </a:lnTo>
                  <a:lnTo>
                    <a:pt x="1560" y="886"/>
                  </a:lnTo>
                  <a:lnTo>
                    <a:pt x="1560" y="919"/>
                  </a:lnTo>
                  <a:lnTo>
                    <a:pt x="1560" y="951"/>
                  </a:lnTo>
                  <a:lnTo>
                    <a:pt x="1560" y="982"/>
                  </a:lnTo>
                  <a:lnTo>
                    <a:pt x="1560" y="1014"/>
                  </a:lnTo>
                  <a:lnTo>
                    <a:pt x="1560" y="1050"/>
                  </a:lnTo>
                  <a:lnTo>
                    <a:pt x="1560" y="1090"/>
                  </a:lnTo>
                  <a:lnTo>
                    <a:pt x="1561" y="1106"/>
                  </a:lnTo>
                  <a:lnTo>
                    <a:pt x="1561" y="1123"/>
                  </a:lnTo>
                  <a:lnTo>
                    <a:pt x="1562" y="1131"/>
                  </a:lnTo>
                  <a:lnTo>
                    <a:pt x="1564" y="1139"/>
                  </a:lnTo>
                  <a:lnTo>
                    <a:pt x="1566" y="1147"/>
                  </a:lnTo>
                  <a:lnTo>
                    <a:pt x="1569" y="1154"/>
                  </a:lnTo>
                  <a:lnTo>
                    <a:pt x="1573" y="1161"/>
                  </a:lnTo>
                  <a:lnTo>
                    <a:pt x="1578" y="1167"/>
                  </a:lnTo>
                  <a:lnTo>
                    <a:pt x="1584" y="1173"/>
                  </a:lnTo>
                  <a:lnTo>
                    <a:pt x="1590" y="1178"/>
                  </a:lnTo>
                  <a:lnTo>
                    <a:pt x="1600" y="1181"/>
                  </a:lnTo>
                  <a:lnTo>
                    <a:pt x="1609" y="1185"/>
                  </a:lnTo>
                  <a:lnTo>
                    <a:pt x="1620" y="1186"/>
                  </a:lnTo>
                  <a:lnTo>
                    <a:pt x="1633" y="1186"/>
                  </a:lnTo>
                  <a:lnTo>
                    <a:pt x="1644" y="1186"/>
                  </a:lnTo>
                  <a:lnTo>
                    <a:pt x="1656" y="1185"/>
                  </a:lnTo>
                  <a:lnTo>
                    <a:pt x="1666" y="1182"/>
                  </a:lnTo>
                  <a:lnTo>
                    <a:pt x="1676" y="1179"/>
                  </a:lnTo>
                  <a:lnTo>
                    <a:pt x="1686" y="1175"/>
                  </a:lnTo>
                  <a:lnTo>
                    <a:pt x="1696" y="1170"/>
                  </a:lnTo>
                  <a:lnTo>
                    <a:pt x="1704" y="1165"/>
                  </a:lnTo>
                  <a:lnTo>
                    <a:pt x="1713" y="1159"/>
                  </a:lnTo>
                  <a:lnTo>
                    <a:pt x="1729" y="1146"/>
                  </a:lnTo>
                  <a:lnTo>
                    <a:pt x="1745" y="1131"/>
                  </a:lnTo>
                  <a:lnTo>
                    <a:pt x="1760" y="1115"/>
                  </a:lnTo>
                  <a:lnTo>
                    <a:pt x="1774" y="1099"/>
                  </a:lnTo>
                  <a:lnTo>
                    <a:pt x="1787" y="1083"/>
                  </a:lnTo>
                  <a:lnTo>
                    <a:pt x="1802" y="1067"/>
                  </a:lnTo>
                  <a:lnTo>
                    <a:pt x="1815" y="1053"/>
                  </a:lnTo>
                  <a:lnTo>
                    <a:pt x="1830" y="1039"/>
                  </a:lnTo>
                  <a:lnTo>
                    <a:pt x="1846" y="1027"/>
                  </a:lnTo>
                  <a:lnTo>
                    <a:pt x="1862" y="1019"/>
                  </a:lnTo>
                  <a:lnTo>
                    <a:pt x="1870" y="1017"/>
                  </a:lnTo>
                  <a:lnTo>
                    <a:pt x="1879" y="1014"/>
                  </a:lnTo>
                  <a:lnTo>
                    <a:pt x="1887" y="1013"/>
                  </a:lnTo>
                  <a:lnTo>
                    <a:pt x="1897" y="1011"/>
                  </a:lnTo>
                  <a:lnTo>
                    <a:pt x="1903" y="1013"/>
                  </a:lnTo>
                  <a:lnTo>
                    <a:pt x="1907" y="1014"/>
                  </a:lnTo>
                  <a:lnTo>
                    <a:pt x="1913" y="1018"/>
                  </a:lnTo>
                  <a:lnTo>
                    <a:pt x="1918" y="1022"/>
                  </a:lnTo>
                  <a:lnTo>
                    <a:pt x="1927" y="1033"/>
                  </a:lnTo>
                  <a:lnTo>
                    <a:pt x="1937" y="1045"/>
                  </a:lnTo>
                  <a:lnTo>
                    <a:pt x="1947" y="1057"/>
                  </a:lnTo>
                  <a:lnTo>
                    <a:pt x="1959" y="1067"/>
                  </a:lnTo>
                  <a:lnTo>
                    <a:pt x="1967" y="1071"/>
                  </a:lnTo>
                  <a:lnTo>
                    <a:pt x="1975" y="1075"/>
                  </a:lnTo>
                  <a:lnTo>
                    <a:pt x="1983" y="1077"/>
                  </a:lnTo>
                  <a:lnTo>
                    <a:pt x="1994" y="1078"/>
                  </a:lnTo>
                  <a:lnTo>
                    <a:pt x="1997" y="1063"/>
                  </a:lnTo>
                  <a:lnTo>
                    <a:pt x="2001" y="1049"/>
                  </a:lnTo>
                  <a:lnTo>
                    <a:pt x="2006" y="1034"/>
                  </a:lnTo>
                  <a:lnTo>
                    <a:pt x="2013" y="1021"/>
                  </a:lnTo>
                  <a:lnTo>
                    <a:pt x="2029" y="997"/>
                  </a:lnTo>
                  <a:lnTo>
                    <a:pt x="2046" y="971"/>
                  </a:lnTo>
                  <a:lnTo>
                    <a:pt x="2065" y="947"/>
                  </a:lnTo>
                  <a:lnTo>
                    <a:pt x="2082" y="921"/>
                  </a:lnTo>
                  <a:lnTo>
                    <a:pt x="2090" y="907"/>
                  </a:lnTo>
                  <a:lnTo>
                    <a:pt x="2097" y="893"/>
                  </a:lnTo>
                  <a:lnTo>
                    <a:pt x="2103" y="878"/>
                  </a:lnTo>
                  <a:lnTo>
                    <a:pt x="2109" y="861"/>
                  </a:lnTo>
                  <a:lnTo>
                    <a:pt x="2115" y="831"/>
                  </a:lnTo>
                  <a:lnTo>
                    <a:pt x="2121" y="803"/>
                  </a:lnTo>
                  <a:lnTo>
                    <a:pt x="2123" y="777"/>
                  </a:lnTo>
                  <a:lnTo>
                    <a:pt x="2127" y="753"/>
                  </a:lnTo>
                  <a:lnTo>
                    <a:pt x="2130" y="729"/>
                  </a:lnTo>
                  <a:lnTo>
                    <a:pt x="2133" y="708"/>
                  </a:lnTo>
                  <a:lnTo>
                    <a:pt x="2137" y="689"/>
                  </a:lnTo>
                  <a:lnTo>
                    <a:pt x="2142" y="670"/>
                  </a:lnTo>
                  <a:lnTo>
                    <a:pt x="2145" y="662"/>
                  </a:lnTo>
                  <a:lnTo>
                    <a:pt x="2149" y="656"/>
                  </a:lnTo>
                  <a:lnTo>
                    <a:pt x="2153" y="648"/>
                  </a:lnTo>
                  <a:lnTo>
                    <a:pt x="2158" y="641"/>
                  </a:lnTo>
                  <a:lnTo>
                    <a:pt x="2163" y="636"/>
                  </a:lnTo>
                  <a:lnTo>
                    <a:pt x="2170" y="630"/>
                  </a:lnTo>
                  <a:lnTo>
                    <a:pt x="2177" y="625"/>
                  </a:lnTo>
                  <a:lnTo>
                    <a:pt x="2185" y="620"/>
                  </a:lnTo>
                  <a:lnTo>
                    <a:pt x="2194" y="616"/>
                  </a:lnTo>
                  <a:lnTo>
                    <a:pt x="2205" y="613"/>
                  </a:lnTo>
                  <a:lnTo>
                    <a:pt x="2215" y="609"/>
                  </a:lnTo>
                  <a:lnTo>
                    <a:pt x="2227" y="606"/>
                  </a:lnTo>
                  <a:lnTo>
                    <a:pt x="2255" y="604"/>
                  </a:lnTo>
                  <a:lnTo>
                    <a:pt x="2289" y="602"/>
                  </a:lnTo>
                  <a:lnTo>
                    <a:pt x="2301" y="602"/>
                  </a:lnTo>
                  <a:lnTo>
                    <a:pt x="2311" y="604"/>
                  </a:lnTo>
                  <a:lnTo>
                    <a:pt x="2322" y="606"/>
                  </a:lnTo>
                  <a:lnTo>
                    <a:pt x="2331" y="609"/>
                  </a:lnTo>
                  <a:lnTo>
                    <a:pt x="2339" y="613"/>
                  </a:lnTo>
                  <a:lnTo>
                    <a:pt x="2347" y="617"/>
                  </a:lnTo>
                  <a:lnTo>
                    <a:pt x="2355" y="622"/>
                  </a:lnTo>
                  <a:lnTo>
                    <a:pt x="2362" y="628"/>
                  </a:lnTo>
                  <a:lnTo>
                    <a:pt x="2374" y="640"/>
                  </a:lnTo>
                  <a:lnTo>
                    <a:pt x="2383" y="654"/>
                  </a:lnTo>
                  <a:lnTo>
                    <a:pt x="2393" y="669"/>
                  </a:lnTo>
                  <a:lnTo>
                    <a:pt x="2401" y="684"/>
                  </a:lnTo>
                  <a:lnTo>
                    <a:pt x="2409" y="698"/>
                  </a:lnTo>
                  <a:lnTo>
                    <a:pt x="2418" y="713"/>
                  </a:lnTo>
                  <a:lnTo>
                    <a:pt x="2427" y="728"/>
                  </a:lnTo>
                  <a:lnTo>
                    <a:pt x="2437" y="740"/>
                  </a:lnTo>
                  <a:lnTo>
                    <a:pt x="2443" y="745"/>
                  </a:lnTo>
                  <a:lnTo>
                    <a:pt x="2449" y="750"/>
                  </a:lnTo>
                  <a:lnTo>
                    <a:pt x="2455" y="754"/>
                  </a:lnTo>
                  <a:lnTo>
                    <a:pt x="2463" y="758"/>
                  </a:lnTo>
                  <a:lnTo>
                    <a:pt x="2471" y="761"/>
                  </a:lnTo>
                  <a:lnTo>
                    <a:pt x="2479" y="764"/>
                  </a:lnTo>
                  <a:lnTo>
                    <a:pt x="2490" y="765"/>
                  </a:lnTo>
                  <a:lnTo>
                    <a:pt x="2499" y="765"/>
                  </a:lnTo>
                  <a:lnTo>
                    <a:pt x="2514" y="764"/>
                  </a:lnTo>
                  <a:lnTo>
                    <a:pt x="2525" y="762"/>
                  </a:lnTo>
                  <a:lnTo>
                    <a:pt x="2534" y="757"/>
                  </a:lnTo>
                  <a:lnTo>
                    <a:pt x="2540" y="752"/>
                  </a:lnTo>
                  <a:lnTo>
                    <a:pt x="2544" y="744"/>
                  </a:lnTo>
                  <a:lnTo>
                    <a:pt x="2548" y="734"/>
                  </a:lnTo>
                  <a:lnTo>
                    <a:pt x="2551" y="724"/>
                  </a:lnTo>
                  <a:lnTo>
                    <a:pt x="2554" y="710"/>
                  </a:lnTo>
                  <a:lnTo>
                    <a:pt x="2614" y="710"/>
                  </a:lnTo>
                  <a:lnTo>
                    <a:pt x="2622" y="717"/>
                  </a:lnTo>
                  <a:lnTo>
                    <a:pt x="2627" y="722"/>
                  </a:lnTo>
                  <a:lnTo>
                    <a:pt x="2632" y="729"/>
                  </a:lnTo>
                  <a:lnTo>
                    <a:pt x="2638" y="734"/>
                  </a:lnTo>
                  <a:lnTo>
                    <a:pt x="2644" y="748"/>
                  </a:lnTo>
                  <a:lnTo>
                    <a:pt x="2650" y="762"/>
                  </a:lnTo>
                  <a:lnTo>
                    <a:pt x="2658" y="794"/>
                  </a:lnTo>
                  <a:lnTo>
                    <a:pt x="2668" y="831"/>
                  </a:lnTo>
                  <a:lnTo>
                    <a:pt x="2672" y="839"/>
                  </a:lnTo>
                  <a:lnTo>
                    <a:pt x="2678" y="846"/>
                  </a:lnTo>
                  <a:lnTo>
                    <a:pt x="2684" y="854"/>
                  </a:lnTo>
                  <a:lnTo>
                    <a:pt x="2691" y="862"/>
                  </a:lnTo>
                  <a:lnTo>
                    <a:pt x="2708" y="875"/>
                  </a:lnTo>
                  <a:lnTo>
                    <a:pt x="2727" y="890"/>
                  </a:lnTo>
                  <a:lnTo>
                    <a:pt x="2746" y="903"/>
                  </a:lnTo>
                  <a:lnTo>
                    <a:pt x="2764" y="915"/>
                  </a:lnTo>
                  <a:lnTo>
                    <a:pt x="2782" y="927"/>
                  </a:lnTo>
                  <a:lnTo>
                    <a:pt x="2795" y="939"/>
                  </a:lnTo>
                  <a:lnTo>
                    <a:pt x="2819" y="951"/>
                  </a:lnTo>
                  <a:lnTo>
                    <a:pt x="2799" y="969"/>
                  </a:lnTo>
                  <a:lnTo>
                    <a:pt x="2780" y="985"/>
                  </a:lnTo>
                  <a:lnTo>
                    <a:pt x="2771" y="991"/>
                  </a:lnTo>
                  <a:lnTo>
                    <a:pt x="2762" y="995"/>
                  </a:lnTo>
                  <a:lnTo>
                    <a:pt x="2748" y="998"/>
                  </a:lnTo>
                  <a:lnTo>
                    <a:pt x="2734" y="999"/>
                  </a:lnTo>
                  <a:lnTo>
                    <a:pt x="2715" y="999"/>
                  </a:lnTo>
                  <a:lnTo>
                    <a:pt x="2696" y="999"/>
                  </a:lnTo>
                  <a:lnTo>
                    <a:pt x="2678" y="999"/>
                  </a:lnTo>
                  <a:lnTo>
                    <a:pt x="2662" y="999"/>
                  </a:lnTo>
                  <a:lnTo>
                    <a:pt x="2652" y="1001"/>
                  </a:lnTo>
                  <a:lnTo>
                    <a:pt x="2639" y="1003"/>
                  </a:lnTo>
                  <a:lnTo>
                    <a:pt x="2631" y="1006"/>
                  </a:lnTo>
                  <a:lnTo>
                    <a:pt x="2626" y="1010"/>
                  </a:lnTo>
                  <a:lnTo>
                    <a:pt x="2623" y="1013"/>
                  </a:lnTo>
                  <a:lnTo>
                    <a:pt x="2622" y="1015"/>
                  </a:lnTo>
                  <a:lnTo>
                    <a:pt x="2620" y="1019"/>
                  </a:lnTo>
                  <a:lnTo>
                    <a:pt x="2620" y="1023"/>
                  </a:lnTo>
                  <a:lnTo>
                    <a:pt x="2620" y="1058"/>
                  </a:lnTo>
                  <a:lnTo>
                    <a:pt x="2620" y="1101"/>
                  </a:lnTo>
                  <a:lnTo>
                    <a:pt x="2620" y="1146"/>
                  </a:lnTo>
                  <a:lnTo>
                    <a:pt x="2620" y="1186"/>
                  </a:lnTo>
                  <a:lnTo>
                    <a:pt x="2620" y="1195"/>
                  </a:lnTo>
                  <a:lnTo>
                    <a:pt x="2623" y="1202"/>
                  </a:lnTo>
                  <a:lnTo>
                    <a:pt x="2626" y="1210"/>
                  </a:lnTo>
                  <a:lnTo>
                    <a:pt x="2631" y="1215"/>
                  </a:lnTo>
                  <a:lnTo>
                    <a:pt x="2636" y="1221"/>
                  </a:lnTo>
                  <a:lnTo>
                    <a:pt x="2643" y="1226"/>
                  </a:lnTo>
                  <a:lnTo>
                    <a:pt x="2651" y="1230"/>
                  </a:lnTo>
                  <a:lnTo>
                    <a:pt x="2660" y="1233"/>
                  </a:lnTo>
                  <a:lnTo>
                    <a:pt x="2679" y="1239"/>
                  </a:lnTo>
                  <a:lnTo>
                    <a:pt x="2699" y="1245"/>
                  </a:lnTo>
                  <a:lnTo>
                    <a:pt x="2719" y="1249"/>
                  </a:lnTo>
                  <a:lnTo>
                    <a:pt x="2740" y="1253"/>
                  </a:lnTo>
                  <a:lnTo>
                    <a:pt x="2735" y="1263"/>
                  </a:lnTo>
                  <a:lnTo>
                    <a:pt x="2730" y="1271"/>
                  </a:lnTo>
                  <a:lnTo>
                    <a:pt x="2727" y="1275"/>
                  </a:lnTo>
                  <a:lnTo>
                    <a:pt x="2724" y="1281"/>
                  </a:lnTo>
                  <a:lnTo>
                    <a:pt x="2723" y="1287"/>
                  </a:lnTo>
                  <a:lnTo>
                    <a:pt x="2722" y="1295"/>
                  </a:lnTo>
                  <a:lnTo>
                    <a:pt x="2724" y="1307"/>
                  </a:lnTo>
                  <a:lnTo>
                    <a:pt x="2730" y="1323"/>
                  </a:lnTo>
                  <a:lnTo>
                    <a:pt x="2735" y="1339"/>
                  </a:lnTo>
                  <a:lnTo>
                    <a:pt x="2740" y="1355"/>
                  </a:lnTo>
                  <a:lnTo>
                    <a:pt x="2732" y="1358"/>
                  </a:lnTo>
                  <a:lnTo>
                    <a:pt x="2726" y="1363"/>
                  </a:lnTo>
                  <a:lnTo>
                    <a:pt x="2719" y="1369"/>
                  </a:lnTo>
                  <a:lnTo>
                    <a:pt x="2712" y="1375"/>
                  </a:lnTo>
                  <a:lnTo>
                    <a:pt x="2699" y="1391"/>
                  </a:lnTo>
                  <a:lnTo>
                    <a:pt x="2686" y="1407"/>
                  </a:lnTo>
                  <a:lnTo>
                    <a:pt x="2679" y="1416"/>
                  </a:lnTo>
                  <a:lnTo>
                    <a:pt x="2672" y="1424"/>
                  </a:lnTo>
                  <a:lnTo>
                    <a:pt x="2664" y="1431"/>
                  </a:lnTo>
                  <a:lnTo>
                    <a:pt x="2655" y="1438"/>
                  </a:lnTo>
                  <a:lnTo>
                    <a:pt x="2647" y="1443"/>
                  </a:lnTo>
                  <a:lnTo>
                    <a:pt x="2636" y="1447"/>
                  </a:lnTo>
                  <a:lnTo>
                    <a:pt x="2626" y="1450"/>
                  </a:lnTo>
                  <a:lnTo>
                    <a:pt x="2614" y="1451"/>
                  </a:lnTo>
                  <a:lnTo>
                    <a:pt x="2602" y="1450"/>
                  </a:lnTo>
                  <a:lnTo>
                    <a:pt x="2591" y="1447"/>
                  </a:lnTo>
                  <a:lnTo>
                    <a:pt x="2583" y="1443"/>
                  </a:lnTo>
                  <a:lnTo>
                    <a:pt x="2575" y="1439"/>
                  </a:lnTo>
                  <a:lnTo>
                    <a:pt x="2568" y="1435"/>
                  </a:lnTo>
                  <a:lnTo>
                    <a:pt x="2560" y="1431"/>
                  </a:lnTo>
                  <a:lnTo>
                    <a:pt x="2552" y="1428"/>
                  </a:lnTo>
                  <a:lnTo>
                    <a:pt x="2542" y="1427"/>
                  </a:lnTo>
                  <a:lnTo>
                    <a:pt x="2559" y="1384"/>
                  </a:lnTo>
                  <a:lnTo>
                    <a:pt x="2559" y="1355"/>
                  </a:lnTo>
                  <a:lnTo>
                    <a:pt x="2548" y="1354"/>
                  </a:lnTo>
                  <a:lnTo>
                    <a:pt x="2538" y="1355"/>
                  </a:lnTo>
                  <a:lnTo>
                    <a:pt x="2527" y="1357"/>
                  </a:lnTo>
                  <a:lnTo>
                    <a:pt x="2519" y="1359"/>
                  </a:lnTo>
                  <a:lnTo>
                    <a:pt x="2510" y="1363"/>
                  </a:lnTo>
                  <a:lnTo>
                    <a:pt x="2502" y="1367"/>
                  </a:lnTo>
                  <a:lnTo>
                    <a:pt x="2495" y="1373"/>
                  </a:lnTo>
                  <a:lnTo>
                    <a:pt x="2489" y="1378"/>
                  </a:lnTo>
                  <a:lnTo>
                    <a:pt x="2475" y="1391"/>
                  </a:lnTo>
                  <a:lnTo>
                    <a:pt x="2465" y="1407"/>
                  </a:lnTo>
                  <a:lnTo>
                    <a:pt x="2455" y="1424"/>
                  </a:lnTo>
                  <a:lnTo>
                    <a:pt x="2446" y="1442"/>
                  </a:lnTo>
                  <a:lnTo>
                    <a:pt x="2429" y="1480"/>
                  </a:lnTo>
                  <a:lnTo>
                    <a:pt x="2410" y="1516"/>
                  </a:lnTo>
                  <a:lnTo>
                    <a:pt x="2399" y="1532"/>
                  </a:lnTo>
                  <a:lnTo>
                    <a:pt x="2386" y="1546"/>
                  </a:lnTo>
                  <a:lnTo>
                    <a:pt x="2379" y="1552"/>
                  </a:lnTo>
                  <a:lnTo>
                    <a:pt x="2371" y="1558"/>
                  </a:lnTo>
                  <a:lnTo>
                    <a:pt x="2363" y="1562"/>
                  </a:lnTo>
                  <a:lnTo>
                    <a:pt x="2355" y="1566"/>
                  </a:lnTo>
                  <a:lnTo>
                    <a:pt x="2351" y="1570"/>
                  </a:lnTo>
                  <a:lnTo>
                    <a:pt x="2349" y="1578"/>
                  </a:lnTo>
                  <a:lnTo>
                    <a:pt x="2346" y="1587"/>
                  </a:lnTo>
                  <a:lnTo>
                    <a:pt x="2342" y="1598"/>
                  </a:lnTo>
                  <a:lnTo>
                    <a:pt x="2338" y="1608"/>
                  </a:lnTo>
                  <a:lnTo>
                    <a:pt x="2330" y="1618"/>
                  </a:lnTo>
                  <a:lnTo>
                    <a:pt x="2326" y="1620"/>
                  </a:lnTo>
                  <a:lnTo>
                    <a:pt x="2321" y="1623"/>
                  </a:lnTo>
                  <a:lnTo>
                    <a:pt x="2314" y="1626"/>
                  </a:lnTo>
                  <a:lnTo>
                    <a:pt x="2307" y="1626"/>
                  </a:lnTo>
                  <a:lnTo>
                    <a:pt x="2299" y="1626"/>
                  </a:lnTo>
                  <a:lnTo>
                    <a:pt x="2293" y="1623"/>
                  </a:lnTo>
                  <a:lnTo>
                    <a:pt x="2285" y="1620"/>
                  </a:lnTo>
                  <a:lnTo>
                    <a:pt x="2278" y="1616"/>
                  </a:lnTo>
                  <a:lnTo>
                    <a:pt x="2266" y="1611"/>
                  </a:lnTo>
                  <a:lnTo>
                    <a:pt x="2259" y="1608"/>
                  </a:lnTo>
                  <a:lnTo>
                    <a:pt x="2250" y="1608"/>
                  </a:lnTo>
                  <a:lnTo>
                    <a:pt x="2242" y="1611"/>
                  </a:lnTo>
                  <a:lnTo>
                    <a:pt x="2235" y="1614"/>
                  </a:lnTo>
                  <a:lnTo>
                    <a:pt x="2229" y="1616"/>
                  </a:lnTo>
                  <a:lnTo>
                    <a:pt x="2222" y="1620"/>
                  </a:lnTo>
                  <a:lnTo>
                    <a:pt x="2214" y="1623"/>
                  </a:lnTo>
                  <a:lnTo>
                    <a:pt x="2207" y="1626"/>
                  </a:lnTo>
                  <a:lnTo>
                    <a:pt x="2198" y="1626"/>
                  </a:lnTo>
                  <a:lnTo>
                    <a:pt x="2191" y="1626"/>
                  </a:lnTo>
                  <a:lnTo>
                    <a:pt x="2185" y="1624"/>
                  </a:lnTo>
                  <a:lnTo>
                    <a:pt x="2179" y="1623"/>
                  </a:lnTo>
                  <a:lnTo>
                    <a:pt x="2174" y="1620"/>
                  </a:lnTo>
                  <a:lnTo>
                    <a:pt x="2166" y="1614"/>
                  </a:lnTo>
                  <a:lnTo>
                    <a:pt x="2159" y="1606"/>
                  </a:lnTo>
                  <a:lnTo>
                    <a:pt x="2154" y="1598"/>
                  </a:lnTo>
                  <a:lnTo>
                    <a:pt x="2150" y="1590"/>
                  </a:lnTo>
                  <a:lnTo>
                    <a:pt x="2145" y="1583"/>
                  </a:lnTo>
                  <a:lnTo>
                    <a:pt x="2138" y="1578"/>
                  </a:lnTo>
                  <a:lnTo>
                    <a:pt x="2130" y="1586"/>
                  </a:lnTo>
                  <a:lnTo>
                    <a:pt x="2122" y="1594"/>
                  </a:lnTo>
                  <a:lnTo>
                    <a:pt x="2111" y="1600"/>
                  </a:lnTo>
                  <a:lnTo>
                    <a:pt x="2099" y="1604"/>
                  </a:lnTo>
                  <a:lnTo>
                    <a:pt x="2087" y="1608"/>
                  </a:lnTo>
                  <a:lnTo>
                    <a:pt x="2075" y="1611"/>
                  </a:lnTo>
                  <a:lnTo>
                    <a:pt x="2062" y="1614"/>
                  </a:lnTo>
                  <a:lnTo>
                    <a:pt x="2047" y="1614"/>
                  </a:lnTo>
                  <a:lnTo>
                    <a:pt x="2041" y="1612"/>
                  </a:lnTo>
                  <a:lnTo>
                    <a:pt x="2031" y="1608"/>
                  </a:lnTo>
                  <a:lnTo>
                    <a:pt x="2022" y="1603"/>
                  </a:lnTo>
                  <a:lnTo>
                    <a:pt x="2013" y="1596"/>
                  </a:lnTo>
                  <a:lnTo>
                    <a:pt x="1997" y="1583"/>
                  </a:lnTo>
                  <a:lnTo>
                    <a:pt x="1987" y="1578"/>
                  </a:lnTo>
                  <a:lnTo>
                    <a:pt x="1983" y="1580"/>
                  </a:lnTo>
                  <a:lnTo>
                    <a:pt x="1979" y="1584"/>
                  </a:lnTo>
                  <a:lnTo>
                    <a:pt x="1977" y="1590"/>
                  </a:lnTo>
                  <a:lnTo>
                    <a:pt x="1974" y="1596"/>
                  </a:lnTo>
                  <a:lnTo>
                    <a:pt x="1971" y="1610"/>
                  </a:lnTo>
                  <a:lnTo>
                    <a:pt x="1969" y="1626"/>
                  </a:lnTo>
                  <a:lnTo>
                    <a:pt x="1966" y="1654"/>
                  </a:lnTo>
                  <a:lnTo>
                    <a:pt x="1963" y="1668"/>
                  </a:lnTo>
                  <a:lnTo>
                    <a:pt x="1953" y="1671"/>
                  </a:lnTo>
                  <a:lnTo>
                    <a:pt x="1943" y="1674"/>
                  </a:lnTo>
                  <a:lnTo>
                    <a:pt x="1933" y="1675"/>
                  </a:lnTo>
                  <a:lnTo>
                    <a:pt x="1922" y="1675"/>
                  </a:lnTo>
                  <a:lnTo>
                    <a:pt x="1901" y="1675"/>
                  </a:lnTo>
                  <a:lnTo>
                    <a:pt x="1879" y="1674"/>
                  </a:lnTo>
                  <a:lnTo>
                    <a:pt x="1861" y="1674"/>
                  </a:lnTo>
                  <a:lnTo>
                    <a:pt x="1845" y="1674"/>
                  </a:lnTo>
                  <a:lnTo>
                    <a:pt x="1837" y="1674"/>
                  </a:lnTo>
                  <a:lnTo>
                    <a:pt x="1830" y="1675"/>
                  </a:lnTo>
                  <a:lnTo>
                    <a:pt x="1823" y="1678"/>
                  </a:lnTo>
                  <a:lnTo>
                    <a:pt x="1819" y="1680"/>
                  </a:lnTo>
                  <a:lnTo>
                    <a:pt x="1813" y="1684"/>
                  </a:lnTo>
                  <a:lnTo>
                    <a:pt x="1809" y="1690"/>
                  </a:lnTo>
                  <a:lnTo>
                    <a:pt x="1805" y="1694"/>
                  </a:lnTo>
                  <a:lnTo>
                    <a:pt x="1802" y="1699"/>
                  </a:lnTo>
                  <a:lnTo>
                    <a:pt x="1799" y="1710"/>
                  </a:lnTo>
                  <a:lnTo>
                    <a:pt x="1799" y="1719"/>
                  </a:lnTo>
                  <a:lnTo>
                    <a:pt x="1799" y="1730"/>
                  </a:lnTo>
                  <a:lnTo>
                    <a:pt x="1798" y="1739"/>
                  </a:lnTo>
                  <a:lnTo>
                    <a:pt x="1798" y="1744"/>
                  </a:lnTo>
                  <a:lnTo>
                    <a:pt x="1795" y="1750"/>
                  </a:lnTo>
                  <a:lnTo>
                    <a:pt x="1793" y="1754"/>
                  </a:lnTo>
                  <a:lnTo>
                    <a:pt x="1789" y="1759"/>
                  </a:lnTo>
                  <a:lnTo>
                    <a:pt x="1782" y="1764"/>
                  </a:lnTo>
                  <a:lnTo>
                    <a:pt x="1773" y="1770"/>
                  </a:lnTo>
                  <a:lnTo>
                    <a:pt x="1765" y="1775"/>
                  </a:lnTo>
                  <a:lnTo>
                    <a:pt x="1756" y="1779"/>
                  </a:lnTo>
                  <a:lnTo>
                    <a:pt x="1736" y="1786"/>
                  </a:lnTo>
                  <a:lnTo>
                    <a:pt x="1716" y="1794"/>
                  </a:lnTo>
                  <a:lnTo>
                    <a:pt x="1706" y="1798"/>
                  </a:lnTo>
                  <a:lnTo>
                    <a:pt x="1697" y="1802"/>
                  </a:lnTo>
                  <a:lnTo>
                    <a:pt x="1689" y="1808"/>
                  </a:lnTo>
                  <a:lnTo>
                    <a:pt x="1682" y="1815"/>
                  </a:lnTo>
                  <a:lnTo>
                    <a:pt x="1677" y="1822"/>
                  </a:lnTo>
                  <a:lnTo>
                    <a:pt x="1673" y="1831"/>
                  </a:lnTo>
                  <a:lnTo>
                    <a:pt x="1669" y="1842"/>
                  </a:lnTo>
                  <a:lnTo>
                    <a:pt x="1669" y="1855"/>
                  </a:lnTo>
                  <a:lnTo>
                    <a:pt x="1669" y="1863"/>
                  </a:lnTo>
                  <a:lnTo>
                    <a:pt x="1672" y="1872"/>
                  </a:lnTo>
                  <a:lnTo>
                    <a:pt x="1676" y="1880"/>
                  </a:lnTo>
                  <a:lnTo>
                    <a:pt x="1681" y="1888"/>
                  </a:lnTo>
                  <a:lnTo>
                    <a:pt x="1688" y="1895"/>
                  </a:lnTo>
                  <a:lnTo>
                    <a:pt x="1694" y="1902"/>
                  </a:lnTo>
                  <a:lnTo>
                    <a:pt x="1702" y="1908"/>
                  </a:lnTo>
                  <a:lnTo>
                    <a:pt x="1710" y="1914"/>
                  </a:lnTo>
                  <a:lnTo>
                    <a:pt x="1745" y="1935"/>
                  </a:lnTo>
                  <a:lnTo>
                    <a:pt x="1772" y="1951"/>
                  </a:lnTo>
                  <a:lnTo>
                    <a:pt x="1758" y="1963"/>
                  </a:lnTo>
                  <a:lnTo>
                    <a:pt x="1748" y="1973"/>
                  </a:lnTo>
                  <a:lnTo>
                    <a:pt x="1738" y="1987"/>
                  </a:lnTo>
                  <a:lnTo>
                    <a:pt x="1730" y="1999"/>
                  </a:lnTo>
                  <a:lnTo>
                    <a:pt x="1725" y="2013"/>
                  </a:lnTo>
                  <a:lnTo>
                    <a:pt x="1720" y="2029"/>
                  </a:lnTo>
                  <a:lnTo>
                    <a:pt x="1718" y="2047"/>
                  </a:lnTo>
                  <a:lnTo>
                    <a:pt x="1717" y="2065"/>
                  </a:lnTo>
                  <a:lnTo>
                    <a:pt x="1718" y="2081"/>
                  </a:lnTo>
                  <a:lnTo>
                    <a:pt x="1721" y="2099"/>
                  </a:lnTo>
                  <a:lnTo>
                    <a:pt x="1726" y="2115"/>
                  </a:lnTo>
                  <a:lnTo>
                    <a:pt x="1733" y="2131"/>
                  </a:lnTo>
                  <a:lnTo>
                    <a:pt x="1741" y="2145"/>
                  </a:lnTo>
                  <a:lnTo>
                    <a:pt x="1750" y="2157"/>
                  </a:lnTo>
                  <a:lnTo>
                    <a:pt x="1754" y="2163"/>
                  </a:lnTo>
                  <a:lnTo>
                    <a:pt x="1760" y="2168"/>
                  </a:lnTo>
                  <a:lnTo>
                    <a:pt x="1765" y="2171"/>
                  </a:lnTo>
                  <a:lnTo>
                    <a:pt x="1772" y="2173"/>
                  </a:lnTo>
                  <a:lnTo>
                    <a:pt x="1778" y="2196"/>
                  </a:lnTo>
                  <a:lnTo>
                    <a:pt x="1783" y="2219"/>
                  </a:lnTo>
                  <a:lnTo>
                    <a:pt x="1786" y="2240"/>
                  </a:lnTo>
                  <a:lnTo>
                    <a:pt x="1790" y="2260"/>
                  </a:lnTo>
                  <a:lnTo>
                    <a:pt x="1793" y="2269"/>
                  </a:lnTo>
                  <a:lnTo>
                    <a:pt x="1795" y="2277"/>
                  </a:lnTo>
                  <a:lnTo>
                    <a:pt x="1799" y="2287"/>
                  </a:lnTo>
                  <a:lnTo>
                    <a:pt x="1805" y="2295"/>
                  </a:lnTo>
                  <a:lnTo>
                    <a:pt x="1810" y="2301"/>
                  </a:lnTo>
                  <a:lnTo>
                    <a:pt x="1818" y="2308"/>
                  </a:lnTo>
                  <a:lnTo>
                    <a:pt x="1826" y="2313"/>
                  </a:lnTo>
                  <a:lnTo>
                    <a:pt x="1837" y="2319"/>
                  </a:lnTo>
                  <a:lnTo>
                    <a:pt x="1829" y="2363"/>
                  </a:lnTo>
                  <a:lnTo>
                    <a:pt x="1819" y="2415"/>
                  </a:lnTo>
                  <a:lnTo>
                    <a:pt x="1811" y="2468"/>
                  </a:lnTo>
                  <a:lnTo>
                    <a:pt x="1803" y="2520"/>
                  </a:lnTo>
                  <a:lnTo>
                    <a:pt x="1798" y="2566"/>
                  </a:lnTo>
                  <a:lnTo>
                    <a:pt x="1793" y="2605"/>
                  </a:lnTo>
                  <a:lnTo>
                    <a:pt x="1790" y="2632"/>
                  </a:lnTo>
                  <a:lnTo>
                    <a:pt x="1789" y="2644"/>
                  </a:lnTo>
                  <a:lnTo>
                    <a:pt x="1786" y="2650"/>
                  </a:lnTo>
                  <a:lnTo>
                    <a:pt x="1777" y="2668"/>
                  </a:lnTo>
                  <a:lnTo>
                    <a:pt x="1764" y="2690"/>
                  </a:lnTo>
                  <a:lnTo>
                    <a:pt x="1745" y="2718"/>
                  </a:lnTo>
                  <a:lnTo>
                    <a:pt x="1725" y="2748"/>
                  </a:lnTo>
                  <a:lnTo>
                    <a:pt x="1702" y="2776"/>
                  </a:lnTo>
                  <a:lnTo>
                    <a:pt x="1692" y="2790"/>
                  </a:lnTo>
                  <a:lnTo>
                    <a:pt x="1680" y="2802"/>
                  </a:lnTo>
                  <a:lnTo>
                    <a:pt x="1668" y="2814"/>
                  </a:lnTo>
                  <a:lnTo>
                    <a:pt x="1657" y="2824"/>
                  </a:lnTo>
                  <a:lnTo>
                    <a:pt x="1630" y="2845"/>
                  </a:lnTo>
                  <a:lnTo>
                    <a:pt x="1608" y="2866"/>
                  </a:lnTo>
                  <a:lnTo>
                    <a:pt x="1597" y="2877"/>
                  </a:lnTo>
                  <a:lnTo>
                    <a:pt x="1586" y="2888"/>
                  </a:lnTo>
                  <a:lnTo>
                    <a:pt x="1577" y="2900"/>
                  </a:lnTo>
                  <a:lnTo>
                    <a:pt x="1569" y="2910"/>
                  </a:lnTo>
                  <a:lnTo>
                    <a:pt x="1561" y="2922"/>
                  </a:lnTo>
                  <a:lnTo>
                    <a:pt x="1554" y="2934"/>
                  </a:lnTo>
                  <a:lnTo>
                    <a:pt x="1548" y="2946"/>
                  </a:lnTo>
                  <a:lnTo>
                    <a:pt x="1542" y="2958"/>
                  </a:lnTo>
                  <a:lnTo>
                    <a:pt x="1538" y="2972"/>
                  </a:lnTo>
                  <a:lnTo>
                    <a:pt x="1534" y="2984"/>
                  </a:lnTo>
                  <a:lnTo>
                    <a:pt x="1532" y="2997"/>
                  </a:lnTo>
                  <a:lnTo>
                    <a:pt x="1530" y="3010"/>
                  </a:lnTo>
                  <a:lnTo>
                    <a:pt x="1528" y="3022"/>
                  </a:lnTo>
                  <a:lnTo>
                    <a:pt x="1525" y="3033"/>
                  </a:lnTo>
                  <a:lnTo>
                    <a:pt x="1522" y="3042"/>
                  </a:lnTo>
                  <a:lnTo>
                    <a:pt x="1518" y="3052"/>
                  </a:lnTo>
                  <a:lnTo>
                    <a:pt x="1510" y="3068"/>
                  </a:lnTo>
                  <a:lnTo>
                    <a:pt x="1500" y="3080"/>
                  </a:lnTo>
                  <a:lnTo>
                    <a:pt x="1489" y="3092"/>
                  </a:lnTo>
                  <a:lnTo>
                    <a:pt x="1477" y="3101"/>
                  </a:lnTo>
                  <a:lnTo>
                    <a:pt x="1464" y="3108"/>
                  </a:lnTo>
                  <a:lnTo>
                    <a:pt x="1452" y="3114"/>
                  </a:lnTo>
                  <a:lnTo>
                    <a:pt x="1426" y="3126"/>
                  </a:lnTo>
                  <a:lnTo>
                    <a:pt x="1405" y="3138"/>
                  </a:lnTo>
                  <a:lnTo>
                    <a:pt x="1397" y="3145"/>
                  </a:lnTo>
                  <a:lnTo>
                    <a:pt x="1392" y="3153"/>
                  </a:lnTo>
                  <a:lnTo>
                    <a:pt x="1389" y="3157"/>
                  </a:lnTo>
                  <a:lnTo>
                    <a:pt x="1386" y="3162"/>
                  </a:lnTo>
                  <a:lnTo>
                    <a:pt x="1386" y="3167"/>
                  </a:lnTo>
                  <a:lnTo>
                    <a:pt x="1385" y="3173"/>
                  </a:lnTo>
                  <a:lnTo>
                    <a:pt x="1386" y="3182"/>
                  </a:lnTo>
                  <a:lnTo>
                    <a:pt x="1388" y="3189"/>
                  </a:lnTo>
                  <a:lnTo>
                    <a:pt x="1389" y="3197"/>
                  </a:lnTo>
                  <a:lnTo>
                    <a:pt x="1392" y="3203"/>
                  </a:lnTo>
                  <a:lnTo>
                    <a:pt x="1396" y="3217"/>
                  </a:lnTo>
                  <a:lnTo>
                    <a:pt x="1397" y="3234"/>
                  </a:lnTo>
                  <a:lnTo>
                    <a:pt x="1373" y="3249"/>
                  </a:lnTo>
                  <a:lnTo>
                    <a:pt x="1346" y="3261"/>
                  </a:lnTo>
                  <a:lnTo>
                    <a:pt x="1341" y="3265"/>
                  </a:lnTo>
                  <a:lnTo>
                    <a:pt x="1334" y="3267"/>
                  </a:lnTo>
                  <a:lnTo>
                    <a:pt x="1329" y="3273"/>
                  </a:lnTo>
                  <a:lnTo>
                    <a:pt x="1325" y="3278"/>
                  </a:lnTo>
                  <a:lnTo>
                    <a:pt x="1321" y="3283"/>
                  </a:lnTo>
                  <a:lnTo>
                    <a:pt x="1317" y="3290"/>
                  </a:lnTo>
                  <a:lnTo>
                    <a:pt x="1314" y="3297"/>
                  </a:lnTo>
                  <a:lnTo>
                    <a:pt x="1313" y="3306"/>
                  </a:lnTo>
                  <a:lnTo>
                    <a:pt x="1308" y="3305"/>
                  </a:lnTo>
                  <a:lnTo>
                    <a:pt x="1302" y="3303"/>
                  </a:lnTo>
                  <a:lnTo>
                    <a:pt x="1300" y="3301"/>
                  </a:lnTo>
                  <a:lnTo>
                    <a:pt x="1297" y="3299"/>
                  </a:lnTo>
                  <a:lnTo>
                    <a:pt x="1294" y="3294"/>
                  </a:lnTo>
                  <a:lnTo>
                    <a:pt x="1294" y="3289"/>
                  </a:lnTo>
                  <a:lnTo>
                    <a:pt x="1296" y="3282"/>
                  </a:lnTo>
                  <a:lnTo>
                    <a:pt x="1296" y="3274"/>
                  </a:lnTo>
                  <a:lnTo>
                    <a:pt x="1296" y="3270"/>
                  </a:lnTo>
                  <a:lnTo>
                    <a:pt x="1294" y="3266"/>
                  </a:lnTo>
                  <a:lnTo>
                    <a:pt x="1292" y="3262"/>
                  </a:lnTo>
                  <a:lnTo>
                    <a:pt x="1289" y="3258"/>
                  </a:lnTo>
                  <a:lnTo>
                    <a:pt x="1281" y="3242"/>
                  </a:lnTo>
                  <a:lnTo>
                    <a:pt x="1273" y="3233"/>
                  </a:lnTo>
                  <a:lnTo>
                    <a:pt x="1269" y="3229"/>
                  </a:lnTo>
                  <a:lnTo>
                    <a:pt x="1265" y="3227"/>
                  </a:lnTo>
                  <a:lnTo>
                    <a:pt x="1261" y="3225"/>
                  </a:lnTo>
                  <a:lnTo>
                    <a:pt x="1257" y="3225"/>
                  </a:lnTo>
                  <a:lnTo>
                    <a:pt x="1237" y="3225"/>
                  </a:lnTo>
                  <a:lnTo>
                    <a:pt x="1210" y="3227"/>
                  </a:lnTo>
                  <a:lnTo>
                    <a:pt x="1205" y="3227"/>
                  </a:lnTo>
                  <a:lnTo>
                    <a:pt x="1198" y="3226"/>
                  </a:lnTo>
                  <a:lnTo>
                    <a:pt x="1194" y="3223"/>
                  </a:lnTo>
                  <a:lnTo>
                    <a:pt x="1190" y="3221"/>
                  </a:lnTo>
                  <a:lnTo>
                    <a:pt x="1182" y="3214"/>
                  </a:lnTo>
                  <a:lnTo>
                    <a:pt x="1178" y="3206"/>
                  </a:lnTo>
                  <a:lnTo>
                    <a:pt x="1170" y="3186"/>
                  </a:lnTo>
                  <a:lnTo>
                    <a:pt x="1162" y="3167"/>
                  </a:lnTo>
                  <a:lnTo>
                    <a:pt x="1157" y="3158"/>
                  </a:lnTo>
                  <a:lnTo>
                    <a:pt x="1150" y="3150"/>
                  </a:lnTo>
                  <a:lnTo>
                    <a:pt x="1142" y="3142"/>
                  </a:lnTo>
                  <a:lnTo>
                    <a:pt x="1136" y="3135"/>
                  </a:lnTo>
                  <a:lnTo>
                    <a:pt x="1120" y="3125"/>
                  </a:lnTo>
                  <a:lnTo>
                    <a:pt x="1102" y="3116"/>
                  </a:lnTo>
                  <a:lnTo>
                    <a:pt x="1085" y="3106"/>
                  </a:lnTo>
                  <a:lnTo>
                    <a:pt x="1069" y="3096"/>
                  </a:lnTo>
                  <a:lnTo>
                    <a:pt x="1062" y="3090"/>
                  </a:lnTo>
                  <a:lnTo>
                    <a:pt x="1054" y="3082"/>
                  </a:lnTo>
                  <a:lnTo>
                    <a:pt x="1048" y="3074"/>
                  </a:lnTo>
                  <a:lnTo>
                    <a:pt x="1042" y="3065"/>
                  </a:lnTo>
                  <a:lnTo>
                    <a:pt x="1034" y="3069"/>
                  </a:lnTo>
                  <a:lnTo>
                    <a:pt x="1026" y="3070"/>
                  </a:lnTo>
                  <a:lnTo>
                    <a:pt x="1020" y="3070"/>
                  </a:lnTo>
                  <a:lnTo>
                    <a:pt x="1013" y="3069"/>
                  </a:lnTo>
                  <a:lnTo>
                    <a:pt x="1004" y="3066"/>
                  </a:lnTo>
                  <a:lnTo>
                    <a:pt x="995" y="3065"/>
                  </a:lnTo>
                  <a:lnTo>
                    <a:pt x="983" y="3065"/>
                  </a:lnTo>
                  <a:lnTo>
                    <a:pt x="972" y="3062"/>
                  </a:lnTo>
                  <a:lnTo>
                    <a:pt x="963" y="3061"/>
                  </a:lnTo>
                  <a:lnTo>
                    <a:pt x="953" y="3057"/>
                  </a:lnTo>
                  <a:lnTo>
                    <a:pt x="937" y="3049"/>
                  </a:lnTo>
                  <a:lnTo>
                    <a:pt x="923" y="3038"/>
                  </a:lnTo>
                  <a:lnTo>
                    <a:pt x="907" y="3026"/>
                  </a:lnTo>
                  <a:lnTo>
                    <a:pt x="891" y="3014"/>
                  </a:lnTo>
                  <a:lnTo>
                    <a:pt x="883" y="3009"/>
                  </a:lnTo>
                  <a:lnTo>
                    <a:pt x="872" y="3002"/>
                  </a:lnTo>
                  <a:lnTo>
                    <a:pt x="861" y="2997"/>
                  </a:lnTo>
                  <a:lnTo>
                    <a:pt x="849" y="2993"/>
                  </a:lnTo>
                  <a:lnTo>
                    <a:pt x="813" y="2982"/>
                  </a:lnTo>
                  <a:lnTo>
                    <a:pt x="780" y="2976"/>
                  </a:lnTo>
                  <a:lnTo>
                    <a:pt x="764" y="2970"/>
                  </a:lnTo>
                  <a:lnTo>
                    <a:pt x="749" y="2965"/>
                  </a:lnTo>
                  <a:lnTo>
                    <a:pt x="741" y="2961"/>
                  </a:lnTo>
                  <a:lnTo>
                    <a:pt x="736" y="2956"/>
                  </a:lnTo>
                  <a:lnTo>
                    <a:pt x="729" y="2950"/>
                  </a:lnTo>
                  <a:lnTo>
                    <a:pt x="723" y="2945"/>
                  </a:lnTo>
                  <a:lnTo>
                    <a:pt x="719" y="2940"/>
                  </a:lnTo>
                  <a:lnTo>
                    <a:pt x="716" y="2933"/>
                  </a:lnTo>
                  <a:lnTo>
                    <a:pt x="713" y="2926"/>
                  </a:lnTo>
                  <a:lnTo>
                    <a:pt x="712" y="2920"/>
                  </a:lnTo>
                  <a:lnTo>
                    <a:pt x="708" y="2904"/>
                  </a:lnTo>
                  <a:lnTo>
                    <a:pt x="705" y="2888"/>
                  </a:lnTo>
                  <a:lnTo>
                    <a:pt x="703" y="2880"/>
                  </a:lnTo>
                  <a:lnTo>
                    <a:pt x="701" y="2872"/>
                  </a:lnTo>
                  <a:lnTo>
                    <a:pt x="699" y="2865"/>
                  </a:lnTo>
                  <a:lnTo>
                    <a:pt x="695" y="2860"/>
                  </a:lnTo>
                  <a:lnTo>
                    <a:pt x="689" y="2854"/>
                  </a:lnTo>
                  <a:lnTo>
                    <a:pt x="684" y="2852"/>
                  </a:lnTo>
                  <a:lnTo>
                    <a:pt x="677" y="2849"/>
                  </a:lnTo>
                  <a:lnTo>
                    <a:pt x="669" y="2848"/>
                  </a:lnTo>
                  <a:lnTo>
                    <a:pt x="660" y="2849"/>
                  </a:lnTo>
                  <a:lnTo>
                    <a:pt x="651" y="2852"/>
                  </a:lnTo>
                  <a:lnTo>
                    <a:pt x="643" y="2854"/>
                  </a:lnTo>
                  <a:lnTo>
                    <a:pt x="635" y="2860"/>
                  </a:lnTo>
                  <a:lnTo>
                    <a:pt x="629" y="2865"/>
                  </a:lnTo>
                  <a:lnTo>
                    <a:pt x="623" y="2872"/>
                  </a:lnTo>
                  <a:lnTo>
                    <a:pt x="617" y="2878"/>
                  </a:lnTo>
                  <a:lnTo>
                    <a:pt x="612" y="2886"/>
                  </a:lnTo>
                  <a:lnTo>
                    <a:pt x="593" y="2922"/>
                  </a:lnTo>
                  <a:lnTo>
                    <a:pt x="572" y="2957"/>
                  </a:lnTo>
                  <a:lnTo>
                    <a:pt x="564" y="2956"/>
                  </a:lnTo>
                  <a:lnTo>
                    <a:pt x="553" y="2956"/>
                  </a:lnTo>
                  <a:lnTo>
                    <a:pt x="544" y="2953"/>
                  </a:lnTo>
                  <a:lnTo>
                    <a:pt x="535" y="2950"/>
                  </a:lnTo>
                  <a:lnTo>
                    <a:pt x="527" y="2946"/>
                  </a:lnTo>
                  <a:lnTo>
                    <a:pt x="519" y="2941"/>
                  </a:lnTo>
                  <a:lnTo>
                    <a:pt x="512" y="2934"/>
                  </a:lnTo>
                  <a:lnTo>
                    <a:pt x="507" y="2926"/>
                  </a:lnTo>
                  <a:lnTo>
                    <a:pt x="491" y="2932"/>
                  </a:lnTo>
                  <a:lnTo>
                    <a:pt x="479" y="2938"/>
                  </a:lnTo>
                  <a:lnTo>
                    <a:pt x="472" y="2941"/>
                  </a:lnTo>
                  <a:lnTo>
                    <a:pt x="465" y="2942"/>
                  </a:lnTo>
                  <a:lnTo>
                    <a:pt x="456" y="2944"/>
                  </a:lnTo>
                  <a:lnTo>
                    <a:pt x="447" y="2945"/>
                  </a:lnTo>
                  <a:lnTo>
                    <a:pt x="433" y="2944"/>
                  </a:lnTo>
                  <a:lnTo>
                    <a:pt x="420" y="2942"/>
                  </a:lnTo>
                  <a:lnTo>
                    <a:pt x="408" y="2941"/>
                  </a:lnTo>
                  <a:lnTo>
                    <a:pt x="397" y="2937"/>
                  </a:lnTo>
                  <a:lnTo>
                    <a:pt x="375" y="2929"/>
                  </a:lnTo>
                  <a:lnTo>
                    <a:pt x="355" y="2920"/>
                  </a:lnTo>
                  <a:lnTo>
                    <a:pt x="316" y="2896"/>
                  </a:lnTo>
                  <a:lnTo>
                    <a:pt x="277" y="2872"/>
                  </a:lnTo>
                  <a:lnTo>
                    <a:pt x="268" y="2865"/>
                  </a:lnTo>
                  <a:lnTo>
                    <a:pt x="260" y="2856"/>
                  </a:lnTo>
                  <a:lnTo>
                    <a:pt x="254" y="2848"/>
                  </a:lnTo>
                  <a:lnTo>
                    <a:pt x="248" y="2838"/>
                  </a:lnTo>
                  <a:lnTo>
                    <a:pt x="240" y="2830"/>
                  </a:lnTo>
                  <a:lnTo>
                    <a:pt x="231" y="2824"/>
                  </a:lnTo>
                  <a:lnTo>
                    <a:pt x="224" y="2821"/>
                  </a:lnTo>
                  <a:lnTo>
                    <a:pt x="218" y="2820"/>
                  </a:lnTo>
                  <a:lnTo>
                    <a:pt x="208" y="2818"/>
                  </a:lnTo>
                  <a:lnTo>
                    <a:pt x="199" y="2818"/>
                  </a:lnTo>
                  <a:lnTo>
                    <a:pt x="192" y="2818"/>
                  </a:lnTo>
                  <a:lnTo>
                    <a:pt x="187" y="2821"/>
                  </a:lnTo>
                  <a:lnTo>
                    <a:pt x="182" y="2824"/>
                  </a:lnTo>
                  <a:lnTo>
                    <a:pt x="175" y="2828"/>
                  </a:lnTo>
                  <a:lnTo>
                    <a:pt x="170" y="2830"/>
                  </a:lnTo>
                  <a:lnTo>
                    <a:pt x="164" y="2833"/>
                  </a:lnTo>
                  <a:lnTo>
                    <a:pt x="158" y="2836"/>
                  </a:lnTo>
                  <a:lnTo>
                    <a:pt x="151" y="2836"/>
                  </a:lnTo>
                  <a:lnTo>
                    <a:pt x="143" y="2836"/>
                  </a:lnTo>
                  <a:lnTo>
                    <a:pt x="135" y="2832"/>
                  </a:lnTo>
                  <a:lnTo>
                    <a:pt x="127" y="2828"/>
                  </a:lnTo>
                  <a:lnTo>
                    <a:pt x="120" y="2821"/>
                  </a:lnTo>
                  <a:lnTo>
                    <a:pt x="104" y="2804"/>
                  </a:lnTo>
                  <a:lnTo>
                    <a:pt x="88" y="2785"/>
                  </a:lnTo>
                  <a:lnTo>
                    <a:pt x="74" y="2764"/>
                  </a:lnTo>
                  <a:lnTo>
                    <a:pt x="59" y="2745"/>
                  </a:lnTo>
                  <a:lnTo>
                    <a:pt x="52" y="2736"/>
                  </a:lnTo>
                  <a:lnTo>
                    <a:pt x="44" y="2728"/>
                  </a:lnTo>
                  <a:lnTo>
                    <a:pt x="38" y="2721"/>
                  </a:lnTo>
                  <a:lnTo>
                    <a:pt x="31" y="2716"/>
                  </a:lnTo>
                  <a:lnTo>
                    <a:pt x="23" y="2710"/>
                  </a:lnTo>
                  <a:lnTo>
                    <a:pt x="14" y="2705"/>
                  </a:lnTo>
                  <a:lnTo>
                    <a:pt x="8" y="2701"/>
                  </a:lnTo>
                  <a:lnTo>
                    <a:pt x="4" y="2697"/>
                  </a:lnTo>
                  <a:lnTo>
                    <a:pt x="2" y="2692"/>
                  </a:lnTo>
                  <a:lnTo>
                    <a:pt x="0" y="2685"/>
                  </a:lnTo>
                  <a:lnTo>
                    <a:pt x="3" y="2680"/>
                  </a:lnTo>
                  <a:lnTo>
                    <a:pt x="10" y="2670"/>
                  </a:lnTo>
                  <a:lnTo>
                    <a:pt x="20" y="2660"/>
                  </a:lnTo>
                  <a:lnTo>
                    <a:pt x="32" y="2648"/>
                  </a:lnTo>
                  <a:lnTo>
                    <a:pt x="44" y="2637"/>
                  </a:lnTo>
                  <a:lnTo>
                    <a:pt x="56" y="2628"/>
                  </a:lnTo>
                  <a:lnTo>
                    <a:pt x="67" y="2621"/>
                  </a:lnTo>
                  <a:lnTo>
                    <a:pt x="72" y="2620"/>
                  </a:lnTo>
                  <a:lnTo>
                    <a:pt x="90" y="2620"/>
                  </a:lnTo>
                  <a:lnTo>
                    <a:pt x="104" y="2618"/>
                  </a:lnTo>
                  <a:lnTo>
                    <a:pt x="118" y="2617"/>
                  </a:lnTo>
                  <a:lnTo>
                    <a:pt x="127" y="2613"/>
                  </a:lnTo>
                  <a:lnTo>
                    <a:pt x="131" y="2609"/>
                  </a:lnTo>
                  <a:lnTo>
                    <a:pt x="135" y="2606"/>
                  </a:lnTo>
                  <a:lnTo>
                    <a:pt x="138" y="2601"/>
                  </a:lnTo>
                  <a:lnTo>
                    <a:pt x="140" y="2597"/>
                  </a:lnTo>
                  <a:lnTo>
                    <a:pt x="143" y="2590"/>
                  </a:lnTo>
                  <a:lnTo>
                    <a:pt x="144" y="2582"/>
                  </a:lnTo>
                  <a:lnTo>
                    <a:pt x="144" y="2574"/>
                  </a:lnTo>
                  <a:lnTo>
                    <a:pt x="146" y="2565"/>
                  </a:lnTo>
                  <a:lnTo>
                    <a:pt x="144" y="2556"/>
                  </a:lnTo>
                  <a:lnTo>
                    <a:pt x="143" y="2548"/>
                  </a:lnTo>
                  <a:lnTo>
                    <a:pt x="139" y="2540"/>
                  </a:lnTo>
                  <a:lnTo>
                    <a:pt x="136" y="2532"/>
                  </a:lnTo>
                  <a:lnTo>
                    <a:pt x="132" y="2524"/>
                  </a:lnTo>
                  <a:lnTo>
                    <a:pt x="130" y="2516"/>
                  </a:lnTo>
                  <a:lnTo>
                    <a:pt x="128" y="2508"/>
                  </a:lnTo>
                  <a:lnTo>
                    <a:pt x="127" y="2499"/>
                  </a:lnTo>
                  <a:lnTo>
                    <a:pt x="128" y="2488"/>
                  </a:lnTo>
                  <a:lnTo>
                    <a:pt x="131" y="2479"/>
                  </a:lnTo>
                  <a:lnTo>
                    <a:pt x="135" y="2468"/>
                  </a:lnTo>
                  <a:lnTo>
                    <a:pt x="139" y="2459"/>
                  </a:lnTo>
                  <a:lnTo>
                    <a:pt x="143" y="2448"/>
                  </a:lnTo>
                  <a:lnTo>
                    <a:pt x="147" y="2436"/>
                  </a:lnTo>
                  <a:lnTo>
                    <a:pt x="150" y="2424"/>
                  </a:lnTo>
                  <a:lnTo>
                    <a:pt x="151" y="2409"/>
                  </a:lnTo>
                  <a:lnTo>
                    <a:pt x="150" y="2396"/>
                  </a:lnTo>
                  <a:lnTo>
                    <a:pt x="147" y="2384"/>
                  </a:lnTo>
                  <a:lnTo>
                    <a:pt x="143" y="2375"/>
                  </a:lnTo>
                  <a:lnTo>
                    <a:pt x="139" y="2364"/>
                  </a:lnTo>
                  <a:lnTo>
                    <a:pt x="135" y="2355"/>
                  </a:lnTo>
                  <a:lnTo>
                    <a:pt x="131" y="2345"/>
                  </a:lnTo>
                  <a:lnTo>
                    <a:pt x="128" y="2335"/>
                  </a:lnTo>
                  <a:lnTo>
                    <a:pt x="127" y="2324"/>
                  </a:lnTo>
                  <a:lnTo>
                    <a:pt x="128" y="2316"/>
                  </a:lnTo>
                  <a:lnTo>
                    <a:pt x="132" y="2307"/>
                  </a:lnTo>
                  <a:lnTo>
                    <a:pt x="138" y="2296"/>
                  </a:lnTo>
                  <a:lnTo>
                    <a:pt x="143" y="2283"/>
                  </a:lnTo>
                  <a:lnTo>
                    <a:pt x="150" y="2269"/>
                  </a:lnTo>
                  <a:lnTo>
                    <a:pt x="155" y="2256"/>
                  </a:lnTo>
                  <a:lnTo>
                    <a:pt x="160" y="2241"/>
                  </a:lnTo>
                  <a:lnTo>
                    <a:pt x="163" y="2228"/>
                  </a:lnTo>
                  <a:lnTo>
                    <a:pt x="172" y="2225"/>
                  </a:lnTo>
                  <a:lnTo>
                    <a:pt x="180" y="2221"/>
                  </a:lnTo>
                  <a:lnTo>
                    <a:pt x="190" y="2216"/>
                  </a:lnTo>
                  <a:lnTo>
                    <a:pt x="196" y="2211"/>
                  </a:lnTo>
                  <a:lnTo>
                    <a:pt x="204" y="2204"/>
                  </a:lnTo>
                  <a:lnTo>
                    <a:pt x="211" y="2197"/>
                  </a:lnTo>
                  <a:lnTo>
                    <a:pt x="218" y="2189"/>
                  </a:lnTo>
                  <a:lnTo>
                    <a:pt x="223" y="2181"/>
                  </a:lnTo>
                  <a:lnTo>
                    <a:pt x="228" y="2172"/>
                  </a:lnTo>
                  <a:lnTo>
                    <a:pt x="234" y="2164"/>
                  </a:lnTo>
                  <a:lnTo>
                    <a:pt x="238" y="2155"/>
                  </a:lnTo>
                  <a:lnTo>
                    <a:pt x="242" y="2145"/>
                  </a:lnTo>
                  <a:lnTo>
                    <a:pt x="244" y="2136"/>
                  </a:lnTo>
                  <a:lnTo>
                    <a:pt x="246" y="2127"/>
                  </a:lnTo>
                  <a:lnTo>
                    <a:pt x="247" y="2116"/>
                  </a:lnTo>
                  <a:lnTo>
                    <a:pt x="248" y="2108"/>
                  </a:lnTo>
                  <a:lnTo>
                    <a:pt x="247" y="2096"/>
                  </a:lnTo>
                  <a:lnTo>
                    <a:pt x="244" y="2087"/>
                  </a:lnTo>
                  <a:lnTo>
                    <a:pt x="242" y="2077"/>
                  </a:lnTo>
                  <a:lnTo>
                    <a:pt x="238" y="2068"/>
                  </a:lnTo>
                  <a:lnTo>
                    <a:pt x="227" y="2052"/>
                  </a:lnTo>
                  <a:lnTo>
                    <a:pt x="215" y="2036"/>
                  </a:lnTo>
                  <a:lnTo>
                    <a:pt x="203" y="2021"/>
                  </a:lnTo>
                  <a:lnTo>
                    <a:pt x="192" y="2005"/>
                  </a:lnTo>
                  <a:lnTo>
                    <a:pt x="187" y="1997"/>
                  </a:lnTo>
                  <a:lnTo>
                    <a:pt x="184" y="1988"/>
                  </a:lnTo>
                  <a:lnTo>
                    <a:pt x="182" y="1979"/>
                  </a:lnTo>
                  <a:lnTo>
                    <a:pt x="182" y="1969"/>
                  </a:lnTo>
                  <a:lnTo>
                    <a:pt x="182" y="1954"/>
                  </a:lnTo>
                  <a:lnTo>
                    <a:pt x="183" y="1938"/>
                  </a:lnTo>
                  <a:lnTo>
                    <a:pt x="184" y="1922"/>
                  </a:lnTo>
                  <a:lnTo>
                    <a:pt x="187" y="1907"/>
                  </a:lnTo>
                  <a:lnTo>
                    <a:pt x="190" y="1891"/>
                  </a:lnTo>
                  <a:lnTo>
                    <a:pt x="194" y="1876"/>
                  </a:lnTo>
                  <a:lnTo>
                    <a:pt x="198" y="1863"/>
                  </a:lnTo>
                  <a:lnTo>
                    <a:pt x="203" y="1850"/>
                  </a:lnTo>
                  <a:lnTo>
                    <a:pt x="208" y="1839"/>
                  </a:lnTo>
                  <a:lnTo>
                    <a:pt x="215" y="1827"/>
                  </a:lnTo>
                  <a:lnTo>
                    <a:pt x="222" y="1818"/>
                  </a:lnTo>
                  <a:lnTo>
                    <a:pt x="230" y="1810"/>
                  </a:lnTo>
                  <a:lnTo>
                    <a:pt x="238" y="1803"/>
                  </a:lnTo>
                  <a:lnTo>
                    <a:pt x="247" y="1799"/>
                  </a:lnTo>
                  <a:lnTo>
                    <a:pt x="256" y="1795"/>
                  </a:lnTo>
                  <a:lnTo>
                    <a:pt x="265" y="1795"/>
                  </a:lnTo>
                  <a:lnTo>
                    <a:pt x="283" y="1795"/>
                  </a:lnTo>
                  <a:lnTo>
                    <a:pt x="300" y="1795"/>
                  </a:lnTo>
                  <a:lnTo>
                    <a:pt x="320" y="1795"/>
                  </a:lnTo>
                  <a:lnTo>
                    <a:pt x="344" y="1795"/>
                  </a:lnTo>
                  <a:lnTo>
                    <a:pt x="356" y="1794"/>
                  </a:lnTo>
                  <a:lnTo>
                    <a:pt x="368" y="1790"/>
                  </a:lnTo>
                  <a:lnTo>
                    <a:pt x="379" y="1786"/>
                  </a:lnTo>
                  <a:lnTo>
                    <a:pt x="388" y="1779"/>
                  </a:lnTo>
                  <a:lnTo>
                    <a:pt x="397" y="1771"/>
                  </a:lnTo>
                  <a:lnTo>
                    <a:pt x="405" y="1762"/>
                  </a:lnTo>
                  <a:lnTo>
                    <a:pt x="412" y="1752"/>
                  </a:lnTo>
                  <a:lnTo>
                    <a:pt x="419" y="1743"/>
                  </a:lnTo>
                  <a:lnTo>
                    <a:pt x="432" y="1724"/>
                  </a:lnTo>
                  <a:lnTo>
                    <a:pt x="445" y="1708"/>
                  </a:lnTo>
                  <a:lnTo>
                    <a:pt x="452" y="1702"/>
                  </a:lnTo>
                  <a:lnTo>
                    <a:pt x="460" y="1696"/>
                  </a:lnTo>
                  <a:lnTo>
                    <a:pt x="468" y="1694"/>
                  </a:lnTo>
                  <a:lnTo>
                    <a:pt x="476" y="1692"/>
                  </a:lnTo>
                  <a:lnTo>
                    <a:pt x="483" y="1692"/>
                  </a:lnTo>
                  <a:lnTo>
                    <a:pt x="489" y="1694"/>
                  </a:lnTo>
                  <a:lnTo>
                    <a:pt x="496" y="1696"/>
                  </a:lnTo>
                  <a:lnTo>
                    <a:pt x="501" y="1699"/>
                  </a:lnTo>
                  <a:lnTo>
                    <a:pt x="511" y="1706"/>
                  </a:lnTo>
                  <a:lnTo>
                    <a:pt x="519" y="1715"/>
                  </a:lnTo>
                  <a:lnTo>
                    <a:pt x="525" y="1726"/>
                  </a:lnTo>
                  <a:lnTo>
                    <a:pt x="531" y="1738"/>
                  </a:lnTo>
                  <a:lnTo>
                    <a:pt x="536" y="1751"/>
                  </a:lnTo>
                  <a:lnTo>
                    <a:pt x="540" y="1764"/>
                  </a:lnTo>
                  <a:lnTo>
                    <a:pt x="545" y="1778"/>
                  </a:lnTo>
                  <a:lnTo>
                    <a:pt x="551" y="1791"/>
                  </a:lnTo>
                  <a:lnTo>
                    <a:pt x="556" y="1803"/>
                  </a:lnTo>
                  <a:lnTo>
                    <a:pt x="564" y="1814"/>
                  </a:lnTo>
                  <a:lnTo>
                    <a:pt x="568" y="1819"/>
                  </a:lnTo>
                  <a:lnTo>
                    <a:pt x="572" y="1823"/>
                  </a:lnTo>
                  <a:lnTo>
                    <a:pt x="577" y="1827"/>
                  </a:lnTo>
                  <a:lnTo>
                    <a:pt x="583" y="1831"/>
                  </a:lnTo>
                  <a:lnTo>
                    <a:pt x="588" y="1834"/>
                  </a:lnTo>
                  <a:lnTo>
                    <a:pt x="595" y="1835"/>
                  </a:lnTo>
                  <a:lnTo>
                    <a:pt x="601" y="1836"/>
                  </a:lnTo>
                  <a:lnTo>
                    <a:pt x="609" y="1836"/>
                  </a:lnTo>
                  <a:lnTo>
                    <a:pt x="613" y="1836"/>
                  </a:lnTo>
                  <a:lnTo>
                    <a:pt x="616" y="1835"/>
                  </a:lnTo>
                  <a:lnTo>
                    <a:pt x="617" y="1831"/>
                  </a:lnTo>
                  <a:lnTo>
                    <a:pt x="619" y="1828"/>
                  </a:lnTo>
                  <a:lnTo>
                    <a:pt x="620" y="1818"/>
                  </a:lnTo>
                  <a:lnTo>
                    <a:pt x="617" y="1806"/>
                  </a:lnTo>
                  <a:lnTo>
                    <a:pt x="612" y="1776"/>
                  </a:lnTo>
                  <a:lnTo>
                    <a:pt x="609" y="1747"/>
                  </a:lnTo>
                  <a:lnTo>
                    <a:pt x="612" y="1722"/>
                  </a:lnTo>
                  <a:lnTo>
                    <a:pt x="619" y="1684"/>
                  </a:lnTo>
                  <a:lnTo>
                    <a:pt x="624" y="1666"/>
                  </a:lnTo>
                  <a:lnTo>
                    <a:pt x="629" y="1650"/>
                  </a:lnTo>
                  <a:lnTo>
                    <a:pt x="632" y="1643"/>
                  </a:lnTo>
                  <a:lnTo>
                    <a:pt x="635" y="1638"/>
                  </a:lnTo>
                  <a:lnTo>
                    <a:pt x="636" y="1634"/>
                  </a:lnTo>
                  <a:lnTo>
                    <a:pt x="639" y="1632"/>
                  </a:lnTo>
                  <a:lnTo>
                    <a:pt x="649" y="1630"/>
                  </a:lnTo>
                  <a:lnTo>
                    <a:pt x="659" y="1631"/>
                  </a:lnTo>
                  <a:lnTo>
                    <a:pt x="664" y="1630"/>
                  </a:lnTo>
                  <a:lnTo>
                    <a:pt x="668" y="1628"/>
                  </a:lnTo>
                  <a:lnTo>
                    <a:pt x="672" y="1626"/>
                  </a:lnTo>
                  <a:lnTo>
                    <a:pt x="675" y="1620"/>
                  </a:lnTo>
                  <a:lnTo>
                    <a:pt x="677" y="1604"/>
                  </a:lnTo>
                  <a:lnTo>
                    <a:pt x="680" y="1591"/>
                  </a:lnTo>
                  <a:lnTo>
                    <a:pt x="681" y="1584"/>
                  </a:lnTo>
                  <a:lnTo>
                    <a:pt x="684" y="1579"/>
                  </a:lnTo>
                  <a:lnTo>
                    <a:pt x="688" y="1572"/>
                  </a:lnTo>
                  <a:lnTo>
                    <a:pt x="693" y="1566"/>
                  </a:lnTo>
                  <a:lnTo>
                    <a:pt x="716" y="1542"/>
                  </a:lnTo>
                  <a:lnTo>
                    <a:pt x="744" y="1516"/>
                  </a:lnTo>
                  <a:lnTo>
                    <a:pt x="757" y="1502"/>
                  </a:lnTo>
                  <a:lnTo>
                    <a:pt x="768" y="1488"/>
                  </a:lnTo>
                  <a:lnTo>
                    <a:pt x="772" y="1480"/>
                  </a:lnTo>
                  <a:lnTo>
                    <a:pt x="775" y="1472"/>
                  </a:lnTo>
                  <a:lnTo>
                    <a:pt x="777" y="1466"/>
                  </a:lnTo>
                  <a:lnTo>
                    <a:pt x="777" y="1458"/>
                  </a:lnTo>
                  <a:lnTo>
                    <a:pt x="777" y="1451"/>
                  </a:lnTo>
                  <a:lnTo>
                    <a:pt x="775" y="1447"/>
                  </a:lnTo>
                  <a:lnTo>
                    <a:pt x="772" y="1443"/>
                  </a:lnTo>
                  <a:lnTo>
                    <a:pt x="768" y="1440"/>
                  </a:lnTo>
                  <a:lnTo>
                    <a:pt x="760" y="1435"/>
                  </a:lnTo>
                  <a:lnTo>
                    <a:pt x="753" y="1427"/>
                  </a:lnTo>
                  <a:lnTo>
                    <a:pt x="753" y="1422"/>
                  </a:lnTo>
                  <a:lnTo>
                    <a:pt x="753" y="1403"/>
                  </a:lnTo>
                  <a:lnTo>
                    <a:pt x="753" y="1395"/>
                  </a:lnTo>
                  <a:lnTo>
                    <a:pt x="755" y="1388"/>
                  </a:lnTo>
                  <a:lnTo>
                    <a:pt x="757" y="1382"/>
                  </a:lnTo>
                  <a:lnTo>
                    <a:pt x="760" y="1375"/>
                  </a:lnTo>
                  <a:lnTo>
                    <a:pt x="764" y="1369"/>
                  </a:lnTo>
                  <a:lnTo>
                    <a:pt x="768" y="1363"/>
                  </a:lnTo>
                  <a:lnTo>
                    <a:pt x="773" y="1359"/>
                  </a:lnTo>
                  <a:lnTo>
                    <a:pt x="779" y="1354"/>
                  </a:lnTo>
                  <a:lnTo>
                    <a:pt x="791" y="1347"/>
                  </a:lnTo>
                  <a:lnTo>
                    <a:pt x="804" y="1342"/>
                  </a:lnTo>
                  <a:lnTo>
                    <a:pt x="817" y="1338"/>
                  </a:lnTo>
                  <a:lnTo>
                    <a:pt x="832" y="1337"/>
                  </a:lnTo>
                  <a:lnTo>
                    <a:pt x="835" y="1338"/>
                  </a:lnTo>
                  <a:lnTo>
                    <a:pt x="837" y="1338"/>
                  </a:lnTo>
                  <a:lnTo>
                    <a:pt x="840" y="1339"/>
                  </a:lnTo>
                  <a:lnTo>
                    <a:pt x="843" y="1342"/>
                  </a:lnTo>
                  <a:lnTo>
                    <a:pt x="845" y="1347"/>
                  </a:lnTo>
                  <a:lnTo>
                    <a:pt x="849" y="1354"/>
                  </a:lnTo>
                  <a:lnTo>
                    <a:pt x="855" y="1370"/>
                  </a:lnTo>
                  <a:lnTo>
                    <a:pt x="861" y="1384"/>
                  </a:lnTo>
                  <a:lnTo>
                    <a:pt x="881" y="1396"/>
                  </a:lnTo>
                  <a:lnTo>
                    <a:pt x="925" y="1422"/>
                  </a:lnTo>
                  <a:lnTo>
                    <a:pt x="951" y="1435"/>
                  </a:lnTo>
                  <a:lnTo>
                    <a:pt x="973" y="1446"/>
                  </a:lnTo>
                  <a:lnTo>
                    <a:pt x="984" y="1451"/>
                  </a:lnTo>
                  <a:lnTo>
                    <a:pt x="993" y="1454"/>
                  </a:lnTo>
                  <a:lnTo>
                    <a:pt x="1001" y="1456"/>
                  </a:lnTo>
                  <a:lnTo>
                    <a:pt x="1007" y="1458"/>
                  </a:lnTo>
                  <a:lnTo>
                    <a:pt x="1021" y="1456"/>
                  </a:lnTo>
                  <a:lnTo>
                    <a:pt x="1032" y="1454"/>
                  </a:lnTo>
                  <a:lnTo>
                    <a:pt x="1042" y="1448"/>
                  </a:lnTo>
                  <a:lnTo>
                    <a:pt x="1049" y="1443"/>
                  </a:lnTo>
                  <a:lnTo>
                    <a:pt x="1054" y="1436"/>
                  </a:lnTo>
                  <a:lnTo>
                    <a:pt x="1058" y="1430"/>
                  </a:lnTo>
                  <a:lnTo>
                    <a:pt x="1060" y="1422"/>
                  </a:lnTo>
                  <a:lnTo>
                    <a:pt x="1060" y="1415"/>
                  </a:lnTo>
                  <a:lnTo>
                    <a:pt x="1060" y="1411"/>
                  </a:lnTo>
                  <a:lnTo>
                    <a:pt x="1060" y="1400"/>
                  </a:lnTo>
                  <a:lnTo>
                    <a:pt x="1060" y="1387"/>
                  </a:lnTo>
                  <a:lnTo>
                    <a:pt x="1060" y="1373"/>
                  </a:lnTo>
                  <a:lnTo>
                    <a:pt x="1061" y="1365"/>
                  </a:lnTo>
                  <a:lnTo>
                    <a:pt x="1064" y="1357"/>
                  </a:lnTo>
                  <a:lnTo>
                    <a:pt x="1068" y="1350"/>
                  </a:lnTo>
                  <a:lnTo>
                    <a:pt x="1072" y="1343"/>
                  </a:lnTo>
                  <a:lnTo>
                    <a:pt x="1077" y="1338"/>
                  </a:lnTo>
                  <a:lnTo>
                    <a:pt x="1081" y="1331"/>
                  </a:lnTo>
                  <a:lnTo>
                    <a:pt x="1084" y="1326"/>
                  </a:lnTo>
                  <a:lnTo>
                    <a:pt x="1085" y="1319"/>
                  </a:lnTo>
                  <a:lnTo>
                    <a:pt x="1085" y="1309"/>
                  </a:lnTo>
                  <a:lnTo>
                    <a:pt x="1085" y="1289"/>
                  </a:lnTo>
                  <a:lnTo>
                    <a:pt x="1081" y="1282"/>
                  </a:lnTo>
                  <a:lnTo>
                    <a:pt x="1077" y="1275"/>
                  </a:lnTo>
                  <a:lnTo>
                    <a:pt x="1073" y="1270"/>
                  </a:lnTo>
                  <a:lnTo>
                    <a:pt x="1068" y="1263"/>
                  </a:lnTo>
                  <a:lnTo>
                    <a:pt x="1054" y="1253"/>
                  </a:lnTo>
                  <a:lnTo>
                    <a:pt x="1041" y="1242"/>
                  </a:lnTo>
                  <a:lnTo>
                    <a:pt x="1028" y="1233"/>
                  </a:lnTo>
                  <a:lnTo>
                    <a:pt x="1017" y="1223"/>
                  </a:lnTo>
                  <a:lnTo>
                    <a:pt x="1012" y="1218"/>
                  </a:lnTo>
                  <a:lnTo>
                    <a:pt x="1009" y="1214"/>
                  </a:lnTo>
                  <a:lnTo>
                    <a:pt x="1007" y="1209"/>
                  </a:lnTo>
                  <a:lnTo>
                    <a:pt x="1007" y="1205"/>
                  </a:lnTo>
                  <a:lnTo>
                    <a:pt x="1007" y="1195"/>
                  </a:lnTo>
                  <a:lnTo>
                    <a:pt x="1009" y="1186"/>
                  </a:lnTo>
                  <a:lnTo>
                    <a:pt x="1012" y="1178"/>
                  </a:lnTo>
                  <a:lnTo>
                    <a:pt x="1017" y="1171"/>
                  </a:lnTo>
                  <a:lnTo>
                    <a:pt x="1028" y="1159"/>
                  </a:lnTo>
                  <a:lnTo>
                    <a:pt x="1040" y="1149"/>
                  </a:lnTo>
                  <a:lnTo>
                    <a:pt x="1052" y="1137"/>
                  </a:lnTo>
                  <a:lnTo>
                    <a:pt x="1062" y="1126"/>
                  </a:lnTo>
                  <a:lnTo>
                    <a:pt x="1066" y="1119"/>
                  </a:lnTo>
                  <a:lnTo>
                    <a:pt x="1069" y="1113"/>
                  </a:lnTo>
                  <a:lnTo>
                    <a:pt x="1072" y="1105"/>
                  </a:lnTo>
                  <a:lnTo>
                    <a:pt x="1072" y="1097"/>
                  </a:lnTo>
                  <a:lnTo>
                    <a:pt x="1072" y="1086"/>
                  </a:lnTo>
                  <a:lnTo>
                    <a:pt x="1069" y="1075"/>
                  </a:lnTo>
                  <a:lnTo>
                    <a:pt x="1066" y="1067"/>
                  </a:lnTo>
                  <a:lnTo>
                    <a:pt x="1062" y="1058"/>
                  </a:lnTo>
                  <a:lnTo>
                    <a:pt x="1054" y="1043"/>
                  </a:lnTo>
                  <a:lnTo>
                    <a:pt x="1048" y="1030"/>
                  </a:lnTo>
                  <a:lnTo>
                    <a:pt x="940" y="1030"/>
                  </a:lnTo>
                  <a:lnTo>
                    <a:pt x="933" y="1021"/>
                  </a:lnTo>
                  <a:lnTo>
                    <a:pt x="929" y="1009"/>
                  </a:lnTo>
                  <a:lnTo>
                    <a:pt x="924" y="994"/>
                  </a:lnTo>
                  <a:lnTo>
                    <a:pt x="921" y="978"/>
                  </a:lnTo>
                  <a:lnTo>
                    <a:pt x="919" y="959"/>
                  </a:lnTo>
                  <a:lnTo>
                    <a:pt x="917" y="941"/>
                  </a:lnTo>
                  <a:lnTo>
                    <a:pt x="916" y="922"/>
                  </a:lnTo>
                  <a:lnTo>
                    <a:pt x="916" y="903"/>
                  </a:lnTo>
                  <a:lnTo>
                    <a:pt x="917" y="883"/>
                  </a:lnTo>
                  <a:lnTo>
                    <a:pt x="920" y="867"/>
                  </a:lnTo>
                  <a:lnTo>
                    <a:pt x="924" y="855"/>
                  </a:lnTo>
                  <a:lnTo>
                    <a:pt x="929" y="845"/>
                  </a:lnTo>
                  <a:lnTo>
                    <a:pt x="933" y="834"/>
                  </a:lnTo>
                  <a:lnTo>
                    <a:pt x="939" y="823"/>
                  </a:lnTo>
                  <a:lnTo>
                    <a:pt x="943" y="811"/>
                  </a:lnTo>
                  <a:lnTo>
                    <a:pt x="947" y="796"/>
                  </a:lnTo>
                  <a:lnTo>
                    <a:pt x="941" y="794"/>
                  </a:lnTo>
                  <a:lnTo>
                    <a:pt x="939" y="794"/>
                  </a:lnTo>
                  <a:lnTo>
                    <a:pt x="935" y="793"/>
                  </a:lnTo>
                  <a:lnTo>
                    <a:pt x="932" y="790"/>
                  </a:lnTo>
                  <a:lnTo>
                    <a:pt x="927" y="782"/>
                  </a:lnTo>
                  <a:lnTo>
                    <a:pt x="923" y="772"/>
                  </a:lnTo>
                  <a:lnTo>
                    <a:pt x="935" y="764"/>
                  </a:lnTo>
                  <a:lnTo>
                    <a:pt x="944" y="757"/>
                  </a:lnTo>
                  <a:lnTo>
                    <a:pt x="951" y="749"/>
                  </a:lnTo>
                  <a:lnTo>
                    <a:pt x="959" y="740"/>
                  </a:lnTo>
                  <a:lnTo>
                    <a:pt x="965" y="732"/>
                  </a:lnTo>
                  <a:lnTo>
                    <a:pt x="973" y="722"/>
                  </a:lnTo>
                  <a:lnTo>
                    <a:pt x="983" y="714"/>
                  </a:lnTo>
                  <a:lnTo>
                    <a:pt x="995" y="705"/>
                  </a:lnTo>
                  <a:lnTo>
                    <a:pt x="1000" y="697"/>
                  </a:lnTo>
                  <a:lnTo>
                    <a:pt x="1008" y="688"/>
                  </a:lnTo>
                  <a:lnTo>
                    <a:pt x="1012" y="684"/>
                  </a:lnTo>
                  <a:lnTo>
                    <a:pt x="1016" y="678"/>
                  </a:lnTo>
                  <a:lnTo>
                    <a:pt x="1017" y="670"/>
                  </a:lnTo>
                  <a:lnTo>
                    <a:pt x="1018" y="662"/>
                  </a:lnTo>
                  <a:lnTo>
                    <a:pt x="1018" y="656"/>
                  </a:lnTo>
                  <a:lnTo>
                    <a:pt x="1020" y="648"/>
                  </a:lnTo>
                  <a:lnTo>
                    <a:pt x="1022" y="641"/>
                  </a:lnTo>
                  <a:lnTo>
                    <a:pt x="1025" y="634"/>
                  </a:lnTo>
                  <a:lnTo>
                    <a:pt x="1032" y="622"/>
                  </a:lnTo>
                  <a:lnTo>
                    <a:pt x="1040" y="610"/>
                  </a:lnTo>
                  <a:lnTo>
                    <a:pt x="1046" y="598"/>
                  </a:lnTo>
                  <a:lnTo>
                    <a:pt x="1054" y="585"/>
                  </a:lnTo>
                  <a:lnTo>
                    <a:pt x="1057" y="578"/>
                  </a:lnTo>
                  <a:lnTo>
                    <a:pt x="1058" y="572"/>
                  </a:lnTo>
                  <a:lnTo>
                    <a:pt x="1060" y="562"/>
                  </a:lnTo>
                  <a:lnTo>
                    <a:pt x="1060" y="554"/>
                  </a:lnTo>
                  <a:lnTo>
                    <a:pt x="1060" y="548"/>
                  </a:lnTo>
                  <a:lnTo>
                    <a:pt x="1057" y="542"/>
                  </a:lnTo>
                  <a:lnTo>
                    <a:pt x="1053" y="537"/>
                  </a:lnTo>
                  <a:lnTo>
                    <a:pt x="1048" y="532"/>
                  </a:lnTo>
                  <a:lnTo>
                    <a:pt x="1044" y="526"/>
                  </a:lnTo>
                  <a:lnTo>
                    <a:pt x="1040" y="518"/>
                  </a:lnTo>
                  <a:lnTo>
                    <a:pt x="1037" y="510"/>
                  </a:lnTo>
                  <a:lnTo>
                    <a:pt x="1036" y="500"/>
                  </a:lnTo>
                  <a:lnTo>
                    <a:pt x="1037" y="493"/>
                  </a:lnTo>
                  <a:lnTo>
                    <a:pt x="1040" y="486"/>
                  </a:lnTo>
                  <a:lnTo>
                    <a:pt x="1044" y="480"/>
                  </a:lnTo>
                  <a:lnTo>
                    <a:pt x="1048" y="472"/>
                  </a:lnTo>
                  <a:lnTo>
                    <a:pt x="1053" y="465"/>
                  </a:lnTo>
                  <a:lnTo>
                    <a:pt x="1057" y="457"/>
                  </a:lnTo>
                  <a:lnTo>
                    <a:pt x="1060" y="449"/>
                  </a:lnTo>
                  <a:lnTo>
                    <a:pt x="1060" y="440"/>
                  </a:lnTo>
                  <a:lnTo>
                    <a:pt x="1060" y="429"/>
                  </a:lnTo>
                  <a:lnTo>
                    <a:pt x="1057" y="420"/>
                  </a:lnTo>
                  <a:lnTo>
                    <a:pt x="1053" y="412"/>
                  </a:lnTo>
                  <a:lnTo>
                    <a:pt x="1048" y="404"/>
                  </a:lnTo>
                  <a:lnTo>
                    <a:pt x="1036" y="390"/>
                  </a:lnTo>
                  <a:lnTo>
                    <a:pt x="1021" y="378"/>
                  </a:lnTo>
                  <a:lnTo>
                    <a:pt x="1007" y="366"/>
                  </a:lnTo>
                  <a:lnTo>
                    <a:pt x="995" y="353"/>
                  </a:lnTo>
                  <a:lnTo>
                    <a:pt x="989" y="345"/>
                  </a:lnTo>
                  <a:lnTo>
                    <a:pt x="985" y="336"/>
                  </a:lnTo>
                  <a:lnTo>
                    <a:pt x="983" y="325"/>
                  </a:lnTo>
                  <a:lnTo>
                    <a:pt x="983" y="313"/>
                  </a:lnTo>
                  <a:lnTo>
                    <a:pt x="983" y="306"/>
                  </a:lnTo>
                  <a:lnTo>
                    <a:pt x="984" y="298"/>
                  </a:lnTo>
                  <a:lnTo>
                    <a:pt x="985" y="293"/>
                  </a:lnTo>
                  <a:lnTo>
                    <a:pt x="988" y="286"/>
                  </a:lnTo>
                  <a:lnTo>
                    <a:pt x="993" y="277"/>
                  </a:lnTo>
                  <a:lnTo>
                    <a:pt x="1000" y="268"/>
                  </a:lnTo>
                  <a:lnTo>
                    <a:pt x="1007" y="260"/>
                  </a:lnTo>
                  <a:lnTo>
                    <a:pt x="1013" y="252"/>
                  </a:lnTo>
                  <a:lnTo>
                    <a:pt x="1017" y="244"/>
                  </a:lnTo>
                  <a:lnTo>
                    <a:pt x="1018" y="234"/>
                  </a:lnTo>
                  <a:lnTo>
                    <a:pt x="1018" y="229"/>
                  </a:lnTo>
                  <a:lnTo>
                    <a:pt x="1017" y="225"/>
                  </a:lnTo>
                  <a:lnTo>
                    <a:pt x="1015" y="220"/>
                  </a:lnTo>
                  <a:lnTo>
                    <a:pt x="1013" y="216"/>
                  </a:lnTo>
                  <a:lnTo>
                    <a:pt x="1007" y="208"/>
                  </a:lnTo>
                  <a:lnTo>
                    <a:pt x="1000" y="199"/>
                  </a:lnTo>
                  <a:lnTo>
                    <a:pt x="993" y="189"/>
                  </a:lnTo>
                  <a:lnTo>
                    <a:pt x="988" y="177"/>
                  </a:lnTo>
                  <a:lnTo>
                    <a:pt x="985" y="171"/>
                  </a:lnTo>
                  <a:lnTo>
                    <a:pt x="984" y="163"/>
                  </a:lnTo>
                  <a:lnTo>
                    <a:pt x="983" y="155"/>
                  </a:lnTo>
                  <a:lnTo>
                    <a:pt x="983" y="145"/>
                  </a:lnTo>
                  <a:lnTo>
                    <a:pt x="983" y="137"/>
                  </a:lnTo>
                  <a:lnTo>
                    <a:pt x="984" y="129"/>
                  </a:lnTo>
                  <a:lnTo>
                    <a:pt x="985" y="123"/>
                  </a:lnTo>
                  <a:lnTo>
                    <a:pt x="988" y="116"/>
                  </a:lnTo>
                  <a:lnTo>
                    <a:pt x="992" y="111"/>
                  </a:lnTo>
                  <a:lnTo>
                    <a:pt x="996" y="105"/>
                  </a:lnTo>
                  <a:lnTo>
                    <a:pt x="1000" y="100"/>
                  </a:lnTo>
                  <a:lnTo>
                    <a:pt x="1005" y="96"/>
                  </a:lnTo>
                  <a:lnTo>
                    <a:pt x="1016" y="88"/>
                  </a:lnTo>
                  <a:lnTo>
                    <a:pt x="1028" y="81"/>
                  </a:lnTo>
                  <a:lnTo>
                    <a:pt x="1041" y="76"/>
                  </a:lnTo>
                  <a:lnTo>
                    <a:pt x="1054" y="71"/>
                  </a:lnTo>
                  <a:lnTo>
                    <a:pt x="1069" y="65"/>
                  </a:lnTo>
                  <a:lnTo>
                    <a:pt x="1082" y="60"/>
                  </a:lnTo>
                  <a:lnTo>
                    <a:pt x="1094" y="53"/>
                  </a:lnTo>
                  <a:lnTo>
                    <a:pt x="1106" y="45"/>
                  </a:lnTo>
                  <a:lnTo>
                    <a:pt x="1117" y="37"/>
                  </a:lnTo>
                  <a:lnTo>
                    <a:pt x="1125" y="27"/>
                  </a:lnTo>
                  <a:lnTo>
                    <a:pt x="1128" y="21"/>
                  </a:lnTo>
                  <a:lnTo>
                    <a:pt x="1130" y="15"/>
                  </a:lnTo>
                  <a:lnTo>
                    <a:pt x="1132" y="8"/>
                  </a:lnTo>
                  <a:lnTo>
                    <a:pt x="1133" y="0"/>
                  </a:lnTo>
                  <a:lnTo>
                    <a:pt x="1174" y="12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accent1">
                  <a:lumMod val="20000"/>
                  <a:lumOff val="8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95" b="0" i="0" u="none" strike="noStrike" kern="1200" cap="none" spc="0" normalizeH="0" baseline="0" noProof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4" name="Freeform 49"/>
            <p:cNvSpPr>
              <a:spLocks/>
            </p:cNvSpPr>
            <p:nvPr/>
          </p:nvSpPr>
          <p:spPr bwMode="auto">
            <a:xfrm>
              <a:off x="4995449" y="2466482"/>
              <a:ext cx="56595" cy="73810"/>
            </a:xfrm>
            <a:custGeom>
              <a:avLst/>
              <a:gdLst>
                <a:gd name="T0" fmla="*/ 121 w 782"/>
                <a:gd name="T1" fmla="*/ 1004 h 1023"/>
                <a:gd name="T2" fmla="*/ 225 w 782"/>
                <a:gd name="T3" fmla="*/ 1011 h 1023"/>
                <a:gd name="T4" fmla="*/ 263 w 782"/>
                <a:gd name="T5" fmla="*/ 944 h 1023"/>
                <a:gd name="T6" fmla="*/ 294 w 782"/>
                <a:gd name="T7" fmla="*/ 871 h 1023"/>
                <a:gd name="T8" fmla="*/ 354 w 782"/>
                <a:gd name="T9" fmla="*/ 866 h 1023"/>
                <a:gd name="T10" fmla="*/ 438 w 782"/>
                <a:gd name="T11" fmla="*/ 910 h 1023"/>
                <a:gd name="T12" fmla="*/ 485 w 782"/>
                <a:gd name="T13" fmla="*/ 910 h 1023"/>
                <a:gd name="T14" fmla="*/ 491 w 782"/>
                <a:gd name="T15" fmla="*/ 880 h 1023"/>
                <a:gd name="T16" fmla="*/ 437 w 782"/>
                <a:gd name="T17" fmla="*/ 831 h 1023"/>
                <a:gd name="T18" fmla="*/ 402 w 782"/>
                <a:gd name="T19" fmla="*/ 771 h 1023"/>
                <a:gd name="T20" fmla="*/ 457 w 782"/>
                <a:gd name="T21" fmla="*/ 758 h 1023"/>
                <a:gd name="T22" fmla="*/ 409 w 782"/>
                <a:gd name="T23" fmla="*/ 726 h 1023"/>
                <a:gd name="T24" fmla="*/ 407 w 782"/>
                <a:gd name="T25" fmla="*/ 687 h 1023"/>
                <a:gd name="T26" fmla="*/ 455 w 782"/>
                <a:gd name="T27" fmla="*/ 646 h 1023"/>
                <a:gd name="T28" fmla="*/ 538 w 782"/>
                <a:gd name="T29" fmla="*/ 674 h 1023"/>
                <a:gd name="T30" fmla="*/ 693 w 782"/>
                <a:gd name="T31" fmla="*/ 716 h 1023"/>
                <a:gd name="T32" fmla="*/ 766 w 782"/>
                <a:gd name="T33" fmla="*/ 630 h 1023"/>
                <a:gd name="T34" fmla="*/ 754 w 782"/>
                <a:gd name="T35" fmla="*/ 573 h 1023"/>
                <a:gd name="T36" fmla="*/ 701 w 782"/>
                <a:gd name="T37" fmla="*/ 561 h 1023"/>
                <a:gd name="T38" fmla="*/ 679 w 782"/>
                <a:gd name="T39" fmla="*/ 533 h 1023"/>
                <a:gd name="T40" fmla="*/ 658 w 782"/>
                <a:gd name="T41" fmla="*/ 481 h 1023"/>
                <a:gd name="T42" fmla="*/ 753 w 782"/>
                <a:gd name="T43" fmla="*/ 373 h 1023"/>
                <a:gd name="T44" fmla="*/ 782 w 782"/>
                <a:gd name="T45" fmla="*/ 299 h 1023"/>
                <a:gd name="T46" fmla="*/ 769 w 782"/>
                <a:gd name="T47" fmla="*/ 177 h 1023"/>
                <a:gd name="T48" fmla="*/ 731 w 782"/>
                <a:gd name="T49" fmla="*/ 129 h 1023"/>
                <a:gd name="T50" fmla="*/ 658 w 782"/>
                <a:gd name="T51" fmla="*/ 106 h 1023"/>
                <a:gd name="T52" fmla="*/ 590 w 782"/>
                <a:gd name="T53" fmla="*/ 95 h 1023"/>
                <a:gd name="T54" fmla="*/ 513 w 782"/>
                <a:gd name="T55" fmla="*/ 26 h 1023"/>
                <a:gd name="T56" fmla="*/ 450 w 782"/>
                <a:gd name="T57" fmla="*/ 1 h 1023"/>
                <a:gd name="T58" fmla="*/ 425 w 782"/>
                <a:gd name="T59" fmla="*/ 25 h 1023"/>
                <a:gd name="T60" fmla="*/ 398 w 782"/>
                <a:gd name="T61" fmla="*/ 107 h 1023"/>
                <a:gd name="T62" fmla="*/ 406 w 782"/>
                <a:gd name="T63" fmla="*/ 179 h 1023"/>
                <a:gd name="T64" fmla="*/ 370 w 782"/>
                <a:gd name="T65" fmla="*/ 211 h 1023"/>
                <a:gd name="T66" fmla="*/ 274 w 782"/>
                <a:gd name="T67" fmla="*/ 239 h 1023"/>
                <a:gd name="T68" fmla="*/ 241 w 782"/>
                <a:gd name="T69" fmla="*/ 258 h 1023"/>
                <a:gd name="T70" fmla="*/ 209 w 782"/>
                <a:gd name="T71" fmla="*/ 223 h 1023"/>
                <a:gd name="T72" fmla="*/ 158 w 782"/>
                <a:gd name="T73" fmla="*/ 214 h 1023"/>
                <a:gd name="T74" fmla="*/ 177 w 782"/>
                <a:gd name="T75" fmla="*/ 174 h 1023"/>
                <a:gd name="T76" fmla="*/ 182 w 782"/>
                <a:gd name="T77" fmla="*/ 137 h 1023"/>
                <a:gd name="T78" fmla="*/ 136 w 782"/>
                <a:gd name="T79" fmla="*/ 121 h 1023"/>
                <a:gd name="T80" fmla="*/ 72 w 782"/>
                <a:gd name="T81" fmla="*/ 134 h 1023"/>
                <a:gd name="T82" fmla="*/ 50 w 782"/>
                <a:gd name="T83" fmla="*/ 171 h 1023"/>
                <a:gd name="T84" fmla="*/ 50 w 782"/>
                <a:gd name="T85" fmla="*/ 247 h 1023"/>
                <a:gd name="T86" fmla="*/ 74 w 782"/>
                <a:gd name="T87" fmla="*/ 315 h 1023"/>
                <a:gd name="T88" fmla="*/ 130 w 782"/>
                <a:gd name="T89" fmla="*/ 342 h 1023"/>
                <a:gd name="T90" fmla="*/ 197 w 782"/>
                <a:gd name="T91" fmla="*/ 359 h 1023"/>
                <a:gd name="T92" fmla="*/ 285 w 782"/>
                <a:gd name="T93" fmla="*/ 362 h 1023"/>
                <a:gd name="T94" fmla="*/ 373 w 782"/>
                <a:gd name="T95" fmla="*/ 343 h 1023"/>
                <a:gd name="T96" fmla="*/ 309 w 782"/>
                <a:gd name="T97" fmla="*/ 487 h 1023"/>
                <a:gd name="T98" fmla="*/ 274 w 782"/>
                <a:gd name="T99" fmla="*/ 509 h 1023"/>
                <a:gd name="T100" fmla="*/ 234 w 782"/>
                <a:gd name="T101" fmla="*/ 494 h 1023"/>
                <a:gd name="T102" fmla="*/ 173 w 782"/>
                <a:gd name="T103" fmla="*/ 525 h 1023"/>
                <a:gd name="T104" fmla="*/ 112 w 782"/>
                <a:gd name="T105" fmla="*/ 586 h 1023"/>
                <a:gd name="T106" fmla="*/ 93 w 782"/>
                <a:gd name="T107" fmla="*/ 668 h 1023"/>
                <a:gd name="T108" fmla="*/ 24 w 782"/>
                <a:gd name="T109" fmla="*/ 763 h 1023"/>
                <a:gd name="T110" fmla="*/ 0 w 782"/>
                <a:gd name="T111" fmla="*/ 824 h 1023"/>
                <a:gd name="T112" fmla="*/ 22 w 782"/>
                <a:gd name="T113" fmla="*/ 859 h 1023"/>
                <a:gd name="T114" fmla="*/ 77 w 782"/>
                <a:gd name="T115" fmla="*/ 860 h 1023"/>
                <a:gd name="T116" fmla="*/ 144 w 782"/>
                <a:gd name="T117" fmla="*/ 887 h 1023"/>
                <a:gd name="T118" fmla="*/ 167 w 782"/>
                <a:gd name="T119" fmla="*/ 927 h 1023"/>
                <a:gd name="T120" fmla="*/ 108 w 782"/>
                <a:gd name="T121" fmla="*/ 1023 h 1023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782"/>
                <a:gd name="T184" fmla="*/ 0 h 1023"/>
                <a:gd name="T185" fmla="*/ 782 w 782"/>
                <a:gd name="T186" fmla="*/ 1023 h 1023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782" h="1023">
                  <a:moveTo>
                    <a:pt x="108" y="1023"/>
                  </a:moveTo>
                  <a:lnTo>
                    <a:pt x="108" y="1019"/>
                  </a:lnTo>
                  <a:lnTo>
                    <a:pt x="109" y="1015"/>
                  </a:lnTo>
                  <a:lnTo>
                    <a:pt x="110" y="1012"/>
                  </a:lnTo>
                  <a:lnTo>
                    <a:pt x="113" y="1010"/>
                  </a:lnTo>
                  <a:lnTo>
                    <a:pt x="121" y="1004"/>
                  </a:lnTo>
                  <a:lnTo>
                    <a:pt x="129" y="1002"/>
                  </a:lnTo>
                  <a:lnTo>
                    <a:pt x="140" y="1000"/>
                  </a:lnTo>
                  <a:lnTo>
                    <a:pt x="151" y="1000"/>
                  </a:lnTo>
                  <a:lnTo>
                    <a:pt x="163" y="1000"/>
                  </a:lnTo>
                  <a:lnTo>
                    <a:pt x="177" y="1002"/>
                  </a:lnTo>
                  <a:lnTo>
                    <a:pt x="225" y="1011"/>
                  </a:lnTo>
                  <a:lnTo>
                    <a:pt x="246" y="1018"/>
                  </a:lnTo>
                  <a:lnTo>
                    <a:pt x="250" y="1007"/>
                  </a:lnTo>
                  <a:lnTo>
                    <a:pt x="254" y="995"/>
                  </a:lnTo>
                  <a:lnTo>
                    <a:pt x="257" y="983"/>
                  </a:lnTo>
                  <a:lnTo>
                    <a:pt x="259" y="970"/>
                  </a:lnTo>
                  <a:lnTo>
                    <a:pt x="263" y="944"/>
                  </a:lnTo>
                  <a:lnTo>
                    <a:pt x="269" y="919"/>
                  </a:lnTo>
                  <a:lnTo>
                    <a:pt x="273" y="907"/>
                  </a:lnTo>
                  <a:lnTo>
                    <a:pt x="277" y="896"/>
                  </a:lnTo>
                  <a:lnTo>
                    <a:pt x="282" y="886"/>
                  </a:lnTo>
                  <a:lnTo>
                    <a:pt x="287" y="878"/>
                  </a:lnTo>
                  <a:lnTo>
                    <a:pt x="294" y="871"/>
                  </a:lnTo>
                  <a:lnTo>
                    <a:pt x="303" y="866"/>
                  </a:lnTo>
                  <a:lnTo>
                    <a:pt x="313" y="862"/>
                  </a:lnTo>
                  <a:lnTo>
                    <a:pt x="325" y="860"/>
                  </a:lnTo>
                  <a:lnTo>
                    <a:pt x="335" y="862"/>
                  </a:lnTo>
                  <a:lnTo>
                    <a:pt x="345" y="863"/>
                  </a:lnTo>
                  <a:lnTo>
                    <a:pt x="354" y="866"/>
                  </a:lnTo>
                  <a:lnTo>
                    <a:pt x="363" y="870"/>
                  </a:lnTo>
                  <a:lnTo>
                    <a:pt x="381" y="878"/>
                  </a:lnTo>
                  <a:lnTo>
                    <a:pt x="397" y="888"/>
                  </a:lnTo>
                  <a:lnTo>
                    <a:pt x="413" y="898"/>
                  </a:lnTo>
                  <a:lnTo>
                    <a:pt x="429" y="907"/>
                  </a:lnTo>
                  <a:lnTo>
                    <a:pt x="438" y="910"/>
                  </a:lnTo>
                  <a:lnTo>
                    <a:pt x="447" y="912"/>
                  </a:lnTo>
                  <a:lnTo>
                    <a:pt x="458" y="914"/>
                  </a:lnTo>
                  <a:lnTo>
                    <a:pt x="469" y="915"/>
                  </a:lnTo>
                  <a:lnTo>
                    <a:pt x="475" y="915"/>
                  </a:lnTo>
                  <a:lnTo>
                    <a:pt x="481" y="912"/>
                  </a:lnTo>
                  <a:lnTo>
                    <a:pt x="485" y="910"/>
                  </a:lnTo>
                  <a:lnTo>
                    <a:pt x="487" y="907"/>
                  </a:lnTo>
                  <a:lnTo>
                    <a:pt x="490" y="902"/>
                  </a:lnTo>
                  <a:lnTo>
                    <a:pt x="491" y="898"/>
                  </a:lnTo>
                  <a:lnTo>
                    <a:pt x="493" y="891"/>
                  </a:lnTo>
                  <a:lnTo>
                    <a:pt x="493" y="884"/>
                  </a:lnTo>
                  <a:lnTo>
                    <a:pt x="491" y="880"/>
                  </a:lnTo>
                  <a:lnTo>
                    <a:pt x="490" y="875"/>
                  </a:lnTo>
                  <a:lnTo>
                    <a:pt x="486" y="870"/>
                  </a:lnTo>
                  <a:lnTo>
                    <a:pt x="481" y="864"/>
                  </a:lnTo>
                  <a:lnTo>
                    <a:pt x="467" y="854"/>
                  </a:lnTo>
                  <a:lnTo>
                    <a:pt x="453" y="843"/>
                  </a:lnTo>
                  <a:lnTo>
                    <a:pt x="437" y="831"/>
                  </a:lnTo>
                  <a:lnTo>
                    <a:pt x="422" y="820"/>
                  </a:lnTo>
                  <a:lnTo>
                    <a:pt x="415" y="815"/>
                  </a:lnTo>
                  <a:lnTo>
                    <a:pt x="410" y="810"/>
                  </a:lnTo>
                  <a:lnTo>
                    <a:pt x="406" y="806"/>
                  </a:lnTo>
                  <a:lnTo>
                    <a:pt x="402" y="800"/>
                  </a:lnTo>
                  <a:lnTo>
                    <a:pt x="402" y="771"/>
                  </a:lnTo>
                  <a:lnTo>
                    <a:pt x="422" y="770"/>
                  </a:lnTo>
                  <a:lnTo>
                    <a:pt x="437" y="768"/>
                  </a:lnTo>
                  <a:lnTo>
                    <a:pt x="442" y="767"/>
                  </a:lnTo>
                  <a:lnTo>
                    <a:pt x="447" y="766"/>
                  </a:lnTo>
                  <a:lnTo>
                    <a:pt x="453" y="762"/>
                  </a:lnTo>
                  <a:lnTo>
                    <a:pt x="457" y="758"/>
                  </a:lnTo>
                  <a:lnTo>
                    <a:pt x="451" y="752"/>
                  </a:lnTo>
                  <a:lnTo>
                    <a:pt x="443" y="747"/>
                  </a:lnTo>
                  <a:lnTo>
                    <a:pt x="434" y="742"/>
                  </a:lnTo>
                  <a:lnTo>
                    <a:pt x="425" y="736"/>
                  </a:lnTo>
                  <a:lnTo>
                    <a:pt x="417" y="731"/>
                  </a:lnTo>
                  <a:lnTo>
                    <a:pt x="409" y="726"/>
                  </a:lnTo>
                  <a:lnTo>
                    <a:pt x="406" y="722"/>
                  </a:lnTo>
                  <a:lnTo>
                    <a:pt x="405" y="719"/>
                  </a:lnTo>
                  <a:lnTo>
                    <a:pt x="403" y="715"/>
                  </a:lnTo>
                  <a:lnTo>
                    <a:pt x="402" y="710"/>
                  </a:lnTo>
                  <a:lnTo>
                    <a:pt x="403" y="699"/>
                  </a:lnTo>
                  <a:lnTo>
                    <a:pt x="407" y="687"/>
                  </a:lnTo>
                  <a:lnTo>
                    <a:pt x="414" y="676"/>
                  </a:lnTo>
                  <a:lnTo>
                    <a:pt x="422" y="666"/>
                  </a:lnTo>
                  <a:lnTo>
                    <a:pt x="431" y="657"/>
                  </a:lnTo>
                  <a:lnTo>
                    <a:pt x="443" y="650"/>
                  </a:lnTo>
                  <a:lnTo>
                    <a:pt x="449" y="647"/>
                  </a:lnTo>
                  <a:lnTo>
                    <a:pt x="455" y="646"/>
                  </a:lnTo>
                  <a:lnTo>
                    <a:pt x="462" y="645"/>
                  </a:lnTo>
                  <a:lnTo>
                    <a:pt x="469" y="645"/>
                  </a:lnTo>
                  <a:lnTo>
                    <a:pt x="479" y="646"/>
                  </a:lnTo>
                  <a:lnTo>
                    <a:pt x="495" y="653"/>
                  </a:lnTo>
                  <a:lnTo>
                    <a:pt x="515" y="662"/>
                  </a:lnTo>
                  <a:lnTo>
                    <a:pt x="538" y="674"/>
                  </a:lnTo>
                  <a:lnTo>
                    <a:pt x="561" y="686"/>
                  </a:lnTo>
                  <a:lnTo>
                    <a:pt x="581" y="698"/>
                  </a:lnTo>
                  <a:lnTo>
                    <a:pt x="597" y="708"/>
                  </a:lnTo>
                  <a:lnTo>
                    <a:pt x="607" y="716"/>
                  </a:lnTo>
                  <a:lnTo>
                    <a:pt x="657" y="716"/>
                  </a:lnTo>
                  <a:lnTo>
                    <a:pt x="693" y="716"/>
                  </a:lnTo>
                  <a:lnTo>
                    <a:pt x="722" y="716"/>
                  </a:lnTo>
                  <a:lnTo>
                    <a:pt x="751" y="716"/>
                  </a:lnTo>
                  <a:lnTo>
                    <a:pt x="746" y="674"/>
                  </a:lnTo>
                  <a:lnTo>
                    <a:pt x="754" y="654"/>
                  </a:lnTo>
                  <a:lnTo>
                    <a:pt x="762" y="638"/>
                  </a:lnTo>
                  <a:lnTo>
                    <a:pt x="766" y="630"/>
                  </a:lnTo>
                  <a:lnTo>
                    <a:pt x="767" y="622"/>
                  </a:lnTo>
                  <a:lnTo>
                    <a:pt x="770" y="613"/>
                  </a:lnTo>
                  <a:lnTo>
                    <a:pt x="770" y="602"/>
                  </a:lnTo>
                  <a:lnTo>
                    <a:pt x="770" y="585"/>
                  </a:lnTo>
                  <a:lnTo>
                    <a:pt x="770" y="571"/>
                  </a:lnTo>
                  <a:lnTo>
                    <a:pt x="754" y="573"/>
                  </a:lnTo>
                  <a:lnTo>
                    <a:pt x="739" y="573"/>
                  </a:lnTo>
                  <a:lnTo>
                    <a:pt x="726" y="571"/>
                  </a:lnTo>
                  <a:lnTo>
                    <a:pt x="715" y="569"/>
                  </a:lnTo>
                  <a:lnTo>
                    <a:pt x="710" y="567"/>
                  </a:lnTo>
                  <a:lnTo>
                    <a:pt x="705" y="565"/>
                  </a:lnTo>
                  <a:lnTo>
                    <a:pt x="701" y="561"/>
                  </a:lnTo>
                  <a:lnTo>
                    <a:pt x="698" y="557"/>
                  </a:lnTo>
                  <a:lnTo>
                    <a:pt x="695" y="551"/>
                  </a:lnTo>
                  <a:lnTo>
                    <a:pt x="693" y="546"/>
                  </a:lnTo>
                  <a:lnTo>
                    <a:pt x="691" y="538"/>
                  </a:lnTo>
                  <a:lnTo>
                    <a:pt x="691" y="530"/>
                  </a:lnTo>
                  <a:lnTo>
                    <a:pt x="679" y="533"/>
                  </a:lnTo>
                  <a:lnTo>
                    <a:pt x="667" y="534"/>
                  </a:lnTo>
                  <a:lnTo>
                    <a:pt x="654" y="533"/>
                  </a:lnTo>
                  <a:lnTo>
                    <a:pt x="638" y="530"/>
                  </a:lnTo>
                  <a:lnTo>
                    <a:pt x="642" y="513"/>
                  </a:lnTo>
                  <a:lnTo>
                    <a:pt x="649" y="497"/>
                  </a:lnTo>
                  <a:lnTo>
                    <a:pt x="658" y="481"/>
                  </a:lnTo>
                  <a:lnTo>
                    <a:pt x="667" y="466"/>
                  </a:lnTo>
                  <a:lnTo>
                    <a:pt x="691" y="439"/>
                  </a:lnTo>
                  <a:lnTo>
                    <a:pt x="717" y="414"/>
                  </a:lnTo>
                  <a:lnTo>
                    <a:pt x="729" y="401"/>
                  </a:lnTo>
                  <a:lnTo>
                    <a:pt x="741" y="387"/>
                  </a:lnTo>
                  <a:lnTo>
                    <a:pt x="753" y="373"/>
                  </a:lnTo>
                  <a:lnTo>
                    <a:pt x="762" y="358"/>
                  </a:lnTo>
                  <a:lnTo>
                    <a:pt x="770" y="343"/>
                  </a:lnTo>
                  <a:lnTo>
                    <a:pt x="777" y="326"/>
                  </a:lnTo>
                  <a:lnTo>
                    <a:pt x="779" y="318"/>
                  </a:lnTo>
                  <a:lnTo>
                    <a:pt x="781" y="309"/>
                  </a:lnTo>
                  <a:lnTo>
                    <a:pt x="782" y="299"/>
                  </a:lnTo>
                  <a:lnTo>
                    <a:pt x="782" y="289"/>
                  </a:lnTo>
                  <a:lnTo>
                    <a:pt x="781" y="259"/>
                  </a:lnTo>
                  <a:lnTo>
                    <a:pt x="778" y="226"/>
                  </a:lnTo>
                  <a:lnTo>
                    <a:pt x="775" y="209"/>
                  </a:lnTo>
                  <a:lnTo>
                    <a:pt x="771" y="193"/>
                  </a:lnTo>
                  <a:lnTo>
                    <a:pt x="769" y="177"/>
                  </a:lnTo>
                  <a:lnTo>
                    <a:pt x="763" y="162"/>
                  </a:lnTo>
                  <a:lnTo>
                    <a:pt x="755" y="157"/>
                  </a:lnTo>
                  <a:lnTo>
                    <a:pt x="749" y="150"/>
                  </a:lnTo>
                  <a:lnTo>
                    <a:pt x="742" y="143"/>
                  </a:lnTo>
                  <a:lnTo>
                    <a:pt x="737" y="135"/>
                  </a:lnTo>
                  <a:lnTo>
                    <a:pt x="731" y="129"/>
                  </a:lnTo>
                  <a:lnTo>
                    <a:pt x="725" y="122"/>
                  </a:lnTo>
                  <a:lnTo>
                    <a:pt x="718" y="118"/>
                  </a:lnTo>
                  <a:lnTo>
                    <a:pt x="710" y="114"/>
                  </a:lnTo>
                  <a:lnTo>
                    <a:pt x="691" y="109"/>
                  </a:lnTo>
                  <a:lnTo>
                    <a:pt x="674" y="107"/>
                  </a:lnTo>
                  <a:lnTo>
                    <a:pt x="658" y="106"/>
                  </a:lnTo>
                  <a:lnTo>
                    <a:pt x="642" y="106"/>
                  </a:lnTo>
                  <a:lnTo>
                    <a:pt x="626" y="106"/>
                  </a:lnTo>
                  <a:lnTo>
                    <a:pt x="611" y="103"/>
                  </a:lnTo>
                  <a:lnTo>
                    <a:pt x="605" y="102"/>
                  </a:lnTo>
                  <a:lnTo>
                    <a:pt x="597" y="99"/>
                  </a:lnTo>
                  <a:lnTo>
                    <a:pt x="590" y="95"/>
                  </a:lnTo>
                  <a:lnTo>
                    <a:pt x="583" y="90"/>
                  </a:lnTo>
                  <a:lnTo>
                    <a:pt x="571" y="78"/>
                  </a:lnTo>
                  <a:lnTo>
                    <a:pt x="557" y="64"/>
                  </a:lnTo>
                  <a:lnTo>
                    <a:pt x="541" y="49"/>
                  </a:lnTo>
                  <a:lnTo>
                    <a:pt x="522" y="34"/>
                  </a:lnTo>
                  <a:lnTo>
                    <a:pt x="513" y="26"/>
                  </a:lnTo>
                  <a:lnTo>
                    <a:pt x="503" y="21"/>
                  </a:lnTo>
                  <a:lnTo>
                    <a:pt x="493" y="14"/>
                  </a:lnTo>
                  <a:lnTo>
                    <a:pt x="482" y="10"/>
                  </a:lnTo>
                  <a:lnTo>
                    <a:pt x="471" y="6"/>
                  </a:lnTo>
                  <a:lnTo>
                    <a:pt x="461" y="2"/>
                  </a:lnTo>
                  <a:lnTo>
                    <a:pt x="450" y="1"/>
                  </a:lnTo>
                  <a:lnTo>
                    <a:pt x="438" y="0"/>
                  </a:lnTo>
                  <a:lnTo>
                    <a:pt x="435" y="0"/>
                  </a:lnTo>
                  <a:lnTo>
                    <a:pt x="433" y="1"/>
                  </a:lnTo>
                  <a:lnTo>
                    <a:pt x="430" y="2"/>
                  </a:lnTo>
                  <a:lnTo>
                    <a:pt x="426" y="6"/>
                  </a:lnTo>
                  <a:lnTo>
                    <a:pt x="425" y="25"/>
                  </a:lnTo>
                  <a:lnTo>
                    <a:pt x="422" y="40"/>
                  </a:lnTo>
                  <a:lnTo>
                    <a:pt x="417" y="53"/>
                  </a:lnTo>
                  <a:lnTo>
                    <a:pt x="411" y="66"/>
                  </a:lnTo>
                  <a:lnTo>
                    <a:pt x="406" y="78"/>
                  </a:lnTo>
                  <a:lnTo>
                    <a:pt x="401" y="93"/>
                  </a:lnTo>
                  <a:lnTo>
                    <a:pt x="398" y="107"/>
                  </a:lnTo>
                  <a:lnTo>
                    <a:pt x="397" y="126"/>
                  </a:lnTo>
                  <a:lnTo>
                    <a:pt x="397" y="138"/>
                  </a:lnTo>
                  <a:lnTo>
                    <a:pt x="398" y="149"/>
                  </a:lnTo>
                  <a:lnTo>
                    <a:pt x="399" y="158"/>
                  </a:lnTo>
                  <a:lnTo>
                    <a:pt x="401" y="166"/>
                  </a:lnTo>
                  <a:lnTo>
                    <a:pt x="406" y="179"/>
                  </a:lnTo>
                  <a:lnTo>
                    <a:pt x="414" y="193"/>
                  </a:lnTo>
                  <a:lnTo>
                    <a:pt x="409" y="198"/>
                  </a:lnTo>
                  <a:lnTo>
                    <a:pt x="403" y="202"/>
                  </a:lnTo>
                  <a:lnTo>
                    <a:pt x="395" y="205"/>
                  </a:lnTo>
                  <a:lnTo>
                    <a:pt x="387" y="207"/>
                  </a:lnTo>
                  <a:lnTo>
                    <a:pt x="370" y="211"/>
                  </a:lnTo>
                  <a:lnTo>
                    <a:pt x="350" y="213"/>
                  </a:lnTo>
                  <a:lnTo>
                    <a:pt x="311" y="211"/>
                  </a:lnTo>
                  <a:lnTo>
                    <a:pt x="282" y="210"/>
                  </a:lnTo>
                  <a:lnTo>
                    <a:pt x="279" y="221"/>
                  </a:lnTo>
                  <a:lnTo>
                    <a:pt x="277" y="231"/>
                  </a:lnTo>
                  <a:lnTo>
                    <a:pt x="274" y="239"/>
                  </a:lnTo>
                  <a:lnTo>
                    <a:pt x="270" y="246"/>
                  </a:lnTo>
                  <a:lnTo>
                    <a:pt x="266" y="251"/>
                  </a:lnTo>
                  <a:lnTo>
                    <a:pt x="261" y="255"/>
                  </a:lnTo>
                  <a:lnTo>
                    <a:pt x="254" y="258"/>
                  </a:lnTo>
                  <a:lnTo>
                    <a:pt x="246" y="258"/>
                  </a:lnTo>
                  <a:lnTo>
                    <a:pt x="241" y="258"/>
                  </a:lnTo>
                  <a:lnTo>
                    <a:pt x="235" y="257"/>
                  </a:lnTo>
                  <a:lnTo>
                    <a:pt x="231" y="255"/>
                  </a:lnTo>
                  <a:lnTo>
                    <a:pt x="227" y="253"/>
                  </a:lnTo>
                  <a:lnTo>
                    <a:pt x="221" y="246"/>
                  </a:lnTo>
                  <a:lnTo>
                    <a:pt x="215" y="239"/>
                  </a:lnTo>
                  <a:lnTo>
                    <a:pt x="209" y="223"/>
                  </a:lnTo>
                  <a:lnTo>
                    <a:pt x="203" y="210"/>
                  </a:lnTo>
                  <a:lnTo>
                    <a:pt x="189" y="213"/>
                  </a:lnTo>
                  <a:lnTo>
                    <a:pt x="177" y="215"/>
                  </a:lnTo>
                  <a:lnTo>
                    <a:pt x="171" y="215"/>
                  </a:lnTo>
                  <a:lnTo>
                    <a:pt x="165" y="215"/>
                  </a:lnTo>
                  <a:lnTo>
                    <a:pt x="158" y="214"/>
                  </a:lnTo>
                  <a:lnTo>
                    <a:pt x="150" y="210"/>
                  </a:lnTo>
                  <a:lnTo>
                    <a:pt x="154" y="201"/>
                  </a:lnTo>
                  <a:lnTo>
                    <a:pt x="161" y="193"/>
                  </a:lnTo>
                  <a:lnTo>
                    <a:pt x="166" y="186"/>
                  </a:lnTo>
                  <a:lnTo>
                    <a:pt x="171" y="181"/>
                  </a:lnTo>
                  <a:lnTo>
                    <a:pt x="177" y="174"/>
                  </a:lnTo>
                  <a:lnTo>
                    <a:pt x="182" y="169"/>
                  </a:lnTo>
                  <a:lnTo>
                    <a:pt x="185" y="161"/>
                  </a:lnTo>
                  <a:lnTo>
                    <a:pt x="186" y="150"/>
                  </a:lnTo>
                  <a:lnTo>
                    <a:pt x="185" y="145"/>
                  </a:lnTo>
                  <a:lnTo>
                    <a:pt x="183" y="141"/>
                  </a:lnTo>
                  <a:lnTo>
                    <a:pt x="182" y="137"/>
                  </a:lnTo>
                  <a:lnTo>
                    <a:pt x="179" y="133"/>
                  </a:lnTo>
                  <a:lnTo>
                    <a:pt x="173" y="127"/>
                  </a:lnTo>
                  <a:lnTo>
                    <a:pt x="165" y="123"/>
                  </a:lnTo>
                  <a:lnTo>
                    <a:pt x="155" y="122"/>
                  </a:lnTo>
                  <a:lnTo>
                    <a:pt x="145" y="121"/>
                  </a:lnTo>
                  <a:lnTo>
                    <a:pt x="136" y="121"/>
                  </a:lnTo>
                  <a:lnTo>
                    <a:pt x="125" y="121"/>
                  </a:lnTo>
                  <a:lnTo>
                    <a:pt x="106" y="121"/>
                  </a:lnTo>
                  <a:lnTo>
                    <a:pt x="90" y="125"/>
                  </a:lnTo>
                  <a:lnTo>
                    <a:pt x="84" y="127"/>
                  </a:lnTo>
                  <a:lnTo>
                    <a:pt x="77" y="130"/>
                  </a:lnTo>
                  <a:lnTo>
                    <a:pt x="72" y="134"/>
                  </a:lnTo>
                  <a:lnTo>
                    <a:pt x="66" y="139"/>
                  </a:lnTo>
                  <a:lnTo>
                    <a:pt x="61" y="145"/>
                  </a:lnTo>
                  <a:lnTo>
                    <a:pt x="58" y="150"/>
                  </a:lnTo>
                  <a:lnTo>
                    <a:pt x="54" y="157"/>
                  </a:lnTo>
                  <a:lnTo>
                    <a:pt x="52" y="163"/>
                  </a:lnTo>
                  <a:lnTo>
                    <a:pt x="50" y="171"/>
                  </a:lnTo>
                  <a:lnTo>
                    <a:pt x="49" y="179"/>
                  </a:lnTo>
                  <a:lnTo>
                    <a:pt x="48" y="189"/>
                  </a:lnTo>
                  <a:lnTo>
                    <a:pt x="48" y="198"/>
                  </a:lnTo>
                  <a:lnTo>
                    <a:pt x="48" y="215"/>
                  </a:lnTo>
                  <a:lnTo>
                    <a:pt x="49" y="233"/>
                  </a:lnTo>
                  <a:lnTo>
                    <a:pt x="50" y="247"/>
                  </a:lnTo>
                  <a:lnTo>
                    <a:pt x="52" y="262"/>
                  </a:lnTo>
                  <a:lnTo>
                    <a:pt x="56" y="274"/>
                  </a:lnTo>
                  <a:lnTo>
                    <a:pt x="58" y="286"/>
                  </a:lnTo>
                  <a:lnTo>
                    <a:pt x="64" y="297"/>
                  </a:lnTo>
                  <a:lnTo>
                    <a:pt x="69" y="307"/>
                  </a:lnTo>
                  <a:lnTo>
                    <a:pt x="74" y="315"/>
                  </a:lnTo>
                  <a:lnTo>
                    <a:pt x="81" y="322"/>
                  </a:lnTo>
                  <a:lnTo>
                    <a:pt x="89" y="329"/>
                  </a:lnTo>
                  <a:lnTo>
                    <a:pt x="98" y="334"/>
                  </a:lnTo>
                  <a:lnTo>
                    <a:pt x="108" y="338"/>
                  </a:lnTo>
                  <a:lnTo>
                    <a:pt x="118" y="341"/>
                  </a:lnTo>
                  <a:lnTo>
                    <a:pt x="130" y="342"/>
                  </a:lnTo>
                  <a:lnTo>
                    <a:pt x="144" y="343"/>
                  </a:lnTo>
                  <a:lnTo>
                    <a:pt x="155" y="345"/>
                  </a:lnTo>
                  <a:lnTo>
                    <a:pt x="167" y="347"/>
                  </a:lnTo>
                  <a:lnTo>
                    <a:pt x="177" y="350"/>
                  </a:lnTo>
                  <a:lnTo>
                    <a:pt x="186" y="355"/>
                  </a:lnTo>
                  <a:lnTo>
                    <a:pt x="197" y="359"/>
                  </a:lnTo>
                  <a:lnTo>
                    <a:pt x="207" y="363"/>
                  </a:lnTo>
                  <a:lnTo>
                    <a:pt x="219" y="366"/>
                  </a:lnTo>
                  <a:lnTo>
                    <a:pt x="234" y="367"/>
                  </a:lnTo>
                  <a:lnTo>
                    <a:pt x="251" y="366"/>
                  </a:lnTo>
                  <a:lnTo>
                    <a:pt x="269" y="365"/>
                  </a:lnTo>
                  <a:lnTo>
                    <a:pt x="285" y="362"/>
                  </a:lnTo>
                  <a:lnTo>
                    <a:pt x="299" y="359"/>
                  </a:lnTo>
                  <a:lnTo>
                    <a:pt x="313" y="355"/>
                  </a:lnTo>
                  <a:lnTo>
                    <a:pt x="325" y="351"/>
                  </a:lnTo>
                  <a:lnTo>
                    <a:pt x="334" y="347"/>
                  </a:lnTo>
                  <a:lnTo>
                    <a:pt x="342" y="343"/>
                  </a:lnTo>
                  <a:lnTo>
                    <a:pt x="373" y="343"/>
                  </a:lnTo>
                  <a:lnTo>
                    <a:pt x="370" y="355"/>
                  </a:lnTo>
                  <a:lnTo>
                    <a:pt x="362" y="377"/>
                  </a:lnTo>
                  <a:lnTo>
                    <a:pt x="350" y="405"/>
                  </a:lnTo>
                  <a:lnTo>
                    <a:pt x="337" y="434"/>
                  </a:lnTo>
                  <a:lnTo>
                    <a:pt x="322" y="463"/>
                  </a:lnTo>
                  <a:lnTo>
                    <a:pt x="309" y="487"/>
                  </a:lnTo>
                  <a:lnTo>
                    <a:pt x="302" y="498"/>
                  </a:lnTo>
                  <a:lnTo>
                    <a:pt x="297" y="505"/>
                  </a:lnTo>
                  <a:lnTo>
                    <a:pt x="291" y="510"/>
                  </a:lnTo>
                  <a:lnTo>
                    <a:pt x="287" y="511"/>
                  </a:lnTo>
                  <a:lnTo>
                    <a:pt x="281" y="511"/>
                  </a:lnTo>
                  <a:lnTo>
                    <a:pt x="274" y="509"/>
                  </a:lnTo>
                  <a:lnTo>
                    <a:pt x="267" y="506"/>
                  </a:lnTo>
                  <a:lnTo>
                    <a:pt x="261" y="502"/>
                  </a:lnTo>
                  <a:lnTo>
                    <a:pt x="254" y="499"/>
                  </a:lnTo>
                  <a:lnTo>
                    <a:pt x="247" y="497"/>
                  </a:lnTo>
                  <a:lnTo>
                    <a:pt x="241" y="494"/>
                  </a:lnTo>
                  <a:lnTo>
                    <a:pt x="234" y="494"/>
                  </a:lnTo>
                  <a:lnTo>
                    <a:pt x="229" y="494"/>
                  </a:lnTo>
                  <a:lnTo>
                    <a:pt x="222" y="497"/>
                  </a:lnTo>
                  <a:lnTo>
                    <a:pt x="215" y="499"/>
                  </a:lnTo>
                  <a:lnTo>
                    <a:pt x="207" y="503"/>
                  </a:lnTo>
                  <a:lnTo>
                    <a:pt x="190" y="513"/>
                  </a:lnTo>
                  <a:lnTo>
                    <a:pt x="173" y="525"/>
                  </a:lnTo>
                  <a:lnTo>
                    <a:pt x="155" y="538"/>
                  </a:lnTo>
                  <a:lnTo>
                    <a:pt x="142" y="550"/>
                  </a:lnTo>
                  <a:lnTo>
                    <a:pt x="132" y="559"/>
                  </a:lnTo>
                  <a:lnTo>
                    <a:pt x="125" y="566"/>
                  </a:lnTo>
                  <a:lnTo>
                    <a:pt x="117" y="577"/>
                  </a:lnTo>
                  <a:lnTo>
                    <a:pt x="112" y="586"/>
                  </a:lnTo>
                  <a:lnTo>
                    <a:pt x="106" y="595"/>
                  </a:lnTo>
                  <a:lnTo>
                    <a:pt x="104" y="605"/>
                  </a:lnTo>
                  <a:lnTo>
                    <a:pt x="100" y="621"/>
                  </a:lnTo>
                  <a:lnTo>
                    <a:pt x="98" y="635"/>
                  </a:lnTo>
                  <a:lnTo>
                    <a:pt x="97" y="651"/>
                  </a:lnTo>
                  <a:lnTo>
                    <a:pt x="93" y="668"/>
                  </a:lnTo>
                  <a:lnTo>
                    <a:pt x="90" y="678"/>
                  </a:lnTo>
                  <a:lnTo>
                    <a:pt x="85" y="687"/>
                  </a:lnTo>
                  <a:lnTo>
                    <a:pt x="80" y="698"/>
                  </a:lnTo>
                  <a:lnTo>
                    <a:pt x="72" y="710"/>
                  </a:lnTo>
                  <a:lnTo>
                    <a:pt x="48" y="738"/>
                  </a:lnTo>
                  <a:lnTo>
                    <a:pt x="24" y="763"/>
                  </a:lnTo>
                  <a:lnTo>
                    <a:pt x="14" y="775"/>
                  </a:lnTo>
                  <a:lnTo>
                    <a:pt x="6" y="790"/>
                  </a:lnTo>
                  <a:lnTo>
                    <a:pt x="4" y="798"/>
                  </a:lnTo>
                  <a:lnTo>
                    <a:pt x="1" y="806"/>
                  </a:lnTo>
                  <a:lnTo>
                    <a:pt x="0" y="815"/>
                  </a:lnTo>
                  <a:lnTo>
                    <a:pt x="0" y="824"/>
                  </a:lnTo>
                  <a:lnTo>
                    <a:pt x="0" y="834"/>
                  </a:lnTo>
                  <a:lnTo>
                    <a:pt x="2" y="840"/>
                  </a:lnTo>
                  <a:lnTo>
                    <a:pt x="6" y="847"/>
                  </a:lnTo>
                  <a:lnTo>
                    <a:pt x="10" y="852"/>
                  </a:lnTo>
                  <a:lnTo>
                    <a:pt x="16" y="855"/>
                  </a:lnTo>
                  <a:lnTo>
                    <a:pt x="22" y="859"/>
                  </a:lnTo>
                  <a:lnTo>
                    <a:pt x="29" y="860"/>
                  </a:lnTo>
                  <a:lnTo>
                    <a:pt x="36" y="860"/>
                  </a:lnTo>
                  <a:lnTo>
                    <a:pt x="45" y="860"/>
                  </a:lnTo>
                  <a:lnTo>
                    <a:pt x="54" y="860"/>
                  </a:lnTo>
                  <a:lnTo>
                    <a:pt x="65" y="860"/>
                  </a:lnTo>
                  <a:lnTo>
                    <a:pt x="77" y="860"/>
                  </a:lnTo>
                  <a:lnTo>
                    <a:pt x="86" y="862"/>
                  </a:lnTo>
                  <a:lnTo>
                    <a:pt x="100" y="866"/>
                  </a:lnTo>
                  <a:lnTo>
                    <a:pt x="114" y="871"/>
                  </a:lnTo>
                  <a:lnTo>
                    <a:pt x="129" y="878"/>
                  </a:lnTo>
                  <a:lnTo>
                    <a:pt x="137" y="883"/>
                  </a:lnTo>
                  <a:lnTo>
                    <a:pt x="144" y="887"/>
                  </a:lnTo>
                  <a:lnTo>
                    <a:pt x="150" y="892"/>
                  </a:lnTo>
                  <a:lnTo>
                    <a:pt x="155" y="899"/>
                  </a:lnTo>
                  <a:lnTo>
                    <a:pt x="161" y="906"/>
                  </a:lnTo>
                  <a:lnTo>
                    <a:pt x="165" y="912"/>
                  </a:lnTo>
                  <a:lnTo>
                    <a:pt x="166" y="919"/>
                  </a:lnTo>
                  <a:lnTo>
                    <a:pt x="167" y="927"/>
                  </a:lnTo>
                  <a:lnTo>
                    <a:pt x="161" y="936"/>
                  </a:lnTo>
                  <a:lnTo>
                    <a:pt x="145" y="952"/>
                  </a:lnTo>
                  <a:lnTo>
                    <a:pt x="128" y="968"/>
                  </a:lnTo>
                  <a:lnTo>
                    <a:pt x="113" y="982"/>
                  </a:lnTo>
                  <a:lnTo>
                    <a:pt x="113" y="1006"/>
                  </a:lnTo>
                  <a:lnTo>
                    <a:pt x="108" y="1023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accent1">
                  <a:lumMod val="20000"/>
                  <a:lumOff val="8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95" b="0" i="0" u="none" strike="noStrike" kern="1200" cap="none" spc="0" normalizeH="0" baseline="0" noProof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5" name="Freeform 51"/>
            <p:cNvSpPr>
              <a:spLocks/>
            </p:cNvSpPr>
            <p:nvPr/>
          </p:nvSpPr>
          <p:spPr bwMode="auto">
            <a:xfrm>
              <a:off x="4871882" y="2367441"/>
              <a:ext cx="73810" cy="51879"/>
            </a:xfrm>
            <a:custGeom>
              <a:avLst/>
              <a:gdLst>
                <a:gd name="T0" fmla="*/ 465 w 1024"/>
                <a:gd name="T1" fmla="*/ 681 h 722"/>
                <a:gd name="T2" fmla="*/ 534 w 1024"/>
                <a:gd name="T3" fmla="*/ 641 h 722"/>
                <a:gd name="T4" fmla="*/ 556 w 1024"/>
                <a:gd name="T5" fmla="*/ 603 h 722"/>
                <a:gd name="T6" fmla="*/ 568 w 1024"/>
                <a:gd name="T7" fmla="*/ 538 h 722"/>
                <a:gd name="T8" fmla="*/ 602 w 1024"/>
                <a:gd name="T9" fmla="*/ 513 h 722"/>
                <a:gd name="T10" fmla="*/ 612 w 1024"/>
                <a:gd name="T11" fmla="*/ 446 h 722"/>
                <a:gd name="T12" fmla="*/ 618 w 1024"/>
                <a:gd name="T13" fmla="*/ 389 h 722"/>
                <a:gd name="T14" fmla="*/ 654 w 1024"/>
                <a:gd name="T15" fmla="*/ 350 h 722"/>
                <a:gd name="T16" fmla="*/ 706 w 1024"/>
                <a:gd name="T17" fmla="*/ 331 h 722"/>
                <a:gd name="T18" fmla="*/ 758 w 1024"/>
                <a:gd name="T19" fmla="*/ 338 h 722"/>
                <a:gd name="T20" fmla="*/ 801 w 1024"/>
                <a:gd name="T21" fmla="*/ 354 h 722"/>
                <a:gd name="T22" fmla="*/ 833 w 1024"/>
                <a:gd name="T23" fmla="*/ 303 h 722"/>
                <a:gd name="T24" fmla="*/ 873 w 1024"/>
                <a:gd name="T25" fmla="*/ 276 h 722"/>
                <a:gd name="T26" fmla="*/ 913 w 1024"/>
                <a:gd name="T27" fmla="*/ 274 h 722"/>
                <a:gd name="T28" fmla="*/ 944 w 1024"/>
                <a:gd name="T29" fmla="*/ 293 h 722"/>
                <a:gd name="T30" fmla="*/ 984 w 1024"/>
                <a:gd name="T31" fmla="*/ 280 h 722"/>
                <a:gd name="T32" fmla="*/ 1024 w 1024"/>
                <a:gd name="T33" fmla="*/ 234 h 722"/>
                <a:gd name="T34" fmla="*/ 925 w 1024"/>
                <a:gd name="T35" fmla="*/ 110 h 722"/>
                <a:gd name="T36" fmla="*/ 844 w 1024"/>
                <a:gd name="T37" fmla="*/ 86 h 722"/>
                <a:gd name="T38" fmla="*/ 816 w 1024"/>
                <a:gd name="T39" fmla="*/ 66 h 722"/>
                <a:gd name="T40" fmla="*/ 802 w 1024"/>
                <a:gd name="T41" fmla="*/ 21 h 722"/>
                <a:gd name="T42" fmla="*/ 778 w 1024"/>
                <a:gd name="T43" fmla="*/ 0 h 722"/>
                <a:gd name="T44" fmla="*/ 746 w 1024"/>
                <a:gd name="T45" fmla="*/ 9 h 722"/>
                <a:gd name="T46" fmla="*/ 689 w 1024"/>
                <a:gd name="T47" fmla="*/ 54 h 722"/>
                <a:gd name="T48" fmla="*/ 609 w 1024"/>
                <a:gd name="T49" fmla="*/ 56 h 722"/>
                <a:gd name="T50" fmla="*/ 489 w 1024"/>
                <a:gd name="T51" fmla="*/ 82 h 722"/>
                <a:gd name="T52" fmla="*/ 470 w 1024"/>
                <a:gd name="T53" fmla="*/ 112 h 722"/>
                <a:gd name="T54" fmla="*/ 421 w 1024"/>
                <a:gd name="T55" fmla="*/ 125 h 722"/>
                <a:gd name="T56" fmla="*/ 400 w 1024"/>
                <a:gd name="T57" fmla="*/ 112 h 722"/>
                <a:gd name="T58" fmla="*/ 376 w 1024"/>
                <a:gd name="T59" fmla="*/ 85 h 722"/>
                <a:gd name="T60" fmla="*/ 354 w 1024"/>
                <a:gd name="T61" fmla="*/ 88 h 722"/>
                <a:gd name="T62" fmla="*/ 319 w 1024"/>
                <a:gd name="T63" fmla="*/ 124 h 722"/>
                <a:gd name="T64" fmla="*/ 293 w 1024"/>
                <a:gd name="T65" fmla="*/ 145 h 722"/>
                <a:gd name="T66" fmla="*/ 261 w 1024"/>
                <a:gd name="T67" fmla="*/ 197 h 722"/>
                <a:gd name="T68" fmla="*/ 207 w 1024"/>
                <a:gd name="T69" fmla="*/ 225 h 722"/>
                <a:gd name="T70" fmla="*/ 88 w 1024"/>
                <a:gd name="T71" fmla="*/ 250 h 722"/>
                <a:gd name="T72" fmla="*/ 19 w 1024"/>
                <a:gd name="T73" fmla="*/ 282 h 722"/>
                <a:gd name="T74" fmla="*/ 0 w 1024"/>
                <a:gd name="T75" fmla="*/ 330 h 722"/>
                <a:gd name="T76" fmla="*/ 20 w 1024"/>
                <a:gd name="T77" fmla="*/ 375 h 722"/>
                <a:gd name="T78" fmla="*/ 43 w 1024"/>
                <a:gd name="T79" fmla="*/ 417 h 722"/>
                <a:gd name="T80" fmla="*/ 31 w 1024"/>
                <a:gd name="T81" fmla="*/ 438 h 722"/>
                <a:gd name="T82" fmla="*/ 48 w 1024"/>
                <a:gd name="T83" fmla="*/ 470 h 722"/>
                <a:gd name="T84" fmla="*/ 101 w 1024"/>
                <a:gd name="T85" fmla="*/ 490 h 722"/>
                <a:gd name="T86" fmla="*/ 152 w 1024"/>
                <a:gd name="T87" fmla="*/ 503 h 722"/>
                <a:gd name="T88" fmla="*/ 173 w 1024"/>
                <a:gd name="T89" fmla="*/ 551 h 722"/>
                <a:gd name="T90" fmla="*/ 183 w 1024"/>
                <a:gd name="T91" fmla="*/ 653 h 722"/>
                <a:gd name="T92" fmla="*/ 211 w 1024"/>
                <a:gd name="T93" fmla="*/ 706 h 722"/>
                <a:gd name="T94" fmla="*/ 240 w 1024"/>
                <a:gd name="T95" fmla="*/ 721 h 722"/>
                <a:gd name="T96" fmla="*/ 281 w 1024"/>
                <a:gd name="T97" fmla="*/ 711 h 722"/>
                <a:gd name="T98" fmla="*/ 372 w 1024"/>
                <a:gd name="T99" fmla="*/ 662 h 722"/>
                <a:gd name="T100" fmla="*/ 410 w 1024"/>
                <a:gd name="T101" fmla="*/ 669 h 722"/>
                <a:gd name="T102" fmla="*/ 452 w 1024"/>
                <a:gd name="T103" fmla="*/ 703 h 72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024"/>
                <a:gd name="T157" fmla="*/ 0 h 722"/>
                <a:gd name="T158" fmla="*/ 1024 w 1024"/>
                <a:gd name="T159" fmla="*/ 722 h 72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024" h="722">
                  <a:moveTo>
                    <a:pt x="452" y="703"/>
                  </a:moveTo>
                  <a:lnTo>
                    <a:pt x="453" y="697"/>
                  </a:lnTo>
                  <a:lnTo>
                    <a:pt x="456" y="691"/>
                  </a:lnTo>
                  <a:lnTo>
                    <a:pt x="460" y="686"/>
                  </a:lnTo>
                  <a:lnTo>
                    <a:pt x="465" y="681"/>
                  </a:lnTo>
                  <a:lnTo>
                    <a:pt x="478" y="671"/>
                  </a:lnTo>
                  <a:lnTo>
                    <a:pt x="496" y="662"/>
                  </a:lnTo>
                  <a:lnTo>
                    <a:pt x="512" y="654"/>
                  </a:lnTo>
                  <a:lnTo>
                    <a:pt x="528" y="645"/>
                  </a:lnTo>
                  <a:lnTo>
                    <a:pt x="534" y="641"/>
                  </a:lnTo>
                  <a:lnTo>
                    <a:pt x="540" y="635"/>
                  </a:lnTo>
                  <a:lnTo>
                    <a:pt x="545" y="631"/>
                  </a:lnTo>
                  <a:lnTo>
                    <a:pt x="548" y="625"/>
                  </a:lnTo>
                  <a:lnTo>
                    <a:pt x="553" y="614"/>
                  </a:lnTo>
                  <a:lnTo>
                    <a:pt x="556" y="603"/>
                  </a:lnTo>
                  <a:lnTo>
                    <a:pt x="558" y="593"/>
                  </a:lnTo>
                  <a:lnTo>
                    <a:pt x="560" y="582"/>
                  </a:lnTo>
                  <a:lnTo>
                    <a:pt x="562" y="562"/>
                  </a:lnTo>
                  <a:lnTo>
                    <a:pt x="565" y="546"/>
                  </a:lnTo>
                  <a:lnTo>
                    <a:pt x="568" y="538"/>
                  </a:lnTo>
                  <a:lnTo>
                    <a:pt x="572" y="531"/>
                  </a:lnTo>
                  <a:lnTo>
                    <a:pt x="576" y="525"/>
                  </a:lnTo>
                  <a:lnTo>
                    <a:pt x="582" y="521"/>
                  </a:lnTo>
                  <a:lnTo>
                    <a:pt x="592" y="517"/>
                  </a:lnTo>
                  <a:lnTo>
                    <a:pt x="602" y="513"/>
                  </a:lnTo>
                  <a:lnTo>
                    <a:pt x="616" y="511"/>
                  </a:lnTo>
                  <a:lnTo>
                    <a:pt x="632" y="511"/>
                  </a:lnTo>
                  <a:lnTo>
                    <a:pt x="629" y="497"/>
                  </a:lnTo>
                  <a:lnTo>
                    <a:pt x="620" y="471"/>
                  </a:lnTo>
                  <a:lnTo>
                    <a:pt x="612" y="446"/>
                  </a:lnTo>
                  <a:lnTo>
                    <a:pt x="608" y="433"/>
                  </a:lnTo>
                  <a:lnTo>
                    <a:pt x="609" y="421"/>
                  </a:lnTo>
                  <a:lnTo>
                    <a:pt x="610" y="409"/>
                  </a:lnTo>
                  <a:lnTo>
                    <a:pt x="614" y="398"/>
                  </a:lnTo>
                  <a:lnTo>
                    <a:pt x="618" y="389"/>
                  </a:lnTo>
                  <a:lnTo>
                    <a:pt x="624" y="379"/>
                  </a:lnTo>
                  <a:lnTo>
                    <a:pt x="630" y="371"/>
                  </a:lnTo>
                  <a:lnTo>
                    <a:pt x="637" y="363"/>
                  </a:lnTo>
                  <a:lnTo>
                    <a:pt x="646" y="357"/>
                  </a:lnTo>
                  <a:lnTo>
                    <a:pt x="654" y="350"/>
                  </a:lnTo>
                  <a:lnTo>
                    <a:pt x="664" y="345"/>
                  </a:lnTo>
                  <a:lnTo>
                    <a:pt x="674" y="341"/>
                  </a:lnTo>
                  <a:lnTo>
                    <a:pt x="684" y="337"/>
                  </a:lnTo>
                  <a:lnTo>
                    <a:pt x="696" y="334"/>
                  </a:lnTo>
                  <a:lnTo>
                    <a:pt x="706" y="331"/>
                  </a:lnTo>
                  <a:lnTo>
                    <a:pt x="717" y="330"/>
                  </a:lnTo>
                  <a:lnTo>
                    <a:pt x="729" y="330"/>
                  </a:lnTo>
                  <a:lnTo>
                    <a:pt x="740" y="331"/>
                  </a:lnTo>
                  <a:lnTo>
                    <a:pt x="749" y="334"/>
                  </a:lnTo>
                  <a:lnTo>
                    <a:pt x="758" y="338"/>
                  </a:lnTo>
                  <a:lnTo>
                    <a:pt x="766" y="343"/>
                  </a:lnTo>
                  <a:lnTo>
                    <a:pt x="784" y="355"/>
                  </a:lnTo>
                  <a:lnTo>
                    <a:pt x="801" y="366"/>
                  </a:lnTo>
                  <a:lnTo>
                    <a:pt x="801" y="361"/>
                  </a:lnTo>
                  <a:lnTo>
                    <a:pt x="801" y="354"/>
                  </a:lnTo>
                  <a:lnTo>
                    <a:pt x="804" y="347"/>
                  </a:lnTo>
                  <a:lnTo>
                    <a:pt x="806" y="341"/>
                  </a:lnTo>
                  <a:lnTo>
                    <a:pt x="810" y="334"/>
                  </a:lnTo>
                  <a:lnTo>
                    <a:pt x="820" y="318"/>
                  </a:lnTo>
                  <a:lnTo>
                    <a:pt x="833" y="303"/>
                  </a:lnTo>
                  <a:lnTo>
                    <a:pt x="841" y="297"/>
                  </a:lnTo>
                  <a:lnTo>
                    <a:pt x="848" y="290"/>
                  </a:lnTo>
                  <a:lnTo>
                    <a:pt x="856" y="285"/>
                  </a:lnTo>
                  <a:lnTo>
                    <a:pt x="865" y="280"/>
                  </a:lnTo>
                  <a:lnTo>
                    <a:pt x="873" y="276"/>
                  </a:lnTo>
                  <a:lnTo>
                    <a:pt x="881" y="273"/>
                  </a:lnTo>
                  <a:lnTo>
                    <a:pt x="889" y="270"/>
                  </a:lnTo>
                  <a:lnTo>
                    <a:pt x="897" y="270"/>
                  </a:lnTo>
                  <a:lnTo>
                    <a:pt x="905" y="272"/>
                  </a:lnTo>
                  <a:lnTo>
                    <a:pt x="913" y="274"/>
                  </a:lnTo>
                  <a:lnTo>
                    <a:pt x="918" y="278"/>
                  </a:lnTo>
                  <a:lnTo>
                    <a:pt x="924" y="282"/>
                  </a:lnTo>
                  <a:lnTo>
                    <a:pt x="930" y="286"/>
                  </a:lnTo>
                  <a:lnTo>
                    <a:pt x="936" y="290"/>
                  </a:lnTo>
                  <a:lnTo>
                    <a:pt x="944" y="293"/>
                  </a:lnTo>
                  <a:lnTo>
                    <a:pt x="952" y="294"/>
                  </a:lnTo>
                  <a:lnTo>
                    <a:pt x="960" y="293"/>
                  </a:lnTo>
                  <a:lnTo>
                    <a:pt x="968" y="289"/>
                  </a:lnTo>
                  <a:lnTo>
                    <a:pt x="976" y="285"/>
                  </a:lnTo>
                  <a:lnTo>
                    <a:pt x="984" y="280"/>
                  </a:lnTo>
                  <a:lnTo>
                    <a:pt x="992" y="273"/>
                  </a:lnTo>
                  <a:lnTo>
                    <a:pt x="1001" y="269"/>
                  </a:lnTo>
                  <a:lnTo>
                    <a:pt x="1012" y="265"/>
                  </a:lnTo>
                  <a:lnTo>
                    <a:pt x="1024" y="264"/>
                  </a:lnTo>
                  <a:lnTo>
                    <a:pt x="1024" y="234"/>
                  </a:lnTo>
                  <a:lnTo>
                    <a:pt x="1000" y="208"/>
                  </a:lnTo>
                  <a:lnTo>
                    <a:pt x="966" y="165"/>
                  </a:lnTo>
                  <a:lnTo>
                    <a:pt x="949" y="144"/>
                  </a:lnTo>
                  <a:lnTo>
                    <a:pt x="934" y="125"/>
                  </a:lnTo>
                  <a:lnTo>
                    <a:pt x="925" y="110"/>
                  </a:lnTo>
                  <a:lnTo>
                    <a:pt x="921" y="101"/>
                  </a:lnTo>
                  <a:lnTo>
                    <a:pt x="898" y="100"/>
                  </a:lnTo>
                  <a:lnTo>
                    <a:pt x="870" y="94"/>
                  </a:lnTo>
                  <a:lnTo>
                    <a:pt x="857" y="90"/>
                  </a:lnTo>
                  <a:lnTo>
                    <a:pt x="844" y="86"/>
                  </a:lnTo>
                  <a:lnTo>
                    <a:pt x="833" y="82"/>
                  </a:lnTo>
                  <a:lnTo>
                    <a:pt x="825" y="77"/>
                  </a:lnTo>
                  <a:lnTo>
                    <a:pt x="821" y="74"/>
                  </a:lnTo>
                  <a:lnTo>
                    <a:pt x="817" y="70"/>
                  </a:lnTo>
                  <a:lnTo>
                    <a:pt x="816" y="66"/>
                  </a:lnTo>
                  <a:lnTo>
                    <a:pt x="813" y="60"/>
                  </a:lnTo>
                  <a:lnTo>
                    <a:pt x="810" y="48"/>
                  </a:lnTo>
                  <a:lnTo>
                    <a:pt x="806" y="34"/>
                  </a:lnTo>
                  <a:lnTo>
                    <a:pt x="805" y="28"/>
                  </a:lnTo>
                  <a:lnTo>
                    <a:pt x="802" y="21"/>
                  </a:lnTo>
                  <a:lnTo>
                    <a:pt x="800" y="14"/>
                  </a:lnTo>
                  <a:lnTo>
                    <a:pt x="796" y="9"/>
                  </a:lnTo>
                  <a:lnTo>
                    <a:pt x="792" y="5"/>
                  </a:lnTo>
                  <a:lnTo>
                    <a:pt x="786" y="2"/>
                  </a:lnTo>
                  <a:lnTo>
                    <a:pt x="778" y="0"/>
                  </a:lnTo>
                  <a:lnTo>
                    <a:pt x="770" y="0"/>
                  </a:lnTo>
                  <a:lnTo>
                    <a:pt x="764" y="0"/>
                  </a:lnTo>
                  <a:lnTo>
                    <a:pt x="758" y="1"/>
                  </a:lnTo>
                  <a:lnTo>
                    <a:pt x="752" y="5"/>
                  </a:lnTo>
                  <a:lnTo>
                    <a:pt x="746" y="9"/>
                  </a:lnTo>
                  <a:lnTo>
                    <a:pt x="734" y="18"/>
                  </a:lnTo>
                  <a:lnTo>
                    <a:pt x="724" y="29"/>
                  </a:lnTo>
                  <a:lnTo>
                    <a:pt x="710" y="40"/>
                  </a:lnTo>
                  <a:lnTo>
                    <a:pt x="697" y="50"/>
                  </a:lnTo>
                  <a:lnTo>
                    <a:pt x="689" y="54"/>
                  </a:lnTo>
                  <a:lnTo>
                    <a:pt x="681" y="57"/>
                  </a:lnTo>
                  <a:lnTo>
                    <a:pt x="672" y="58"/>
                  </a:lnTo>
                  <a:lnTo>
                    <a:pt x="662" y="60"/>
                  </a:lnTo>
                  <a:lnTo>
                    <a:pt x="637" y="58"/>
                  </a:lnTo>
                  <a:lnTo>
                    <a:pt x="609" y="56"/>
                  </a:lnTo>
                  <a:lnTo>
                    <a:pt x="582" y="52"/>
                  </a:lnTo>
                  <a:lnTo>
                    <a:pt x="560" y="48"/>
                  </a:lnTo>
                  <a:lnTo>
                    <a:pt x="493" y="48"/>
                  </a:lnTo>
                  <a:lnTo>
                    <a:pt x="493" y="66"/>
                  </a:lnTo>
                  <a:lnTo>
                    <a:pt x="489" y="82"/>
                  </a:lnTo>
                  <a:lnTo>
                    <a:pt x="486" y="89"/>
                  </a:lnTo>
                  <a:lnTo>
                    <a:pt x="484" y="96"/>
                  </a:lnTo>
                  <a:lnTo>
                    <a:pt x="480" y="101"/>
                  </a:lnTo>
                  <a:lnTo>
                    <a:pt x="476" y="106"/>
                  </a:lnTo>
                  <a:lnTo>
                    <a:pt x="470" y="112"/>
                  </a:lnTo>
                  <a:lnTo>
                    <a:pt x="465" y="116"/>
                  </a:lnTo>
                  <a:lnTo>
                    <a:pt x="460" y="118"/>
                  </a:lnTo>
                  <a:lnTo>
                    <a:pt x="453" y="121"/>
                  </a:lnTo>
                  <a:lnTo>
                    <a:pt x="438" y="125"/>
                  </a:lnTo>
                  <a:lnTo>
                    <a:pt x="421" y="125"/>
                  </a:lnTo>
                  <a:lnTo>
                    <a:pt x="417" y="125"/>
                  </a:lnTo>
                  <a:lnTo>
                    <a:pt x="413" y="124"/>
                  </a:lnTo>
                  <a:lnTo>
                    <a:pt x="409" y="122"/>
                  </a:lnTo>
                  <a:lnTo>
                    <a:pt x="406" y="118"/>
                  </a:lnTo>
                  <a:lnTo>
                    <a:pt x="400" y="112"/>
                  </a:lnTo>
                  <a:lnTo>
                    <a:pt x="394" y="105"/>
                  </a:lnTo>
                  <a:lnTo>
                    <a:pt x="389" y="97"/>
                  </a:lnTo>
                  <a:lnTo>
                    <a:pt x="382" y="90"/>
                  </a:lnTo>
                  <a:lnTo>
                    <a:pt x="378" y="88"/>
                  </a:lnTo>
                  <a:lnTo>
                    <a:pt x="376" y="85"/>
                  </a:lnTo>
                  <a:lnTo>
                    <a:pt x="372" y="84"/>
                  </a:lnTo>
                  <a:lnTo>
                    <a:pt x="368" y="84"/>
                  </a:lnTo>
                  <a:lnTo>
                    <a:pt x="362" y="84"/>
                  </a:lnTo>
                  <a:lnTo>
                    <a:pt x="358" y="85"/>
                  </a:lnTo>
                  <a:lnTo>
                    <a:pt x="354" y="88"/>
                  </a:lnTo>
                  <a:lnTo>
                    <a:pt x="350" y="90"/>
                  </a:lnTo>
                  <a:lnTo>
                    <a:pt x="344" y="98"/>
                  </a:lnTo>
                  <a:lnTo>
                    <a:pt x="336" y="108"/>
                  </a:lnTo>
                  <a:lnTo>
                    <a:pt x="328" y="117"/>
                  </a:lnTo>
                  <a:lnTo>
                    <a:pt x="319" y="124"/>
                  </a:lnTo>
                  <a:lnTo>
                    <a:pt x="313" y="128"/>
                  </a:lnTo>
                  <a:lnTo>
                    <a:pt x="308" y="129"/>
                  </a:lnTo>
                  <a:lnTo>
                    <a:pt x="301" y="132"/>
                  </a:lnTo>
                  <a:lnTo>
                    <a:pt x="295" y="132"/>
                  </a:lnTo>
                  <a:lnTo>
                    <a:pt x="293" y="145"/>
                  </a:lnTo>
                  <a:lnTo>
                    <a:pt x="289" y="158"/>
                  </a:lnTo>
                  <a:lnTo>
                    <a:pt x="284" y="169"/>
                  </a:lnTo>
                  <a:lnTo>
                    <a:pt x="277" y="180"/>
                  </a:lnTo>
                  <a:lnTo>
                    <a:pt x="269" y="189"/>
                  </a:lnTo>
                  <a:lnTo>
                    <a:pt x="261" y="197"/>
                  </a:lnTo>
                  <a:lnTo>
                    <a:pt x="252" y="204"/>
                  </a:lnTo>
                  <a:lnTo>
                    <a:pt x="241" y="210"/>
                  </a:lnTo>
                  <a:lnTo>
                    <a:pt x="231" y="216"/>
                  </a:lnTo>
                  <a:lnTo>
                    <a:pt x="219" y="221"/>
                  </a:lnTo>
                  <a:lnTo>
                    <a:pt x="207" y="225"/>
                  </a:lnTo>
                  <a:lnTo>
                    <a:pt x="193" y="229"/>
                  </a:lnTo>
                  <a:lnTo>
                    <a:pt x="168" y="234"/>
                  </a:lnTo>
                  <a:lnTo>
                    <a:pt x="141" y="240"/>
                  </a:lnTo>
                  <a:lnTo>
                    <a:pt x="115" y="245"/>
                  </a:lnTo>
                  <a:lnTo>
                    <a:pt x="88" y="250"/>
                  </a:lnTo>
                  <a:lnTo>
                    <a:pt x="65" y="257"/>
                  </a:lnTo>
                  <a:lnTo>
                    <a:pt x="44" y="265"/>
                  </a:lnTo>
                  <a:lnTo>
                    <a:pt x="35" y="270"/>
                  </a:lnTo>
                  <a:lnTo>
                    <a:pt x="25" y="276"/>
                  </a:lnTo>
                  <a:lnTo>
                    <a:pt x="19" y="282"/>
                  </a:lnTo>
                  <a:lnTo>
                    <a:pt x="12" y="290"/>
                  </a:lnTo>
                  <a:lnTo>
                    <a:pt x="7" y="298"/>
                  </a:lnTo>
                  <a:lnTo>
                    <a:pt x="3" y="307"/>
                  </a:lnTo>
                  <a:lnTo>
                    <a:pt x="1" y="318"/>
                  </a:lnTo>
                  <a:lnTo>
                    <a:pt x="0" y="330"/>
                  </a:lnTo>
                  <a:lnTo>
                    <a:pt x="1" y="345"/>
                  </a:lnTo>
                  <a:lnTo>
                    <a:pt x="3" y="355"/>
                  </a:lnTo>
                  <a:lnTo>
                    <a:pt x="7" y="365"/>
                  </a:lnTo>
                  <a:lnTo>
                    <a:pt x="13" y="371"/>
                  </a:lnTo>
                  <a:lnTo>
                    <a:pt x="20" y="375"/>
                  </a:lnTo>
                  <a:lnTo>
                    <a:pt x="28" y="379"/>
                  </a:lnTo>
                  <a:lnTo>
                    <a:pt x="37" y="382"/>
                  </a:lnTo>
                  <a:lnTo>
                    <a:pt x="48" y="385"/>
                  </a:lnTo>
                  <a:lnTo>
                    <a:pt x="48" y="409"/>
                  </a:lnTo>
                  <a:lnTo>
                    <a:pt x="43" y="417"/>
                  </a:lnTo>
                  <a:lnTo>
                    <a:pt x="37" y="423"/>
                  </a:lnTo>
                  <a:lnTo>
                    <a:pt x="35" y="427"/>
                  </a:lnTo>
                  <a:lnTo>
                    <a:pt x="32" y="430"/>
                  </a:lnTo>
                  <a:lnTo>
                    <a:pt x="31" y="434"/>
                  </a:lnTo>
                  <a:lnTo>
                    <a:pt x="31" y="438"/>
                  </a:lnTo>
                  <a:lnTo>
                    <a:pt x="31" y="446"/>
                  </a:lnTo>
                  <a:lnTo>
                    <a:pt x="33" y="453"/>
                  </a:lnTo>
                  <a:lnTo>
                    <a:pt x="37" y="459"/>
                  </a:lnTo>
                  <a:lnTo>
                    <a:pt x="41" y="465"/>
                  </a:lnTo>
                  <a:lnTo>
                    <a:pt x="48" y="470"/>
                  </a:lnTo>
                  <a:lnTo>
                    <a:pt x="55" y="474"/>
                  </a:lnTo>
                  <a:lnTo>
                    <a:pt x="61" y="478"/>
                  </a:lnTo>
                  <a:lnTo>
                    <a:pt x="69" y="482"/>
                  </a:lnTo>
                  <a:lnTo>
                    <a:pt x="85" y="487"/>
                  </a:lnTo>
                  <a:lnTo>
                    <a:pt x="101" y="490"/>
                  </a:lnTo>
                  <a:lnTo>
                    <a:pt x="116" y="493"/>
                  </a:lnTo>
                  <a:lnTo>
                    <a:pt x="127" y="493"/>
                  </a:lnTo>
                  <a:lnTo>
                    <a:pt x="136" y="494"/>
                  </a:lnTo>
                  <a:lnTo>
                    <a:pt x="144" y="498"/>
                  </a:lnTo>
                  <a:lnTo>
                    <a:pt x="152" y="503"/>
                  </a:lnTo>
                  <a:lnTo>
                    <a:pt x="157" y="510"/>
                  </a:lnTo>
                  <a:lnTo>
                    <a:pt x="163" y="519"/>
                  </a:lnTo>
                  <a:lnTo>
                    <a:pt x="168" y="529"/>
                  </a:lnTo>
                  <a:lnTo>
                    <a:pt x="171" y="539"/>
                  </a:lnTo>
                  <a:lnTo>
                    <a:pt x="173" y="551"/>
                  </a:lnTo>
                  <a:lnTo>
                    <a:pt x="177" y="575"/>
                  </a:lnTo>
                  <a:lnTo>
                    <a:pt x="180" y="599"/>
                  </a:lnTo>
                  <a:lnTo>
                    <a:pt x="180" y="621"/>
                  </a:lnTo>
                  <a:lnTo>
                    <a:pt x="181" y="637"/>
                  </a:lnTo>
                  <a:lnTo>
                    <a:pt x="183" y="653"/>
                  </a:lnTo>
                  <a:lnTo>
                    <a:pt x="185" y="669"/>
                  </a:lnTo>
                  <a:lnTo>
                    <a:pt x="192" y="682"/>
                  </a:lnTo>
                  <a:lnTo>
                    <a:pt x="200" y="695"/>
                  </a:lnTo>
                  <a:lnTo>
                    <a:pt x="205" y="701"/>
                  </a:lnTo>
                  <a:lnTo>
                    <a:pt x="211" y="706"/>
                  </a:lnTo>
                  <a:lnTo>
                    <a:pt x="216" y="710"/>
                  </a:lnTo>
                  <a:lnTo>
                    <a:pt x="221" y="714"/>
                  </a:lnTo>
                  <a:lnTo>
                    <a:pt x="228" y="718"/>
                  </a:lnTo>
                  <a:lnTo>
                    <a:pt x="233" y="719"/>
                  </a:lnTo>
                  <a:lnTo>
                    <a:pt x="240" y="721"/>
                  </a:lnTo>
                  <a:lnTo>
                    <a:pt x="247" y="722"/>
                  </a:lnTo>
                  <a:lnTo>
                    <a:pt x="255" y="721"/>
                  </a:lnTo>
                  <a:lnTo>
                    <a:pt x="264" y="719"/>
                  </a:lnTo>
                  <a:lnTo>
                    <a:pt x="272" y="715"/>
                  </a:lnTo>
                  <a:lnTo>
                    <a:pt x="281" y="711"/>
                  </a:lnTo>
                  <a:lnTo>
                    <a:pt x="301" y="701"/>
                  </a:lnTo>
                  <a:lnTo>
                    <a:pt x="321" y="689"/>
                  </a:lnTo>
                  <a:lnTo>
                    <a:pt x="341" y="677"/>
                  </a:lnTo>
                  <a:lnTo>
                    <a:pt x="362" y="666"/>
                  </a:lnTo>
                  <a:lnTo>
                    <a:pt x="372" y="662"/>
                  </a:lnTo>
                  <a:lnTo>
                    <a:pt x="382" y="658"/>
                  </a:lnTo>
                  <a:lnTo>
                    <a:pt x="393" y="657"/>
                  </a:lnTo>
                  <a:lnTo>
                    <a:pt x="404" y="655"/>
                  </a:lnTo>
                  <a:lnTo>
                    <a:pt x="405" y="661"/>
                  </a:lnTo>
                  <a:lnTo>
                    <a:pt x="410" y="669"/>
                  </a:lnTo>
                  <a:lnTo>
                    <a:pt x="418" y="678"/>
                  </a:lnTo>
                  <a:lnTo>
                    <a:pt x="428" y="687"/>
                  </a:lnTo>
                  <a:lnTo>
                    <a:pt x="444" y="703"/>
                  </a:lnTo>
                  <a:lnTo>
                    <a:pt x="452" y="710"/>
                  </a:lnTo>
                  <a:lnTo>
                    <a:pt x="452" y="703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accent1">
                  <a:lumMod val="20000"/>
                  <a:lumOff val="8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95" b="0" i="0" u="none" strike="noStrike" kern="1200" cap="none" spc="0" normalizeH="0" baseline="0" noProof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6" name="Freeform 53"/>
            <p:cNvSpPr>
              <a:spLocks/>
            </p:cNvSpPr>
            <p:nvPr/>
          </p:nvSpPr>
          <p:spPr bwMode="auto">
            <a:xfrm>
              <a:off x="4864100" y="2316976"/>
              <a:ext cx="40324" cy="36551"/>
            </a:xfrm>
            <a:custGeom>
              <a:avLst/>
              <a:gdLst>
                <a:gd name="T0" fmla="*/ 311 w 560"/>
                <a:gd name="T1" fmla="*/ 452 h 506"/>
                <a:gd name="T2" fmla="*/ 337 w 560"/>
                <a:gd name="T3" fmla="*/ 433 h 506"/>
                <a:gd name="T4" fmla="*/ 375 w 560"/>
                <a:gd name="T5" fmla="*/ 421 h 506"/>
                <a:gd name="T6" fmla="*/ 397 w 560"/>
                <a:gd name="T7" fmla="*/ 404 h 506"/>
                <a:gd name="T8" fmla="*/ 409 w 560"/>
                <a:gd name="T9" fmla="*/ 368 h 506"/>
                <a:gd name="T10" fmla="*/ 448 w 560"/>
                <a:gd name="T11" fmla="*/ 364 h 506"/>
                <a:gd name="T12" fmla="*/ 484 w 560"/>
                <a:gd name="T13" fmla="*/ 353 h 506"/>
                <a:gd name="T14" fmla="*/ 514 w 560"/>
                <a:gd name="T15" fmla="*/ 336 h 506"/>
                <a:gd name="T16" fmla="*/ 538 w 560"/>
                <a:gd name="T17" fmla="*/ 312 h 506"/>
                <a:gd name="T18" fmla="*/ 556 w 560"/>
                <a:gd name="T19" fmla="*/ 283 h 506"/>
                <a:gd name="T20" fmla="*/ 541 w 560"/>
                <a:gd name="T21" fmla="*/ 269 h 506"/>
                <a:gd name="T22" fmla="*/ 520 w 560"/>
                <a:gd name="T23" fmla="*/ 256 h 506"/>
                <a:gd name="T24" fmla="*/ 504 w 560"/>
                <a:gd name="T25" fmla="*/ 236 h 506"/>
                <a:gd name="T26" fmla="*/ 484 w 560"/>
                <a:gd name="T27" fmla="*/ 179 h 506"/>
                <a:gd name="T28" fmla="*/ 469 w 560"/>
                <a:gd name="T29" fmla="*/ 115 h 506"/>
                <a:gd name="T30" fmla="*/ 450 w 560"/>
                <a:gd name="T31" fmla="*/ 71 h 506"/>
                <a:gd name="T32" fmla="*/ 435 w 560"/>
                <a:gd name="T33" fmla="*/ 52 h 506"/>
                <a:gd name="T34" fmla="*/ 412 w 560"/>
                <a:gd name="T35" fmla="*/ 44 h 506"/>
                <a:gd name="T36" fmla="*/ 395 w 560"/>
                <a:gd name="T37" fmla="*/ 47 h 506"/>
                <a:gd name="T38" fmla="*/ 384 w 560"/>
                <a:gd name="T39" fmla="*/ 63 h 506"/>
                <a:gd name="T40" fmla="*/ 363 w 560"/>
                <a:gd name="T41" fmla="*/ 64 h 506"/>
                <a:gd name="T42" fmla="*/ 339 w 560"/>
                <a:gd name="T43" fmla="*/ 45 h 506"/>
                <a:gd name="T44" fmla="*/ 307 w 560"/>
                <a:gd name="T45" fmla="*/ 11 h 506"/>
                <a:gd name="T46" fmla="*/ 285 w 560"/>
                <a:gd name="T47" fmla="*/ 1 h 506"/>
                <a:gd name="T48" fmla="*/ 251 w 560"/>
                <a:gd name="T49" fmla="*/ 5 h 506"/>
                <a:gd name="T50" fmla="*/ 237 w 560"/>
                <a:gd name="T51" fmla="*/ 4 h 506"/>
                <a:gd name="T52" fmla="*/ 217 w 560"/>
                <a:gd name="T53" fmla="*/ 15 h 506"/>
                <a:gd name="T54" fmla="*/ 191 w 560"/>
                <a:gd name="T55" fmla="*/ 19 h 506"/>
                <a:gd name="T56" fmla="*/ 156 w 560"/>
                <a:gd name="T57" fmla="*/ 19 h 506"/>
                <a:gd name="T58" fmla="*/ 151 w 560"/>
                <a:gd name="T59" fmla="*/ 56 h 506"/>
                <a:gd name="T60" fmla="*/ 137 w 560"/>
                <a:gd name="T61" fmla="*/ 80 h 506"/>
                <a:gd name="T62" fmla="*/ 115 w 560"/>
                <a:gd name="T63" fmla="*/ 101 h 506"/>
                <a:gd name="T64" fmla="*/ 99 w 560"/>
                <a:gd name="T65" fmla="*/ 125 h 506"/>
                <a:gd name="T66" fmla="*/ 97 w 560"/>
                <a:gd name="T67" fmla="*/ 156 h 506"/>
                <a:gd name="T68" fmla="*/ 108 w 560"/>
                <a:gd name="T69" fmla="*/ 177 h 506"/>
                <a:gd name="T70" fmla="*/ 129 w 560"/>
                <a:gd name="T71" fmla="*/ 187 h 506"/>
                <a:gd name="T72" fmla="*/ 139 w 560"/>
                <a:gd name="T73" fmla="*/ 217 h 506"/>
                <a:gd name="T74" fmla="*/ 135 w 560"/>
                <a:gd name="T75" fmla="*/ 239 h 506"/>
                <a:gd name="T76" fmla="*/ 116 w 560"/>
                <a:gd name="T77" fmla="*/ 268 h 506"/>
                <a:gd name="T78" fmla="*/ 81 w 560"/>
                <a:gd name="T79" fmla="*/ 296 h 506"/>
                <a:gd name="T80" fmla="*/ 44 w 560"/>
                <a:gd name="T81" fmla="*/ 324 h 506"/>
                <a:gd name="T82" fmla="*/ 12 w 560"/>
                <a:gd name="T83" fmla="*/ 360 h 506"/>
                <a:gd name="T84" fmla="*/ 1 w 560"/>
                <a:gd name="T85" fmla="*/ 391 h 506"/>
                <a:gd name="T86" fmla="*/ 1 w 560"/>
                <a:gd name="T87" fmla="*/ 425 h 506"/>
                <a:gd name="T88" fmla="*/ 19 w 560"/>
                <a:gd name="T89" fmla="*/ 472 h 506"/>
                <a:gd name="T90" fmla="*/ 35 w 560"/>
                <a:gd name="T91" fmla="*/ 492 h 506"/>
                <a:gd name="T92" fmla="*/ 52 w 560"/>
                <a:gd name="T93" fmla="*/ 504 h 506"/>
                <a:gd name="T94" fmla="*/ 75 w 560"/>
                <a:gd name="T95" fmla="*/ 506 h 506"/>
                <a:gd name="T96" fmla="*/ 96 w 560"/>
                <a:gd name="T97" fmla="*/ 498 h 506"/>
                <a:gd name="T98" fmla="*/ 129 w 560"/>
                <a:gd name="T99" fmla="*/ 469 h 506"/>
                <a:gd name="T100" fmla="*/ 153 w 560"/>
                <a:gd name="T101" fmla="*/ 454 h 506"/>
                <a:gd name="T102" fmla="*/ 185 w 560"/>
                <a:gd name="T103" fmla="*/ 453 h 506"/>
                <a:gd name="T104" fmla="*/ 235 w 560"/>
                <a:gd name="T105" fmla="*/ 461 h 506"/>
                <a:gd name="T106" fmla="*/ 283 w 560"/>
                <a:gd name="T107" fmla="*/ 469 h 50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560"/>
                <a:gd name="T163" fmla="*/ 0 h 506"/>
                <a:gd name="T164" fmla="*/ 560 w 560"/>
                <a:gd name="T165" fmla="*/ 506 h 50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560" h="506">
                  <a:moveTo>
                    <a:pt x="307" y="470"/>
                  </a:moveTo>
                  <a:lnTo>
                    <a:pt x="308" y="460"/>
                  </a:lnTo>
                  <a:lnTo>
                    <a:pt x="311" y="452"/>
                  </a:lnTo>
                  <a:lnTo>
                    <a:pt x="316" y="445"/>
                  </a:lnTo>
                  <a:lnTo>
                    <a:pt x="321" y="441"/>
                  </a:lnTo>
                  <a:lnTo>
                    <a:pt x="337" y="433"/>
                  </a:lnTo>
                  <a:lnTo>
                    <a:pt x="356" y="428"/>
                  </a:lnTo>
                  <a:lnTo>
                    <a:pt x="365" y="425"/>
                  </a:lnTo>
                  <a:lnTo>
                    <a:pt x="375" y="421"/>
                  </a:lnTo>
                  <a:lnTo>
                    <a:pt x="383" y="417"/>
                  </a:lnTo>
                  <a:lnTo>
                    <a:pt x="391" y="410"/>
                  </a:lnTo>
                  <a:lnTo>
                    <a:pt x="397" y="404"/>
                  </a:lnTo>
                  <a:lnTo>
                    <a:pt x="403" y="395"/>
                  </a:lnTo>
                  <a:lnTo>
                    <a:pt x="407" y="383"/>
                  </a:lnTo>
                  <a:lnTo>
                    <a:pt x="409" y="368"/>
                  </a:lnTo>
                  <a:lnTo>
                    <a:pt x="423" y="368"/>
                  </a:lnTo>
                  <a:lnTo>
                    <a:pt x="436" y="367"/>
                  </a:lnTo>
                  <a:lnTo>
                    <a:pt x="448" y="364"/>
                  </a:lnTo>
                  <a:lnTo>
                    <a:pt x="460" y="361"/>
                  </a:lnTo>
                  <a:lnTo>
                    <a:pt x="472" y="357"/>
                  </a:lnTo>
                  <a:lnTo>
                    <a:pt x="484" y="353"/>
                  </a:lnTo>
                  <a:lnTo>
                    <a:pt x="494" y="348"/>
                  </a:lnTo>
                  <a:lnTo>
                    <a:pt x="505" y="343"/>
                  </a:lnTo>
                  <a:lnTo>
                    <a:pt x="514" y="336"/>
                  </a:lnTo>
                  <a:lnTo>
                    <a:pt x="522" y="328"/>
                  </a:lnTo>
                  <a:lnTo>
                    <a:pt x="532" y="321"/>
                  </a:lnTo>
                  <a:lnTo>
                    <a:pt x="538" y="312"/>
                  </a:lnTo>
                  <a:lnTo>
                    <a:pt x="545" y="303"/>
                  </a:lnTo>
                  <a:lnTo>
                    <a:pt x="550" y="293"/>
                  </a:lnTo>
                  <a:lnTo>
                    <a:pt x="556" y="283"/>
                  </a:lnTo>
                  <a:lnTo>
                    <a:pt x="560" y="272"/>
                  </a:lnTo>
                  <a:lnTo>
                    <a:pt x="550" y="271"/>
                  </a:lnTo>
                  <a:lnTo>
                    <a:pt x="541" y="269"/>
                  </a:lnTo>
                  <a:lnTo>
                    <a:pt x="533" y="267"/>
                  </a:lnTo>
                  <a:lnTo>
                    <a:pt x="526" y="261"/>
                  </a:lnTo>
                  <a:lnTo>
                    <a:pt x="520" y="256"/>
                  </a:lnTo>
                  <a:lnTo>
                    <a:pt x="513" y="251"/>
                  </a:lnTo>
                  <a:lnTo>
                    <a:pt x="508" y="244"/>
                  </a:lnTo>
                  <a:lnTo>
                    <a:pt x="504" y="236"/>
                  </a:lnTo>
                  <a:lnTo>
                    <a:pt x="496" y="219"/>
                  </a:lnTo>
                  <a:lnTo>
                    <a:pt x="489" y="199"/>
                  </a:lnTo>
                  <a:lnTo>
                    <a:pt x="484" y="179"/>
                  </a:lnTo>
                  <a:lnTo>
                    <a:pt x="478" y="157"/>
                  </a:lnTo>
                  <a:lnTo>
                    <a:pt x="474" y="136"/>
                  </a:lnTo>
                  <a:lnTo>
                    <a:pt x="469" y="115"/>
                  </a:lnTo>
                  <a:lnTo>
                    <a:pt x="462" y="96"/>
                  </a:lnTo>
                  <a:lnTo>
                    <a:pt x="456" y="79"/>
                  </a:lnTo>
                  <a:lnTo>
                    <a:pt x="450" y="71"/>
                  </a:lnTo>
                  <a:lnTo>
                    <a:pt x="447" y="64"/>
                  </a:lnTo>
                  <a:lnTo>
                    <a:pt x="441" y="57"/>
                  </a:lnTo>
                  <a:lnTo>
                    <a:pt x="435" y="52"/>
                  </a:lnTo>
                  <a:lnTo>
                    <a:pt x="428" y="48"/>
                  </a:lnTo>
                  <a:lnTo>
                    <a:pt x="420" y="45"/>
                  </a:lnTo>
                  <a:lnTo>
                    <a:pt x="412" y="44"/>
                  </a:lnTo>
                  <a:lnTo>
                    <a:pt x="403" y="43"/>
                  </a:lnTo>
                  <a:lnTo>
                    <a:pt x="399" y="44"/>
                  </a:lnTo>
                  <a:lnTo>
                    <a:pt x="395" y="47"/>
                  </a:lnTo>
                  <a:lnTo>
                    <a:pt x="392" y="51"/>
                  </a:lnTo>
                  <a:lnTo>
                    <a:pt x="389" y="55"/>
                  </a:lnTo>
                  <a:lnTo>
                    <a:pt x="384" y="63"/>
                  </a:lnTo>
                  <a:lnTo>
                    <a:pt x="379" y="67"/>
                  </a:lnTo>
                  <a:lnTo>
                    <a:pt x="371" y="67"/>
                  </a:lnTo>
                  <a:lnTo>
                    <a:pt x="363" y="64"/>
                  </a:lnTo>
                  <a:lnTo>
                    <a:pt x="356" y="61"/>
                  </a:lnTo>
                  <a:lnTo>
                    <a:pt x="349" y="56"/>
                  </a:lnTo>
                  <a:lnTo>
                    <a:pt x="339" y="45"/>
                  </a:lnTo>
                  <a:lnTo>
                    <a:pt x="328" y="33"/>
                  </a:lnTo>
                  <a:lnTo>
                    <a:pt x="317" y="21"/>
                  </a:lnTo>
                  <a:lnTo>
                    <a:pt x="307" y="11"/>
                  </a:lnTo>
                  <a:lnTo>
                    <a:pt x="300" y="7"/>
                  </a:lnTo>
                  <a:lnTo>
                    <a:pt x="293" y="4"/>
                  </a:lnTo>
                  <a:lnTo>
                    <a:pt x="285" y="1"/>
                  </a:lnTo>
                  <a:lnTo>
                    <a:pt x="276" y="0"/>
                  </a:lnTo>
                  <a:lnTo>
                    <a:pt x="263" y="3"/>
                  </a:lnTo>
                  <a:lnTo>
                    <a:pt x="251" y="5"/>
                  </a:lnTo>
                  <a:lnTo>
                    <a:pt x="245" y="5"/>
                  </a:lnTo>
                  <a:lnTo>
                    <a:pt x="241" y="5"/>
                  </a:lnTo>
                  <a:lnTo>
                    <a:pt x="237" y="4"/>
                  </a:lnTo>
                  <a:lnTo>
                    <a:pt x="235" y="0"/>
                  </a:lnTo>
                  <a:lnTo>
                    <a:pt x="225" y="8"/>
                  </a:lnTo>
                  <a:lnTo>
                    <a:pt x="217" y="15"/>
                  </a:lnTo>
                  <a:lnTo>
                    <a:pt x="209" y="17"/>
                  </a:lnTo>
                  <a:lnTo>
                    <a:pt x="204" y="19"/>
                  </a:lnTo>
                  <a:lnTo>
                    <a:pt x="191" y="19"/>
                  </a:lnTo>
                  <a:lnTo>
                    <a:pt x="177" y="19"/>
                  </a:lnTo>
                  <a:lnTo>
                    <a:pt x="167" y="19"/>
                  </a:lnTo>
                  <a:lnTo>
                    <a:pt x="156" y="19"/>
                  </a:lnTo>
                  <a:lnTo>
                    <a:pt x="156" y="33"/>
                  </a:lnTo>
                  <a:lnTo>
                    <a:pt x="153" y="45"/>
                  </a:lnTo>
                  <a:lnTo>
                    <a:pt x="151" y="56"/>
                  </a:lnTo>
                  <a:lnTo>
                    <a:pt x="147" y="65"/>
                  </a:lnTo>
                  <a:lnTo>
                    <a:pt x="143" y="73"/>
                  </a:lnTo>
                  <a:lnTo>
                    <a:pt x="137" y="80"/>
                  </a:lnTo>
                  <a:lnTo>
                    <a:pt x="132" y="85"/>
                  </a:lnTo>
                  <a:lnTo>
                    <a:pt x="127" y="91"/>
                  </a:lnTo>
                  <a:lnTo>
                    <a:pt x="115" y="101"/>
                  </a:lnTo>
                  <a:lnTo>
                    <a:pt x="105" y="112"/>
                  </a:lnTo>
                  <a:lnTo>
                    <a:pt x="101" y="119"/>
                  </a:lnTo>
                  <a:lnTo>
                    <a:pt x="99" y="125"/>
                  </a:lnTo>
                  <a:lnTo>
                    <a:pt x="96" y="135"/>
                  </a:lnTo>
                  <a:lnTo>
                    <a:pt x="96" y="145"/>
                  </a:lnTo>
                  <a:lnTo>
                    <a:pt x="97" y="156"/>
                  </a:lnTo>
                  <a:lnTo>
                    <a:pt x="99" y="164"/>
                  </a:lnTo>
                  <a:lnTo>
                    <a:pt x="103" y="172"/>
                  </a:lnTo>
                  <a:lnTo>
                    <a:pt x="108" y="177"/>
                  </a:lnTo>
                  <a:lnTo>
                    <a:pt x="115" y="181"/>
                  </a:lnTo>
                  <a:lnTo>
                    <a:pt x="121" y="185"/>
                  </a:lnTo>
                  <a:lnTo>
                    <a:pt x="129" y="187"/>
                  </a:lnTo>
                  <a:lnTo>
                    <a:pt x="139" y="187"/>
                  </a:lnTo>
                  <a:lnTo>
                    <a:pt x="139" y="207"/>
                  </a:lnTo>
                  <a:lnTo>
                    <a:pt x="139" y="217"/>
                  </a:lnTo>
                  <a:lnTo>
                    <a:pt x="137" y="225"/>
                  </a:lnTo>
                  <a:lnTo>
                    <a:pt x="136" y="232"/>
                  </a:lnTo>
                  <a:lnTo>
                    <a:pt x="135" y="239"/>
                  </a:lnTo>
                  <a:lnTo>
                    <a:pt x="132" y="245"/>
                  </a:lnTo>
                  <a:lnTo>
                    <a:pt x="125" y="257"/>
                  </a:lnTo>
                  <a:lnTo>
                    <a:pt x="116" y="268"/>
                  </a:lnTo>
                  <a:lnTo>
                    <a:pt x="105" y="277"/>
                  </a:lnTo>
                  <a:lnTo>
                    <a:pt x="95" y="287"/>
                  </a:lnTo>
                  <a:lnTo>
                    <a:pt x="81" y="296"/>
                  </a:lnTo>
                  <a:lnTo>
                    <a:pt x="69" y="305"/>
                  </a:lnTo>
                  <a:lnTo>
                    <a:pt x="56" y="315"/>
                  </a:lnTo>
                  <a:lnTo>
                    <a:pt x="44" y="324"/>
                  </a:lnTo>
                  <a:lnTo>
                    <a:pt x="32" y="335"/>
                  </a:lnTo>
                  <a:lnTo>
                    <a:pt x="21" y="347"/>
                  </a:lnTo>
                  <a:lnTo>
                    <a:pt x="12" y="360"/>
                  </a:lnTo>
                  <a:lnTo>
                    <a:pt x="5" y="375"/>
                  </a:lnTo>
                  <a:lnTo>
                    <a:pt x="3" y="383"/>
                  </a:lnTo>
                  <a:lnTo>
                    <a:pt x="1" y="391"/>
                  </a:lnTo>
                  <a:lnTo>
                    <a:pt x="0" y="400"/>
                  </a:lnTo>
                  <a:lnTo>
                    <a:pt x="0" y="410"/>
                  </a:lnTo>
                  <a:lnTo>
                    <a:pt x="1" y="425"/>
                  </a:lnTo>
                  <a:lnTo>
                    <a:pt x="5" y="440"/>
                  </a:lnTo>
                  <a:lnTo>
                    <a:pt x="11" y="456"/>
                  </a:lnTo>
                  <a:lnTo>
                    <a:pt x="19" y="472"/>
                  </a:lnTo>
                  <a:lnTo>
                    <a:pt x="24" y="478"/>
                  </a:lnTo>
                  <a:lnTo>
                    <a:pt x="29" y="485"/>
                  </a:lnTo>
                  <a:lnTo>
                    <a:pt x="35" y="492"/>
                  </a:lnTo>
                  <a:lnTo>
                    <a:pt x="40" y="496"/>
                  </a:lnTo>
                  <a:lnTo>
                    <a:pt x="47" y="501"/>
                  </a:lnTo>
                  <a:lnTo>
                    <a:pt x="52" y="504"/>
                  </a:lnTo>
                  <a:lnTo>
                    <a:pt x="59" y="505"/>
                  </a:lnTo>
                  <a:lnTo>
                    <a:pt x="65" y="506"/>
                  </a:lnTo>
                  <a:lnTo>
                    <a:pt x="75" y="506"/>
                  </a:lnTo>
                  <a:lnTo>
                    <a:pt x="83" y="504"/>
                  </a:lnTo>
                  <a:lnTo>
                    <a:pt x="89" y="501"/>
                  </a:lnTo>
                  <a:lnTo>
                    <a:pt x="96" y="498"/>
                  </a:lnTo>
                  <a:lnTo>
                    <a:pt x="108" y="489"/>
                  </a:lnTo>
                  <a:lnTo>
                    <a:pt x="119" y="480"/>
                  </a:lnTo>
                  <a:lnTo>
                    <a:pt x="129" y="469"/>
                  </a:lnTo>
                  <a:lnTo>
                    <a:pt x="141" y="461"/>
                  </a:lnTo>
                  <a:lnTo>
                    <a:pt x="147" y="457"/>
                  </a:lnTo>
                  <a:lnTo>
                    <a:pt x="153" y="454"/>
                  </a:lnTo>
                  <a:lnTo>
                    <a:pt x="160" y="453"/>
                  </a:lnTo>
                  <a:lnTo>
                    <a:pt x="168" y="452"/>
                  </a:lnTo>
                  <a:lnTo>
                    <a:pt x="185" y="453"/>
                  </a:lnTo>
                  <a:lnTo>
                    <a:pt x="203" y="454"/>
                  </a:lnTo>
                  <a:lnTo>
                    <a:pt x="219" y="458"/>
                  </a:lnTo>
                  <a:lnTo>
                    <a:pt x="235" y="461"/>
                  </a:lnTo>
                  <a:lnTo>
                    <a:pt x="251" y="465"/>
                  </a:lnTo>
                  <a:lnTo>
                    <a:pt x="267" y="468"/>
                  </a:lnTo>
                  <a:lnTo>
                    <a:pt x="283" y="469"/>
                  </a:lnTo>
                  <a:lnTo>
                    <a:pt x="301" y="470"/>
                  </a:lnTo>
                  <a:lnTo>
                    <a:pt x="307" y="470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accent1">
                  <a:lumMod val="20000"/>
                  <a:lumOff val="8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95" b="0" i="0" u="none" strike="noStrike" kern="1200" cap="none" spc="0" normalizeH="0" baseline="0" noProof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7" name="Freeform 61"/>
            <p:cNvSpPr>
              <a:spLocks/>
            </p:cNvSpPr>
            <p:nvPr/>
          </p:nvSpPr>
          <p:spPr bwMode="auto">
            <a:xfrm>
              <a:off x="4796422" y="2445495"/>
              <a:ext cx="75460" cy="68622"/>
            </a:xfrm>
            <a:custGeom>
              <a:avLst/>
              <a:gdLst>
                <a:gd name="T0" fmla="*/ 1000 w 1048"/>
                <a:gd name="T1" fmla="*/ 709 h 952"/>
                <a:gd name="T2" fmla="*/ 972 w 1048"/>
                <a:gd name="T3" fmla="*/ 737 h 952"/>
                <a:gd name="T4" fmla="*/ 839 w 1048"/>
                <a:gd name="T5" fmla="*/ 778 h 952"/>
                <a:gd name="T6" fmla="*/ 799 w 1048"/>
                <a:gd name="T7" fmla="*/ 820 h 952"/>
                <a:gd name="T8" fmla="*/ 777 w 1048"/>
                <a:gd name="T9" fmla="*/ 884 h 952"/>
                <a:gd name="T10" fmla="*/ 707 w 1048"/>
                <a:gd name="T11" fmla="*/ 934 h 952"/>
                <a:gd name="T12" fmla="*/ 651 w 1048"/>
                <a:gd name="T13" fmla="*/ 897 h 952"/>
                <a:gd name="T14" fmla="*/ 629 w 1048"/>
                <a:gd name="T15" fmla="*/ 868 h 952"/>
                <a:gd name="T16" fmla="*/ 587 w 1048"/>
                <a:gd name="T17" fmla="*/ 862 h 952"/>
                <a:gd name="T18" fmla="*/ 552 w 1048"/>
                <a:gd name="T19" fmla="*/ 873 h 952"/>
                <a:gd name="T20" fmla="*/ 494 w 1048"/>
                <a:gd name="T21" fmla="*/ 866 h 952"/>
                <a:gd name="T22" fmla="*/ 438 w 1048"/>
                <a:gd name="T23" fmla="*/ 861 h 952"/>
                <a:gd name="T24" fmla="*/ 399 w 1048"/>
                <a:gd name="T25" fmla="*/ 878 h 952"/>
                <a:gd name="T26" fmla="*/ 367 w 1048"/>
                <a:gd name="T27" fmla="*/ 897 h 952"/>
                <a:gd name="T28" fmla="*/ 343 w 1048"/>
                <a:gd name="T29" fmla="*/ 888 h 952"/>
                <a:gd name="T30" fmla="*/ 310 w 1048"/>
                <a:gd name="T31" fmla="*/ 824 h 952"/>
                <a:gd name="T32" fmla="*/ 286 w 1048"/>
                <a:gd name="T33" fmla="*/ 881 h 952"/>
                <a:gd name="T34" fmla="*/ 260 w 1048"/>
                <a:gd name="T35" fmla="*/ 890 h 952"/>
                <a:gd name="T36" fmla="*/ 214 w 1048"/>
                <a:gd name="T37" fmla="*/ 870 h 952"/>
                <a:gd name="T38" fmla="*/ 159 w 1048"/>
                <a:gd name="T39" fmla="*/ 873 h 952"/>
                <a:gd name="T40" fmla="*/ 115 w 1048"/>
                <a:gd name="T41" fmla="*/ 885 h 952"/>
                <a:gd name="T42" fmla="*/ 75 w 1048"/>
                <a:gd name="T43" fmla="*/ 864 h 952"/>
                <a:gd name="T44" fmla="*/ 32 w 1048"/>
                <a:gd name="T45" fmla="*/ 804 h 952"/>
                <a:gd name="T46" fmla="*/ 36 w 1048"/>
                <a:gd name="T47" fmla="*/ 753 h 952"/>
                <a:gd name="T48" fmla="*/ 48 w 1048"/>
                <a:gd name="T49" fmla="*/ 698 h 952"/>
                <a:gd name="T50" fmla="*/ 34 w 1048"/>
                <a:gd name="T51" fmla="*/ 662 h 952"/>
                <a:gd name="T52" fmla="*/ 2 w 1048"/>
                <a:gd name="T53" fmla="*/ 630 h 952"/>
                <a:gd name="T54" fmla="*/ 6 w 1048"/>
                <a:gd name="T55" fmla="*/ 602 h 952"/>
                <a:gd name="T56" fmla="*/ 59 w 1048"/>
                <a:gd name="T57" fmla="*/ 560 h 952"/>
                <a:gd name="T58" fmla="*/ 115 w 1048"/>
                <a:gd name="T59" fmla="*/ 560 h 952"/>
                <a:gd name="T60" fmla="*/ 163 w 1048"/>
                <a:gd name="T61" fmla="*/ 572 h 952"/>
                <a:gd name="T62" fmla="*/ 192 w 1048"/>
                <a:gd name="T63" fmla="*/ 561 h 952"/>
                <a:gd name="T64" fmla="*/ 199 w 1048"/>
                <a:gd name="T65" fmla="*/ 488 h 952"/>
                <a:gd name="T66" fmla="*/ 200 w 1048"/>
                <a:gd name="T67" fmla="*/ 404 h 952"/>
                <a:gd name="T68" fmla="*/ 235 w 1048"/>
                <a:gd name="T69" fmla="*/ 351 h 952"/>
                <a:gd name="T70" fmla="*/ 264 w 1048"/>
                <a:gd name="T71" fmla="*/ 313 h 952"/>
                <a:gd name="T72" fmla="*/ 270 w 1048"/>
                <a:gd name="T73" fmla="*/ 261 h 952"/>
                <a:gd name="T74" fmla="*/ 247 w 1048"/>
                <a:gd name="T75" fmla="*/ 212 h 952"/>
                <a:gd name="T76" fmla="*/ 235 w 1048"/>
                <a:gd name="T77" fmla="*/ 175 h 952"/>
                <a:gd name="T78" fmla="*/ 263 w 1048"/>
                <a:gd name="T79" fmla="*/ 113 h 952"/>
                <a:gd name="T80" fmla="*/ 324 w 1048"/>
                <a:gd name="T81" fmla="*/ 24 h 952"/>
                <a:gd name="T82" fmla="*/ 428 w 1048"/>
                <a:gd name="T83" fmla="*/ 0 h 952"/>
                <a:gd name="T84" fmla="*/ 482 w 1048"/>
                <a:gd name="T85" fmla="*/ 11 h 952"/>
                <a:gd name="T86" fmla="*/ 543 w 1048"/>
                <a:gd name="T87" fmla="*/ 63 h 952"/>
                <a:gd name="T88" fmla="*/ 572 w 1048"/>
                <a:gd name="T89" fmla="*/ 103 h 952"/>
                <a:gd name="T90" fmla="*/ 594 w 1048"/>
                <a:gd name="T91" fmla="*/ 152 h 952"/>
                <a:gd name="T92" fmla="*/ 659 w 1048"/>
                <a:gd name="T93" fmla="*/ 175 h 952"/>
                <a:gd name="T94" fmla="*/ 695 w 1048"/>
                <a:gd name="T95" fmla="*/ 209 h 952"/>
                <a:gd name="T96" fmla="*/ 772 w 1048"/>
                <a:gd name="T97" fmla="*/ 263 h 952"/>
                <a:gd name="T98" fmla="*/ 821 w 1048"/>
                <a:gd name="T99" fmla="*/ 311 h 952"/>
                <a:gd name="T100" fmla="*/ 829 w 1048"/>
                <a:gd name="T101" fmla="*/ 368 h 952"/>
                <a:gd name="T102" fmla="*/ 799 w 1048"/>
                <a:gd name="T103" fmla="*/ 402 h 952"/>
                <a:gd name="T104" fmla="*/ 783 w 1048"/>
                <a:gd name="T105" fmla="*/ 433 h 952"/>
                <a:gd name="T106" fmla="*/ 804 w 1048"/>
                <a:gd name="T107" fmla="*/ 464 h 952"/>
                <a:gd name="T108" fmla="*/ 853 w 1048"/>
                <a:gd name="T109" fmla="*/ 469 h 952"/>
                <a:gd name="T110" fmla="*/ 876 w 1048"/>
                <a:gd name="T111" fmla="*/ 477 h 952"/>
                <a:gd name="T112" fmla="*/ 885 w 1048"/>
                <a:gd name="T113" fmla="*/ 532 h 952"/>
                <a:gd name="T114" fmla="*/ 907 w 1048"/>
                <a:gd name="T115" fmla="*/ 558 h 952"/>
                <a:gd name="T116" fmla="*/ 988 w 1048"/>
                <a:gd name="T117" fmla="*/ 622 h 952"/>
                <a:gd name="T118" fmla="*/ 1039 w 1048"/>
                <a:gd name="T119" fmla="*/ 704 h 95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048"/>
                <a:gd name="T181" fmla="*/ 0 h 952"/>
                <a:gd name="T182" fmla="*/ 1048 w 1048"/>
                <a:gd name="T183" fmla="*/ 952 h 952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048" h="952">
                  <a:moveTo>
                    <a:pt x="1017" y="704"/>
                  </a:moveTo>
                  <a:lnTo>
                    <a:pt x="1012" y="705"/>
                  </a:lnTo>
                  <a:lnTo>
                    <a:pt x="1008" y="705"/>
                  </a:lnTo>
                  <a:lnTo>
                    <a:pt x="1004" y="708"/>
                  </a:lnTo>
                  <a:lnTo>
                    <a:pt x="1000" y="709"/>
                  </a:lnTo>
                  <a:lnTo>
                    <a:pt x="993" y="714"/>
                  </a:lnTo>
                  <a:lnTo>
                    <a:pt x="988" y="720"/>
                  </a:lnTo>
                  <a:lnTo>
                    <a:pt x="984" y="726"/>
                  </a:lnTo>
                  <a:lnTo>
                    <a:pt x="979" y="732"/>
                  </a:lnTo>
                  <a:lnTo>
                    <a:pt x="972" y="737"/>
                  </a:lnTo>
                  <a:lnTo>
                    <a:pt x="964" y="741"/>
                  </a:lnTo>
                  <a:lnTo>
                    <a:pt x="916" y="753"/>
                  </a:lnTo>
                  <a:lnTo>
                    <a:pt x="864" y="768"/>
                  </a:lnTo>
                  <a:lnTo>
                    <a:pt x="851" y="772"/>
                  </a:lnTo>
                  <a:lnTo>
                    <a:pt x="839" y="778"/>
                  </a:lnTo>
                  <a:lnTo>
                    <a:pt x="828" y="784"/>
                  </a:lnTo>
                  <a:lnTo>
                    <a:pt x="819" y="792"/>
                  </a:lnTo>
                  <a:lnTo>
                    <a:pt x="811" y="800"/>
                  </a:lnTo>
                  <a:lnTo>
                    <a:pt x="804" y="809"/>
                  </a:lnTo>
                  <a:lnTo>
                    <a:pt x="799" y="820"/>
                  </a:lnTo>
                  <a:lnTo>
                    <a:pt x="795" y="830"/>
                  </a:lnTo>
                  <a:lnTo>
                    <a:pt x="792" y="846"/>
                  </a:lnTo>
                  <a:lnTo>
                    <a:pt x="788" y="861"/>
                  </a:lnTo>
                  <a:lnTo>
                    <a:pt x="783" y="873"/>
                  </a:lnTo>
                  <a:lnTo>
                    <a:pt x="777" y="884"/>
                  </a:lnTo>
                  <a:lnTo>
                    <a:pt x="769" y="894"/>
                  </a:lnTo>
                  <a:lnTo>
                    <a:pt x="763" y="902"/>
                  </a:lnTo>
                  <a:lnTo>
                    <a:pt x="755" y="909"/>
                  </a:lnTo>
                  <a:lnTo>
                    <a:pt x="745" y="916"/>
                  </a:lnTo>
                  <a:lnTo>
                    <a:pt x="707" y="934"/>
                  </a:lnTo>
                  <a:lnTo>
                    <a:pt x="668" y="952"/>
                  </a:lnTo>
                  <a:lnTo>
                    <a:pt x="663" y="941"/>
                  </a:lnTo>
                  <a:lnTo>
                    <a:pt x="659" y="926"/>
                  </a:lnTo>
                  <a:lnTo>
                    <a:pt x="656" y="912"/>
                  </a:lnTo>
                  <a:lnTo>
                    <a:pt x="651" y="897"/>
                  </a:lnTo>
                  <a:lnTo>
                    <a:pt x="648" y="890"/>
                  </a:lnTo>
                  <a:lnTo>
                    <a:pt x="645" y="884"/>
                  </a:lnTo>
                  <a:lnTo>
                    <a:pt x="640" y="877"/>
                  </a:lnTo>
                  <a:lnTo>
                    <a:pt x="636" y="872"/>
                  </a:lnTo>
                  <a:lnTo>
                    <a:pt x="629" y="868"/>
                  </a:lnTo>
                  <a:lnTo>
                    <a:pt x="622" y="864"/>
                  </a:lnTo>
                  <a:lnTo>
                    <a:pt x="612" y="861"/>
                  </a:lnTo>
                  <a:lnTo>
                    <a:pt x="603" y="861"/>
                  </a:lnTo>
                  <a:lnTo>
                    <a:pt x="594" y="861"/>
                  </a:lnTo>
                  <a:lnTo>
                    <a:pt x="587" y="862"/>
                  </a:lnTo>
                  <a:lnTo>
                    <a:pt x="580" y="865"/>
                  </a:lnTo>
                  <a:lnTo>
                    <a:pt x="575" y="866"/>
                  </a:lnTo>
                  <a:lnTo>
                    <a:pt x="568" y="869"/>
                  </a:lnTo>
                  <a:lnTo>
                    <a:pt x="560" y="872"/>
                  </a:lnTo>
                  <a:lnTo>
                    <a:pt x="552" y="873"/>
                  </a:lnTo>
                  <a:lnTo>
                    <a:pt x="542" y="873"/>
                  </a:lnTo>
                  <a:lnTo>
                    <a:pt x="528" y="873"/>
                  </a:lnTo>
                  <a:lnTo>
                    <a:pt x="515" y="872"/>
                  </a:lnTo>
                  <a:lnTo>
                    <a:pt x="504" y="869"/>
                  </a:lnTo>
                  <a:lnTo>
                    <a:pt x="494" y="866"/>
                  </a:lnTo>
                  <a:lnTo>
                    <a:pt x="484" y="865"/>
                  </a:lnTo>
                  <a:lnTo>
                    <a:pt x="472" y="862"/>
                  </a:lnTo>
                  <a:lnTo>
                    <a:pt x="460" y="861"/>
                  </a:lnTo>
                  <a:lnTo>
                    <a:pt x="446" y="861"/>
                  </a:lnTo>
                  <a:lnTo>
                    <a:pt x="438" y="861"/>
                  </a:lnTo>
                  <a:lnTo>
                    <a:pt x="431" y="862"/>
                  </a:lnTo>
                  <a:lnTo>
                    <a:pt x="426" y="864"/>
                  </a:lnTo>
                  <a:lnTo>
                    <a:pt x="419" y="866"/>
                  </a:lnTo>
                  <a:lnTo>
                    <a:pt x="408" y="872"/>
                  </a:lnTo>
                  <a:lnTo>
                    <a:pt x="399" y="878"/>
                  </a:lnTo>
                  <a:lnTo>
                    <a:pt x="391" y="885"/>
                  </a:lnTo>
                  <a:lnTo>
                    <a:pt x="382" y="892"/>
                  </a:lnTo>
                  <a:lnTo>
                    <a:pt x="376" y="894"/>
                  </a:lnTo>
                  <a:lnTo>
                    <a:pt x="372" y="896"/>
                  </a:lnTo>
                  <a:lnTo>
                    <a:pt x="367" y="897"/>
                  </a:lnTo>
                  <a:lnTo>
                    <a:pt x="362" y="897"/>
                  </a:lnTo>
                  <a:lnTo>
                    <a:pt x="356" y="896"/>
                  </a:lnTo>
                  <a:lnTo>
                    <a:pt x="351" y="894"/>
                  </a:lnTo>
                  <a:lnTo>
                    <a:pt x="347" y="892"/>
                  </a:lnTo>
                  <a:lnTo>
                    <a:pt x="343" y="888"/>
                  </a:lnTo>
                  <a:lnTo>
                    <a:pt x="336" y="877"/>
                  </a:lnTo>
                  <a:lnTo>
                    <a:pt x="331" y="865"/>
                  </a:lnTo>
                  <a:lnTo>
                    <a:pt x="322" y="838"/>
                  </a:lnTo>
                  <a:lnTo>
                    <a:pt x="314" y="818"/>
                  </a:lnTo>
                  <a:lnTo>
                    <a:pt x="310" y="824"/>
                  </a:lnTo>
                  <a:lnTo>
                    <a:pt x="306" y="833"/>
                  </a:lnTo>
                  <a:lnTo>
                    <a:pt x="302" y="844"/>
                  </a:lnTo>
                  <a:lnTo>
                    <a:pt x="296" y="857"/>
                  </a:lnTo>
                  <a:lnTo>
                    <a:pt x="292" y="870"/>
                  </a:lnTo>
                  <a:lnTo>
                    <a:pt x="286" y="881"/>
                  </a:lnTo>
                  <a:lnTo>
                    <a:pt x="283" y="885"/>
                  </a:lnTo>
                  <a:lnTo>
                    <a:pt x="279" y="888"/>
                  </a:lnTo>
                  <a:lnTo>
                    <a:pt x="275" y="890"/>
                  </a:lnTo>
                  <a:lnTo>
                    <a:pt x="271" y="890"/>
                  </a:lnTo>
                  <a:lnTo>
                    <a:pt x="260" y="890"/>
                  </a:lnTo>
                  <a:lnTo>
                    <a:pt x="251" y="888"/>
                  </a:lnTo>
                  <a:lnTo>
                    <a:pt x="243" y="884"/>
                  </a:lnTo>
                  <a:lnTo>
                    <a:pt x="234" y="878"/>
                  </a:lnTo>
                  <a:lnTo>
                    <a:pt x="224" y="874"/>
                  </a:lnTo>
                  <a:lnTo>
                    <a:pt x="214" y="870"/>
                  </a:lnTo>
                  <a:lnTo>
                    <a:pt x="202" y="868"/>
                  </a:lnTo>
                  <a:lnTo>
                    <a:pt x="187" y="866"/>
                  </a:lnTo>
                  <a:lnTo>
                    <a:pt x="176" y="868"/>
                  </a:lnTo>
                  <a:lnTo>
                    <a:pt x="167" y="870"/>
                  </a:lnTo>
                  <a:lnTo>
                    <a:pt x="159" y="873"/>
                  </a:lnTo>
                  <a:lnTo>
                    <a:pt x="151" y="876"/>
                  </a:lnTo>
                  <a:lnTo>
                    <a:pt x="143" y="880"/>
                  </a:lnTo>
                  <a:lnTo>
                    <a:pt x="134" y="882"/>
                  </a:lnTo>
                  <a:lnTo>
                    <a:pt x="126" y="884"/>
                  </a:lnTo>
                  <a:lnTo>
                    <a:pt x="115" y="885"/>
                  </a:lnTo>
                  <a:lnTo>
                    <a:pt x="108" y="884"/>
                  </a:lnTo>
                  <a:lnTo>
                    <a:pt x="102" y="882"/>
                  </a:lnTo>
                  <a:lnTo>
                    <a:pt x="95" y="880"/>
                  </a:lnTo>
                  <a:lnTo>
                    <a:pt x="88" y="874"/>
                  </a:lnTo>
                  <a:lnTo>
                    <a:pt x="75" y="864"/>
                  </a:lnTo>
                  <a:lnTo>
                    <a:pt x="62" y="850"/>
                  </a:lnTo>
                  <a:lnTo>
                    <a:pt x="48" y="834"/>
                  </a:lnTo>
                  <a:lnTo>
                    <a:pt x="39" y="818"/>
                  </a:lnTo>
                  <a:lnTo>
                    <a:pt x="35" y="810"/>
                  </a:lnTo>
                  <a:lnTo>
                    <a:pt x="32" y="804"/>
                  </a:lnTo>
                  <a:lnTo>
                    <a:pt x="31" y="796"/>
                  </a:lnTo>
                  <a:lnTo>
                    <a:pt x="30" y="789"/>
                  </a:lnTo>
                  <a:lnTo>
                    <a:pt x="31" y="776"/>
                  </a:lnTo>
                  <a:lnTo>
                    <a:pt x="34" y="764"/>
                  </a:lnTo>
                  <a:lnTo>
                    <a:pt x="36" y="753"/>
                  </a:lnTo>
                  <a:lnTo>
                    <a:pt x="39" y="744"/>
                  </a:lnTo>
                  <a:lnTo>
                    <a:pt x="43" y="733"/>
                  </a:lnTo>
                  <a:lnTo>
                    <a:pt x="46" y="722"/>
                  </a:lnTo>
                  <a:lnTo>
                    <a:pt x="47" y="710"/>
                  </a:lnTo>
                  <a:lnTo>
                    <a:pt x="48" y="698"/>
                  </a:lnTo>
                  <a:lnTo>
                    <a:pt x="48" y="690"/>
                  </a:lnTo>
                  <a:lnTo>
                    <a:pt x="46" y="684"/>
                  </a:lnTo>
                  <a:lnTo>
                    <a:pt x="44" y="678"/>
                  </a:lnTo>
                  <a:lnTo>
                    <a:pt x="40" y="673"/>
                  </a:lnTo>
                  <a:lnTo>
                    <a:pt x="34" y="662"/>
                  </a:lnTo>
                  <a:lnTo>
                    <a:pt x="24" y="654"/>
                  </a:lnTo>
                  <a:lnTo>
                    <a:pt x="15" y="646"/>
                  </a:lnTo>
                  <a:lnTo>
                    <a:pt x="7" y="638"/>
                  </a:lnTo>
                  <a:lnTo>
                    <a:pt x="4" y="634"/>
                  </a:lnTo>
                  <a:lnTo>
                    <a:pt x="2" y="630"/>
                  </a:lnTo>
                  <a:lnTo>
                    <a:pt x="0" y="625"/>
                  </a:lnTo>
                  <a:lnTo>
                    <a:pt x="0" y="620"/>
                  </a:lnTo>
                  <a:lnTo>
                    <a:pt x="0" y="614"/>
                  </a:lnTo>
                  <a:lnTo>
                    <a:pt x="3" y="609"/>
                  </a:lnTo>
                  <a:lnTo>
                    <a:pt x="6" y="602"/>
                  </a:lnTo>
                  <a:lnTo>
                    <a:pt x="10" y="597"/>
                  </a:lnTo>
                  <a:lnTo>
                    <a:pt x="19" y="586"/>
                  </a:lnTo>
                  <a:lnTo>
                    <a:pt x="31" y="576"/>
                  </a:lnTo>
                  <a:lnTo>
                    <a:pt x="44" y="566"/>
                  </a:lnTo>
                  <a:lnTo>
                    <a:pt x="59" y="560"/>
                  </a:lnTo>
                  <a:lnTo>
                    <a:pt x="72" y="556"/>
                  </a:lnTo>
                  <a:lnTo>
                    <a:pt x="84" y="553"/>
                  </a:lnTo>
                  <a:lnTo>
                    <a:pt x="95" y="554"/>
                  </a:lnTo>
                  <a:lnTo>
                    <a:pt x="106" y="557"/>
                  </a:lnTo>
                  <a:lnTo>
                    <a:pt x="115" y="560"/>
                  </a:lnTo>
                  <a:lnTo>
                    <a:pt x="123" y="562"/>
                  </a:lnTo>
                  <a:lnTo>
                    <a:pt x="132" y="566"/>
                  </a:lnTo>
                  <a:lnTo>
                    <a:pt x="142" y="569"/>
                  </a:lnTo>
                  <a:lnTo>
                    <a:pt x="152" y="570"/>
                  </a:lnTo>
                  <a:lnTo>
                    <a:pt x="163" y="572"/>
                  </a:lnTo>
                  <a:lnTo>
                    <a:pt x="171" y="572"/>
                  </a:lnTo>
                  <a:lnTo>
                    <a:pt x="178" y="570"/>
                  </a:lnTo>
                  <a:lnTo>
                    <a:pt x="184" y="568"/>
                  </a:lnTo>
                  <a:lnTo>
                    <a:pt x="188" y="565"/>
                  </a:lnTo>
                  <a:lnTo>
                    <a:pt x="192" y="561"/>
                  </a:lnTo>
                  <a:lnTo>
                    <a:pt x="195" y="556"/>
                  </a:lnTo>
                  <a:lnTo>
                    <a:pt x="198" y="552"/>
                  </a:lnTo>
                  <a:lnTo>
                    <a:pt x="199" y="545"/>
                  </a:lnTo>
                  <a:lnTo>
                    <a:pt x="200" y="518"/>
                  </a:lnTo>
                  <a:lnTo>
                    <a:pt x="199" y="488"/>
                  </a:lnTo>
                  <a:lnTo>
                    <a:pt x="199" y="474"/>
                  </a:lnTo>
                  <a:lnTo>
                    <a:pt x="199" y="456"/>
                  </a:lnTo>
                  <a:lnTo>
                    <a:pt x="199" y="434"/>
                  </a:lnTo>
                  <a:lnTo>
                    <a:pt x="199" y="416"/>
                  </a:lnTo>
                  <a:lnTo>
                    <a:pt x="200" y="404"/>
                  </a:lnTo>
                  <a:lnTo>
                    <a:pt x="202" y="393"/>
                  </a:lnTo>
                  <a:lnTo>
                    <a:pt x="206" y="385"/>
                  </a:lnTo>
                  <a:lnTo>
                    <a:pt x="210" y="377"/>
                  </a:lnTo>
                  <a:lnTo>
                    <a:pt x="222" y="363"/>
                  </a:lnTo>
                  <a:lnTo>
                    <a:pt x="235" y="351"/>
                  </a:lnTo>
                  <a:lnTo>
                    <a:pt x="242" y="344"/>
                  </a:lnTo>
                  <a:lnTo>
                    <a:pt x="248" y="337"/>
                  </a:lnTo>
                  <a:lnTo>
                    <a:pt x="255" y="331"/>
                  </a:lnTo>
                  <a:lnTo>
                    <a:pt x="260" y="323"/>
                  </a:lnTo>
                  <a:lnTo>
                    <a:pt x="264" y="313"/>
                  </a:lnTo>
                  <a:lnTo>
                    <a:pt x="268" y="303"/>
                  </a:lnTo>
                  <a:lnTo>
                    <a:pt x="271" y="291"/>
                  </a:lnTo>
                  <a:lnTo>
                    <a:pt x="271" y="277"/>
                  </a:lnTo>
                  <a:lnTo>
                    <a:pt x="271" y="269"/>
                  </a:lnTo>
                  <a:lnTo>
                    <a:pt x="270" y="261"/>
                  </a:lnTo>
                  <a:lnTo>
                    <a:pt x="268" y="255"/>
                  </a:lnTo>
                  <a:lnTo>
                    <a:pt x="266" y="248"/>
                  </a:lnTo>
                  <a:lnTo>
                    <a:pt x="260" y="236"/>
                  </a:lnTo>
                  <a:lnTo>
                    <a:pt x="254" y="224"/>
                  </a:lnTo>
                  <a:lnTo>
                    <a:pt x="247" y="212"/>
                  </a:lnTo>
                  <a:lnTo>
                    <a:pt x="240" y="200"/>
                  </a:lnTo>
                  <a:lnTo>
                    <a:pt x="239" y="193"/>
                  </a:lnTo>
                  <a:lnTo>
                    <a:pt x="236" y="188"/>
                  </a:lnTo>
                  <a:lnTo>
                    <a:pt x="235" y="181"/>
                  </a:lnTo>
                  <a:lnTo>
                    <a:pt x="235" y="175"/>
                  </a:lnTo>
                  <a:lnTo>
                    <a:pt x="236" y="164"/>
                  </a:lnTo>
                  <a:lnTo>
                    <a:pt x="239" y="155"/>
                  </a:lnTo>
                  <a:lnTo>
                    <a:pt x="243" y="144"/>
                  </a:lnTo>
                  <a:lnTo>
                    <a:pt x="248" y="133"/>
                  </a:lnTo>
                  <a:lnTo>
                    <a:pt x="263" y="113"/>
                  </a:lnTo>
                  <a:lnTo>
                    <a:pt x="279" y="92"/>
                  </a:lnTo>
                  <a:lnTo>
                    <a:pt x="295" y="69"/>
                  </a:lnTo>
                  <a:lnTo>
                    <a:pt x="311" y="48"/>
                  </a:lnTo>
                  <a:lnTo>
                    <a:pt x="318" y="36"/>
                  </a:lnTo>
                  <a:lnTo>
                    <a:pt x="324" y="24"/>
                  </a:lnTo>
                  <a:lnTo>
                    <a:pt x="328" y="12"/>
                  </a:lnTo>
                  <a:lnTo>
                    <a:pt x="331" y="0"/>
                  </a:lnTo>
                  <a:lnTo>
                    <a:pt x="371" y="0"/>
                  </a:lnTo>
                  <a:lnTo>
                    <a:pt x="402" y="0"/>
                  </a:lnTo>
                  <a:lnTo>
                    <a:pt x="428" y="0"/>
                  </a:lnTo>
                  <a:lnTo>
                    <a:pt x="458" y="0"/>
                  </a:lnTo>
                  <a:lnTo>
                    <a:pt x="463" y="0"/>
                  </a:lnTo>
                  <a:lnTo>
                    <a:pt x="470" y="3"/>
                  </a:lnTo>
                  <a:lnTo>
                    <a:pt x="475" y="5"/>
                  </a:lnTo>
                  <a:lnTo>
                    <a:pt x="482" y="11"/>
                  </a:lnTo>
                  <a:lnTo>
                    <a:pt x="495" y="21"/>
                  </a:lnTo>
                  <a:lnTo>
                    <a:pt x="507" y="33"/>
                  </a:lnTo>
                  <a:lnTo>
                    <a:pt x="522" y="47"/>
                  </a:lnTo>
                  <a:lnTo>
                    <a:pt x="536" y="59"/>
                  </a:lnTo>
                  <a:lnTo>
                    <a:pt x="543" y="63"/>
                  </a:lnTo>
                  <a:lnTo>
                    <a:pt x="551" y="67"/>
                  </a:lnTo>
                  <a:lnTo>
                    <a:pt x="559" y="71"/>
                  </a:lnTo>
                  <a:lnTo>
                    <a:pt x="567" y="72"/>
                  </a:lnTo>
                  <a:lnTo>
                    <a:pt x="570" y="87"/>
                  </a:lnTo>
                  <a:lnTo>
                    <a:pt x="572" y="103"/>
                  </a:lnTo>
                  <a:lnTo>
                    <a:pt x="574" y="116"/>
                  </a:lnTo>
                  <a:lnTo>
                    <a:pt x="576" y="128"/>
                  </a:lnTo>
                  <a:lnTo>
                    <a:pt x="580" y="139"/>
                  </a:lnTo>
                  <a:lnTo>
                    <a:pt x="587" y="147"/>
                  </a:lnTo>
                  <a:lnTo>
                    <a:pt x="594" y="152"/>
                  </a:lnTo>
                  <a:lnTo>
                    <a:pt x="602" y="157"/>
                  </a:lnTo>
                  <a:lnTo>
                    <a:pt x="611" y="161"/>
                  </a:lnTo>
                  <a:lnTo>
                    <a:pt x="620" y="164"/>
                  </a:lnTo>
                  <a:lnTo>
                    <a:pt x="640" y="169"/>
                  </a:lnTo>
                  <a:lnTo>
                    <a:pt x="659" y="175"/>
                  </a:lnTo>
                  <a:lnTo>
                    <a:pt x="667" y="179"/>
                  </a:lnTo>
                  <a:lnTo>
                    <a:pt x="675" y="184"/>
                  </a:lnTo>
                  <a:lnTo>
                    <a:pt x="681" y="191"/>
                  </a:lnTo>
                  <a:lnTo>
                    <a:pt x="687" y="199"/>
                  </a:lnTo>
                  <a:lnTo>
                    <a:pt x="695" y="209"/>
                  </a:lnTo>
                  <a:lnTo>
                    <a:pt x="703" y="219"/>
                  </a:lnTo>
                  <a:lnTo>
                    <a:pt x="713" y="227"/>
                  </a:lnTo>
                  <a:lnTo>
                    <a:pt x="724" y="235"/>
                  </a:lnTo>
                  <a:lnTo>
                    <a:pt x="748" y="249"/>
                  </a:lnTo>
                  <a:lnTo>
                    <a:pt x="772" y="263"/>
                  </a:lnTo>
                  <a:lnTo>
                    <a:pt x="784" y="271"/>
                  </a:lnTo>
                  <a:lnTo>
                    <a:pt x="795" y="279"/>
                  </a:lnTo>
                  <a:lnTo>
                    <a:pt x="805" y="288"/>
                  </a:lnTo>
                  <a:lnTo>
                    <a:pt x="813" y="299"/>
                  </a:lnTo>
                  <a:lnTo>
                    <a:pt x="821" y="311"/>
                  </a:lnTo>
                  <a:lnTo>
                    <a:pt x="827" y="323"/>
                  </a:lnTo>
                  <a:lnTo>
                    <a:pt x="829" y="339"/>
                  </a:lnTo>
                  <a:lnTo>
                    <a:pt x="831" y="355"/>
                  </a:lnTo>
                  <a:lnTo>
                    <a:pt x="831" y="361"/>
                  </a:lnTo>
                  <a:lnTo>
                    <a:pt x="829" y="368"/>
                  </a:lnTo>
                  <a:lnTo>
                    <a:pt x="827" y="373"/>
                  </a:lnTo>
                  <a:lnTo>
                    <a:pt x="824" y="377"/>
                  </a:lnTo>
                  <a:lnTo>
                    <a:pt x="816" y="386"/>
                  </a:lnTo>
                  <a:lnTo>
                    <a:pt x="807" y="394"/>
                  </a:lnTo>
                  <a:lnTo>
                    <a:pt x="799" y="402"/>
                  </a:lnTo>
                  <a:lnTo>
                    <a:pt x="791" y="410"/>
                  </a:lnTo>
                  <a:lnTo>
                    <a:pt x="788" y="416"/>
                  </a:lnTo>
                  <a:lnTo>
                    <a:pt x="785" y="421"/>
                  </a:lnTo>
                  <a:lnTo>
                    <a:pt x="784" y="426"/>
                  </a:lnTo>
                  <a:lnTo>
                    <a:pt x="783" y="433"/>
                  </a:lnTo>
                  <a:lnTo>
                    <a:pt x="784" y="441"/>
                  </a:lnTo>
                  <a:lnTo>
                    <a:pt x="787" y="449"/>
                  </a:lnTo>
                  <a:lnTo>
                    <a:pt x="792" y="456"/>
                  </a:lnTo>
                  <a:lnTo>
                    <a:pt x="797" y="460"/>
                  </a:lnTo>
                  <a:lnTo>
                    <a:pt x="804" y="464"/>
                  </a:lnTo>
                  <a:lnTo>
                    <a:pt x="811" y="468"/>
                  </a:lnTo>
                  <a:lnTo>
                    <a:pt x="819" y="469"/>
                  </a:lnTo>
                  <a:lnTo>
                    <a:pt x="825" y="469"/>
                  </a:lnTo>
                  <a:lnTo>
                    <a:pt x="841" y="469"/>
                  </a:lnTo>
                  <a:lnTo>
                    <a:pt x="853" y="469"/>
                  </a:lnTo>
                  <a:lnTo>
                    <a:pt x="861" y="469"/>
                  </a:lnTo>
                  <a:lnTo>
                    <a:pt x="867" y="469"/>
                  </a:lnTo>
                  <a:lnTo>
                    <a:pt x="871" y="470"/>
                  </a:lnTo>
                  <a:lnTo>
                    <a:pt x="875" y="473"/>
                  </a:lnTo>
                  <a:lnTo>
                    <a:pt x="876" y="477"/>
                  </a:lnTo>
                  <a:lnTo>
                    <a:pt x="879" y="484"/>
                  </a:lnTo>
                  <a:lnTo>
                    <a:pt x="880" y="498"/>
                  </a:lnTo>
                  <a:lnTo>
                    <a:pt x="883" y="514"/>
                  </a:lnTo>
                  <a:lnTo>
                    <a:pt x="884" y="522"/>
                  </a:lnTo>
                  <a:lnTo>
                    <a:pt x="885" y="532"/>
                  </a:lnTo>
                  <a:lnTo>
                    <a:pt x="888" y="538"/>
                  </a:lnTo>
                  <a:lnTo>
                    <a:pt x="891" y="545"/>
                  </a:lnTo>
                  <a:lnTo>
                    <a:pt x="895" y="552"/>
                  </a:lnTo>
                  <a:lnTo>
                    <a:pt x="900" y="556"/>
                  </a:lnTo>
                  <a:lnTo>
                    <a:pt x="907" y="558"/>
                  </a:lnTo>
                  <a:lnTo>
                    <a:pt x="916" y="560"/>
                  </a:lnTo>
                  <a:lnTo>
                    <a:pt x="940" y="560"/>
                  </a:lnTo>
                  <a:lnTo>
                    <a:pt x="952" y="560"/>
                  </a:lnTo>
                  <a:lnTo>
                    <a:pt x="963" y="578"/>
                  </a:lnTo>
                  <a:lnTo>
                    <a:pt x="988" y="622"/>
                  </a:lnTo>
                  <a:lnTo>
                    <a:pt x="1015" y="669"/>
                  </a:lnTo>
                  <a:lnTo>
                    <a:pt x="1029" y="698"/>
                  </a:lnTo>
                  <a:lnTo>
                    <a:pt x="1033" y="700"/>
                  </a:lnTo>
                  <a:lnTo>
                    <a:pt x="1035" y="701"/>
                  </a:lnTo>
                  <a:lnTo>
                    <a:pt x="1039" y="704"/>
                  </a:lnTo>
                  <a:lnTo>
                    <a:pt x="1048" y="704"/>
                  </a:lnTo>
                  <a:lnTo>
                    <a:pt x="1017" y="704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accent1">
                  <a:lumMod val="20000"/>
                  <a:lumOff val="8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95" b="0" i="0" u="none" strike="noStrike" kern="1200" cap="none" spc="0" normalizeH="0" baseline="0" noProof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8" name="Freeform 62"/>
            <p:cNvSpPr>
              <a:spLocks/>
            </p:cNvSpPr>
            <p:nvPr/>
          </p:nvSpPr>
          <p:spPr bwMode="auto">
            <a:xfrm>
              <a:off x="4831794" y="2375223"/>
              <a:ext cx="43626" cy="35136"/>
            </a:xfrm>
            <a:custGeom>
              <a:avLst/>
              <a:gdLst>
                <a:gd name="T0" fmla="*/ 92 w 602"/>
                <a:gd name="T1" fmla="*/ 61 h 487"/>
                <a:gd name="T2" fmla="*/ 97 w 602"/>
                <a:gd name="T3" fmla="*/ 70 h 487"/>
                <a:gd name="T4" fmla="*/ 109 w 602"/>
                <a:gd name="T5" fmla="*/ 72 h 487"/>
                <a:gd name="T6" fmla="*/ 125 w 602"/>
                <a:gd name="T7" fmla="*/ 62 h 487"/>
                <a:gd name="T8" fmla="*/ 138 w 602"/>
                <a:gd name="T9" fmla="*/ 46 h 487"/>
                <a:gd name="T10" fmla="*/ 173 w 602"/>
                <a:gd name="T11" fmla="*/ 41 h 487"/>
                <a:gd name="T12" fmla="*/ 205 w 602"/>
                <a:gd name="T13" fmla="*/ 41 h 487"/>
                <a:gd name="T14" fmla="*/ 233 w 602"/>
                <a:gd name="T15" fmla="*/ 36 h 487"/>
                <a:gd name="T16" fmla="*/ 263 w 602"/>
                <a:gd name="T17" fmla="*/ 26 h 487"/>
                <a:gd name="T18" fmla="*/ 299 w 602"/>
                <a:gd name="T19" fmla="*/ 25 h 487"/>
                <a:gd name="T20" fmla="*/ 326 w 602"/>
                <a:gd name="T21" fmla="*/ 33 h 487"/>
                <a:gd name="T22" fmla="*/ 355 w 602"/>
                <a:gd name="T23" fmla="*/ 41 h 487"/>
                <a:gd name="T24" fmla="*/ 395 w 602"/>
                <a:gd name="T25" fmla="*/ 38 h 487"/>
                <a:gd name="T26" fmla="*/ 426 w 602"/>
                <a:gd name="T27" fmla="*/ 24 h 487"/>
                <a:gd name="T28" fmla="*/ 446 w 602"/>
                <a:gd name="T29" fmla="*/ 0 h 487"/>
                <a:gd name="T30" fmla="*/ 446 w 602"/>
                <a:gd name="T31" fmla="*/ 48 h 487"/>
                <a:gd name="T32" fmla="*/ 450 w 602"/>
                <a:gd name="T33" fmla="*/ 80 h 487"/>
                <a:gd name="T34" fmla="*/ 470 w 602"/>
                <a:gd name="T35" fmla="*/ 102 h 487"/>
                <a:gd name="T36" fmla="*/ 494 w 602"/>
                <a:gd name="T37" fmla="*/ 114 h 487"/>
                <a:gd name="T38" fmla="*/ 514 w 602"/>
                <a:gd name="T39" fmla="*/ 156 h 487"/>
                <a:gd name="T40" fmla="*/ 541 w 602"/>
                <a:gd name="T41" fmla="*/ 186 h 487"/>
                <a:gd name="T42" fmla="*/ 554 w 602"/>
                <a:gd name="T43" fmla="*/ 222 h 487"/>
                <a:gd name="T44" fmla="*/ 561 w 602"/>
                <a:gd name="T45" fmla="*/ 257 h 487"/>
                <a:gd name="T46" fmla="*/ 582 w 602"/>
                <a:gd name="T47" fmla="*/ 271 h 487"/>
                <a:gd name="T48" fmla="*/ 602 w 602"/>
                <a:gd name="T49" fmla="*/ 301 h 487"/>
                <a:gd name="T50" fmla="*/ 589 w 602"/>
                <a:gd name="T51" fmla="*/ 319 h 487"/>
                <a:gd name="T52" fmla="*/ 585 w 602"/>
                <a:gd name="T53" fmla="*/ 330 h 487"/>
                <a:gd name="T54" fmla="*/ 583 w 602"/>
                <a:gd name="T55" fmla="*/ 353 h 487"/>
                <a:gd name="T56" fmla="*/ 569 w 602"/>
                <a:gd name="T57" fmla="*/ 386 h 487"/>
                <a:gd name="T58" fmla="*/ 533 w 602"/>
                <a:gd name="T59" fmla="*/ 419 h 487"/>
                <a:gd name="T60" fmla="*/ 454 w 602"/>
                <a:gd name="T61" fmla="*/ 462 h 487"/>
                <a:gd name="T62" fmla="*/ 387 w 602"/>
                <a:gd name="T63" fmla="*/ 479 h 487"/>
                <a:gd name="T64" fmla="*/ 363 w 602"/>
                <a:gd name="T65" fmla="*/ 453 h 487"/>
                <a:gd name="T66" fmla="*/ 339 w 602"/>
                <a:gd name="T67" fmla="*/ 437 h 487"/>
                <a:gd name="T68" fmla="*/ 319 w 602"/>
                <a:gd name="T69" fmla="*/ 433 h 487"/>
                <a:gd name="T70" fmla="*/ 302 w 602"/>
                <a:gd name="T71" fmla="*/ 437 h 487"/>
                <a:gd name="T72" fmla="*/ 289 w 602"/>
                <a:gd name="T73" fmla="*/ 451 h 487"/>
                <a:gd name="T74" fmla="*/ 273 w 602"/>
                <a:gd name="T75" fmla="*/ 466 h 487"/>
                <a:gd name="T76" fmla="*/ 253 w 602"/>
                <a:gd name="T77" fmla="*/ 469 h 487"/>
                <a:gd name="T78" fmla="*/ 233 w 602"/>
                <a:gd name="T79" fmla="*/ 462 h 487"/>
                <a:gd name="T80" fmla="*/ 209 w 602"/>
                <a:gd name="T81" fmla="*/ 433 h 487"/>
                <a:gd name="T82" fmla="*/ 189 w 602"/>
                <a:gd name="T83" fmla="*/ 403 h 487"/>
                <a:gd name="T84" fmla="*/ 174 w 602"/>
                <a:gd name="T85" fmla="*/ 397 h 487"/>
                <a:gd name="T86" fmla="*/ 158 w 602"/>
                <a:gd name="T87" fmla="*/ 402 h 487"/>
                <a:gd name="T88" fmla="*/ 143 w 602"/>
                <a:gd name="T89" fmla="*/ 413 h 487"/>
                <a:gd name="T90" fmla="*/ 128 w 602"/>
                <a:gd name="T91" fmla="*/ 414 h 487"/>
                <a:gd name="T92" fmla="*/ 117 w 602"/>
                <a:gd name="T93" fmla="*/ 410 h 487"/>
                <a:gd name="T94" fmla="*/ 105 w 602"/>
                <a:gd name="T95" fmla="*/ 390 h 487"/>
                <a:gd name="T96" fmla="*/ 101 w 602"/>
                <a:gd name="T97" fmla="*/ 361 h 487"/>
                <a:gd name="T98" fmla="*/ 94 w 602"/>
                <a:gd name="T99" fmla="*/ 317 h 487"/>
                <a:gd name="T100" fmla="*/ 85 w 602"/>
                <a:gd name="T101" fmla="*/ 307 h 487"/>
                <a:gd name="T102" fmla="*/ 73 w 602"/>
                <a:gd name="T103" fmla="*/ 306 h 487"/>
                <a:gd name="T104" fmla="*/ 36 w 602"/>
                <a:gd name="T105" fmla="*/ 306 h 487"/>
                <a:gd name="T106" fmla="*/ 14 w 602"/>
                <a:gd name="T107" fmla="*/ 301 h 487"/>
                <a:gd name="T108" fmla="*/ 2 w 602"/>
                <a:gd name="T109" fmla="*/ 286 h 487"/>
                <a:gd name="T110" fmla="*/ 1 w 602"/>
                <a:gd name="T111" fmla="*/ 251 h 487"/>
                <a:gd name="T112" fmla="*/ 14 w 602"/>
                <a:gd name="T113" fmla="*/ 195 h 487"/>
                <a:gd name="T114" fmla="*/ 37 w 602"/>
                <a:gd name="T115" fmla="*/ 140 h 487"/>
                <a:gd name="T116" fmla="*/ 76 w 602"/>
                <a:gd name="T117" fmla="*/ 69 h 487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02"/>
                <a:gd name="T178" fmla="*/ 0 h 487"/>
                <a:gd name="T179" fmla="*/ 602 w 602"/>
                <a:gd name="T180" fmla="*/ 487 h 487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02" h="487">
                  <a:moveTo>
                    <a:pt x="90" y="48"/>
                  </a:moveTo>
                  <a:lnTo>
                    <a:pt x="90" y="56"/>
                  </a:lnTo>
                  <a:lnTo>
                    <a:pt x="92" y="61"/>
                  </a:lnTo>
                  <a:lnTo>
                    <a:pt x="93" y="66"/>
                  </a:lnTo>
                  <a:lnTo>
                    <a:pt x="94" y="69"/>
                  </a:lnTo>
                  <a:lnTo>
                    <a:pt x="97" y="70"/>
                  </a:lnTo>
                  <a:lnTo>
                    <a:pt x="101" y="72"/>
                  </a:lnTo>
                  <a:lnTo>
                    <a:pt x="104" y="72"/>
                  </a:lnTo>
                  <a:lnTo>
                    <a:pt x="109" y="72"/>
                  </a:lnTo>
                  <a:lnTo>
                    <a:pt x="114" y="70"/>
                  </a:lnTo>
                  <a:lnTo>
                    <a:pt x="120" y="68"/>
                  </a:lnTo>
                  <a:lnTo>
                    <a:pt x="125" y="62"/>
                  </a:lnTo>
                  <a:lnTo>
                    <a:pt x="129" y="57"/>
                  </a:lnTo>
                  <a:lnTo>
                    <a:pt x="134" y="52"/>
                  </a:lnTo>
                  <a:lnTo>
                    <a:pt x="138" y="46"/>
                  </a:lnTo>
                  <a:lnTo>
                    <a:pt x="145" y="42"/>
                  </a:lnTo>
                  <a:lnTo>
                    <a:pt x="150" y="41"/>
                  </a:lnTo>
                  <a:lnTo>
                    <a:pt x="173" y="41"/>
                  </a:lnTo>
                  <a:lnTo>
                    <a:pt x="186" y="41"/>
                  </a:lnTo>
                  <a:lnTo>
                    <a:pt x="197" y="41"/>
                  </a:lnTo>
                  <a:lnTo>
                    <a:pt x="205" y="41"/>
                  </a:lnTo>
                  <a:lnTo>
                    <a:pt x="214" y="41"/>
                  </a:lnTo>
                  <a:lnTo>
                    <a:pt x="223" y="38"/>
                  </a:lnTo>
                  <a:lnTo>
                    <a:pt x="233" y="36"/>
                  </a:lnTo>
                  <a:lnTo>
                    <a:pt x="242" y="33"/>
                  </a:lnTo>
                  <a:lnTo>
                    <a:pt x="253" y="29"/>
                  </a:lnTo>
                  <a:lnTo>
                    <a:pt x="263" y="26"/>
                  </a:lnTo>
                  <a:lnTo>
                    <a:pt x="275" y="25"/>
                  </a:lnTo>
                  <a:lnTo>
                    <a:pt x="289" y="24"/>
                  </a:lnTo>
                  <a:lnTo>
                    <a:pt x="299" y="25"/>
                  </a:lnTo>
                  <a:lnTo>
                    <a:pt x="309" y="26"/>
                  </a:lnTo>
                  <a:lnTo>
                    <a:pt x="318" y="29"/>
                  </a:lnTo>
                  <a:lnTo>
                    <a:pt x="326" y="33"/>
                  </a:lnTo>
                  <a:lnTo>
                    <a:pt x="334" y="36"/>
                  </a:lnTo>
                  <a:lnTo>
                    <a:pt x="343" y="38"/>
                  </a:lnTo>
                  <a:lnTo>
                    <a:pt x="355" y="41"/>
                  </a:lnTo>
                  <a:lnTo>
                    <a:pt x="367" y="41"/>
                  </a:lnTo>
                  <a:lnTo>
                    <a:pt x="382" y="41"/>
                  </a:lnTo>
                  <a:lnTo>
                    <a:pt x="395" y="38"/>
                  </a:lnTo>
                  <a:lnTo>
                    <a:pt x="407" y="34"/>
                  </a:lnTo>
                  <a:lnTo>
                    <a:pt x="418" y="29"/>
                  </a:lnTo>
                  <a:lnTo>
                    <a:pt x="426" y="24"/>
                  </a:lnTo>
                  <a:lnTo>
                    <a:pt x="434" y="16"/>
                  </a:lnTo>
                  <a:lnTo>
                    <a:pt x="441" y="8"/>
                  </a:lnTo>
                  <a:lnTo>
                    <a:pt x="446" y="0"/>
                  </a:lnTo>
                  <a:lnTo>
                    <a:pt x="446" y="21"/>
                  </a:lnTo>
                  <a:lnTo>
                    <a:pt x="446" y="37"/>
                  </a:lnTo>
                  <a:lnTo>
                    <a:pt x="446" y="48"/>
                  </a:lnTo>
                  <a:lnTo>
                    <a:pt x="446" y="60"/>
                  </a:lnTo>
                  <a:lnTo>
                    <a:pt x="447" y="70"/>
                  </a:lnTo>
                  <a:lnTo>
                    <a:pt x="450" y="80"/>
                  </a:lnTo>
                  <a:lnTo>
                    <a:pt x="455" y="89"/>
                  </a:lnTo>
                  <a:lnTo>
                    <a:pt x="463" y="96"/>
                  </a:lnTo>
                  <a:lnTo>
                    <a:pt x="470" y="102"/>
                  </a:lnTo>
                  <a:lnTo>
                    <a:pt x="478" y="108"/>
                  </a:lnTo>
                  <a:lnTo>
                    <a:pt x="486" y="112"/>
                  </a:lnTo>
                  <a:lnTo>
                    <a:pt x="494" y="114"/>
                  </a:lnTo>
                  <a:lnTo>
                    <a:pt x="499" y="129"/>
                  </a:lnTo>
                  <a:lnTo>
                    <a:pt x="506" y="144"/>
                  </a:lnTo>
                  <a:lnTo>
                    <a:pt x="514" y="156"/>
                  </a:lnTo>
                  <a:lnTo>
                    <a:pt x="522" y="168"/>
                  </a:lnTo>
                  <a:lnTo>
                    <a:pt x="531" y="177"/>
                  </a:lnTo>
                  <a:lnTo>
                    <a:pt x="541" y="186"/>
                  </a:lnTo>
                  <a:lnTo>
                    <a:pt x="551" y="193"/>
                  </a:lnTo>
                  <a:lnTo>
                    <a:pt x="559" y="198"/>
                  </a:lnTo>
                  <a:lnTo>
                    <a:pt x="554" y="222"/>
                  </a:lnTo>
                  <a:lnTo>
                    <a:pt x="555" y="237"/>
                  </a:lnTo>
                  <a:lnTo>
                    <a:pt x="557" y="247"/>
                  </a:lnTo>
                  <a:lnTo>
                    <a:pt x="561" y="257"/>
                  </a:lnTo>
                  <a:lnTo>
                    <a:pt x="567" y="263"/>
                  </a:lnTo>
                  <a:lnTo>
                    <a:pt x="574" y="267"/>
                  </a:lnTo>
                  <a:lnTo>
                    <a:pt x="582" y="271"/>
                  </a:lnTo>
                  <a:lnTo>
                    <a:pt x="591" y="274"/>
                  </a:lnTo>
                  <a:lnTo>
                    <a:pt x="602" y="277"/>
                  </a:lnTo>
                  <a:lnTo>
                    <a:pt x="602" y="301"/>
                  </a:lnTo>
                  <a:lnTo>
                    <a:pt x="597" y="309"/>
                  </a:lnTo>
                  <a:lnTo>
                    <a:pt x="591" y="315"/>
                  </a:lnTo>
                  <a:lnTo>
                    <a:pt x="589" y="319"/>
                  </a:lnTo>
                  <a:lnTo>
                    <a:pt x="586" y="322"/>
                  </a:lnTo>
                  <a:lnTo>
                    <a:pt x="585" y="326"/>
                  </a:lnTo>
                  <a:lnTo>
                    <a:pt x="585" y="330"/>
                  </a:lnTo>
                  <a:lnTo>
                    <a:pt x="585" y="338"/>
                  </a:lnTo>
                  <a:lnTo>
                    <a:pt x="585" y="346"/>
                  </a:lnTo>
                  <a:lnTo>
                    <a:pt x="583" y="353"/>
                  </a:lnTo>
                  <a:lnTo>
                    <a:pt x="582" y="361"/>
                  </a:lnTo>
                  <a:lnTo>
                    <a:pt x="577" y="374"/>
                  </a:lnTo>
                  <a:lnTo>
                    <a:pt x="569" y="386"/>
                  </a:lnTo>
                  <a:lnTo>
                    <a:pt x="558" y="398"/>
                  </a:lnTo>
                  <a:lnTo>
                    <a:pt x="546" y="409"/>
                  </a:lnTo>
                  <a:lnTo>
                    <a:pt x="533" y="419"/>
                  </a:lnTo>
                  <a:lnTo>
                    <a:pt x="518" y="429"/>
                  </a:lnTo>
                  <a:lnTo>
                    <a:pt x="486" y="446"/>
                  </a:lnTo>
                  <a:lnTo>
                    <a:pt x="454" y="462"/>
                  </a:lnTo>
                  <a:lnTo>
                    <a:pt x="423" y="475"/>
                  </a:lnTo>
                  <a:lnTo>
                    <a:pt x="397" y="487"/>
                  </a:lnTo>
                  <a:lnTo>
                    <a:pt x="387" y="479"/>
                  </a:lnTo>
                  <a:lnTo>
                    <a:pt x="378" y="471"/>
                  </a:lnTo>
                  <a:lnTo>
                    <a:pt x="370" y="462"/>
                  </a:lnTo>
                  <a:lnTo>
                    <a:pt x="363" y="453"/>
                  </a:lnTo>
                  <a:lnTo>
                    <a:pt x="354" y="445"/>
                  </a:lnTo>
                  <a:lnTo>
                    <a:pt x="345" y="439"/>
                  </a:lnTo>
                  <a:lnTo>
                    <a:pt x="339" y="437"/>
                  </a:lnTo>
                  <a:lnTo>
                    <a:pt x="333" y="434"/>
                  </a:lnTo>
                  <a:lnTo>
                    <a:pt x="326" y="433"/>
                  </a:lnTo>
                  <a:lnTo>
                    <a:pt x="319" y="433"/>
                  </a:lnTo>
                  <a:lnTo>
                    <a:pt x="311" y="433"/>
                  </a:lnTo>
                  <a:lnTo>
                    <a:pt x="306" y="434"/>
                  </a:lnTo>
                  <a:lnTo>
                    <a:pt x="302" y="437"/>
                  </a:lnTo>
                  <a:lnTo>
                    <a:pt x="298" y="438"/>
                  </a:lnTo>
                  <a:lnTo>
                    <a:pt x="293" y="445"/>
                  </a:lnTo>
                  <a:lnTo>
                    <a:pt x="289" y="451"/>
                  </a:lnTo>
                  <a:lnTo>
                    <a:pt x="283" y="458"/>
                  </a:lnTo>
                  <a:lnTo>
                    <a:pt x="278" y="463"/>
                  </a:lnTo>
                  <a:lnTo>
                    <a:pt x="273" y="466"/>
                  </a:lnTo>
                  <a:lnTo>
                    <a:pt x="267" y="467"/>
                  </a:lnTo>
                  <a:lnTo>
                    <a:pt x="261" y="469"/>
                  </a:lnTo>
                  <a:lnTo>
                    <a:pt x="253" y="469"/>
                  </a:lnTo>
                  <a:lnTo>
                    <a:pt x="245" y="469"/>
                  </a:lnTo>
                  <a:lnTo>
                    <a:pt x="238" y="466"/>
                  </a:lnTo>
                  <a:lnTo>
                    <a:pt x="233" y="462"/>
                  </a:lnTo>
                  <a:lnTo>
                    <a:pt x="227" y="458"/>
                  </a:lnTo>
                  <a:lnTo>
                    <a:pt x="218" y="446"/>
                  </a:lnTo>
                  <a:lnTo>
                    <a:pt x="209" y="433"/>
                  </a:lnTo>
                  <a:lnTo>
                    <a:pt x="201" y="419"/>
                  </a:lnTo>
                  <a:lnTo>
                    <a:pt x="194" y="409"/>
                  </a:lnTo>
                  <a:lnTo>
                    <a:pt x="189" y="403"/>
                  </a:lnTo>
                  <a:lnTo>
                    <a:pt x="185" y="399"/>
                  </a:lnTo>
                  <a:lnTo>
                    <a:pt x="179" y="398"/>
                  </a:lnTo>
                  <a:lnTo>
                    <a:pt x="174" y="397"/>
                  </a:lnTo>
                  <a:lnTo>
                    <a:pt x="169" y="398"/>
                  </a:lnTo>
                  <a:lnTo>
                    <a:pt x="163" y="399"/>
                  </a:lnTo>
                  <a:lnTo>
                    <a:pt x="158" y="402"/>
                  </a:lnTo>
                  <a:lnTo>
                    <a:pt x="154" y="406"/>
                  </a:lnTo>
                  <a:lnTo>
                    <a:pt x="149" y="409"/>
                  </a:lnTo>
                  <a:lnTo>
                    <a:pt x="143" y="413"/>
                  </a:lnTo>
                  <a:lnTo>
                    <a:pt x="138" y="414"/>
                  </a:lnTo>
                  <a:lnTo>
                    <a:pt x="133" y="415"/>
                  </a:lnTo>
                  <a:lnTo>
                    <a:pt x="128" y="414"/>
                  </a:lnTo>
                  <a:lnTo>
                    <a:pt x="124" y="414"/>
                  </a:lnTo>
                  <a:lnTo>
                    <a:pt x="120" y="413"/>
                  </a:lnTo>
                  <a:lnTo>
                    <a:pt x="117" y="410"/>
                  </a:lnTo>
                  <a:lnTo>
                    <a:pt x="112" y="405"/>
                  </a:lnTo>
                  <a:lnTo>
                    <a:pt x="108" y="398"/>
                  </a:lnTo>
                  <a:lnTo>
                    <a:pt x="105" y="390"/>
                  </a:lnTo>
                  <a:lnTo>
                    <a:pt x="102" y="381"/>
                  </a:lnTo>
                  <a:lnTo>
                    <a:pt x="101" y="371"/>
                  </a:lnTo>
                  <a:lnTo>
                    <a:pt x="101" y="361"/>
                  </a:lnTo>
                  <a:lnTo>
                    <a:pt x="100" y="341"/>
                  </a:lnTo>
                  <a:lnTo>
                    <a:pt x="97" y="323"/>
                  </a:lnTo>
                  <a:lnTo>
                    <a:pt x="94" y="317"/>
                  </a:lnTo>
                  <a:lnTo>
                    <a:pt x="90" y="311"/>
                  </a:lnTo>
                  <a:lnTo>
                    <a:pt x="88" y="309"/>
                  </a:lnTo>
                  <a:lnTo>
                    <a:pt x="85" y="307"/>
                  </a:lnTo>
                  <a:lnTo>
                    <a:pt x="82" y="307"/>
                  </a:lnTo>
                  <a:lnTo>
                    <a:pt x="78" y="306"/>
                  </a:lnTo>
                  <a:lnTo>
                    <a:pt x="73" y="306"/>
                  </a:lnTo>
                  <a:lnTo>
                    <a:pt x="64" y="306"/>
                  </a:lnTo>
                  <a:lnTo>
                    <a:pt x="52" y="306"/>
                  </a:lnTo>
                  <a:lnTo>
                    <a:pt x="36" y="306"/>
                  </a:lnTo>
                  <a:lnTo>
                    <a:pt x="28" y="306"/>
                  </a:lnTo>
                  <a:lnTo>
                    <a:pt x="21" y="305"/>
                  </a:lnTo>
                  <a:lnTo>
                    <a:pt x="14" y="301"/>
                  </a:lnTo>
                  <a:lnTo>
                    <a:pt x="9" y="298"/>
                  </a:lnTo>
                  <a:lnTo>
                    <a:pt x="5" y="293"/>
                  </a:lnTo>
                  <a:lnTo>
                    <a:pt x="2" y="286"/>
                  </a:lnTo>
                  <a:lnTo>
                    <a:pt x="1" y="279"/>
                  </a:lnTo>
                  <a:lnTo>
                    <a:pt x="0" y="270"/>
                  </a:lnTo>
                  <a:lnTo>
                    <a:pt x="1" y="251"/>
                  </a:lnTo>
                  <a:lnTo>
                    <a:pt x="4" y="233"/>
                  </a:lnTo>
                  <a:lnTo>
                    <a:pt x="9" y="214"/>
                  </a:lnTo>
                  <a:lnTo>
                    <a:pt x="14" y="195"/>
                  </a:lnTo>
                  <a:lnTo>
                    <a:pt x="21" y="176"/>
                  </a:lnTo>
                  <a:lnTo>
                    <a:pt x="29" y="158"/>
                  </a:lnTo>
                  <a:lnTo>
                    <a:pt x="37" y="140"/>
                  </a:lnTo>
                  <a:lnTo>
                    <a:pt x="45" y="122"/>
                  </a:lnTo>
                  <a:lnTo>
                    <a:pt x="62" y="93"/>
                  </a:lnTo>
                  <a:lnTo>
                    <a:pt x="76" y="69"/>
                  </a:lnTo>
                  <a:lnTo>
                    <a:pt x="86" y="53"/>
                  </a:lnTo>
                  <a:lnTo>
                    <a:pt x="90" y="48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accent1">
                  <a:lumMod val="20000"/>
                  <a:lumOff val="8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95" b="0" i="0" u="none" strike="noStrike" kern="1200" cap="none" spc="0" normalizeH="0" baseline="0" noProof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9" name="Freeform 67"/>
            <p:cNvSpPr>
              <a:spLocks/>
            </p:cNvSpPr>
            <p:nvPr/>
          </p:nvSpPr>
          <p:spPr bwMode="auto">
            <a:xfrm>
              <a:off x="4759635" y="2341029"/>
              <a:ext cx="41268" cy="39381"/>
            </a:xfrm>
            <a:custGeom>
              <a:avLst/>
              <a:gdLst>
                <a:gd name="T0" fmla="*/ 314 w 571"/>
                <a:gd name="T1" fmla="*/ 85 h 548"/>
                <a:gd name="T2" fmla="*/ 308 w 571"/>
                <a:gd name="T3" fmla="*/ 100 h 548"/>
                <a:gd name="T4" fmla="*/ 294 w 571"/>
                <a:gd name="T5" fmla="*/ 108 h 548"/>
                <a:gd name="T6" fmla="*/ 256 w 571"/>
                <a:gd name="T7" fmla="*/ 98 h 548"/>
                <a:gd name="T8" fmla="*/ 226 w 571"/>
                <a:gd name="T9" fmla="*/ 74 h 548"/>
                <a:gd name="T10" fmla="*/ 193 w 571"/>
                <a:gd name="T11" fmla="*/ 35 h 548"/>
                <a:gd name="T12" fmla="*/ 158 w 571"/>
                <a:gd name="T13" fmla="*/ 4 h 548"/>
                <a:gd name="T14" fmla="*/ 133 w 571"/>
                <a:gd name="T15" fmla="*/ 0 h 548"/>
                <a:gd name="T16" fmla="*/ 122 w 571"/>
                <a:gd name="T17" fmla="*/ 8 h 548"/>
                <a:gd name="T18" fmla="*/ 118 w 571"/>
                <a:gd name="T19" fmla="*/ 45 h 548"/>
                <a:gd name="T20" fmla="*/ 118 w 571"/>
                <a:gd name="T21" fmla="*/ 71 h 548"/>
                <a:gd name="T22" fmla="*/ 109 w 571"/>
                <a:gd name="T23" fmla="*/ 89 h 548"/>
                <a:gd name="T24" fmla="*/ 60 w 571"/>
                <a:gd name="T25" fmla="*/ 126 h 548"/>
                <a:gd name="T26" fmla="*/ 28 w 571"/>
                <a:gd name="T27" fmla="*/ 150 h 548"/>
                <a:gd name="T28" fmla="*/ 5 w 571"/>
                <a:gd name="T29" fmla="*/ 182 h 548"/>
                <a:gd name="T30" fmla="*/ 0 w 571"/>
                <a:gd name="T31" fmla="*/ 202 h 548"/>
                <a:gd name="T32" fmla="*/ 2 w 571"/>
                <a:gd name="T33" fmla="*/ 237 h 548"/>
                <a:gd name="T34" fmla="*/ 20 w 571"/>
                <a:gd name="T35" fmla="*/ 258 h 548"/>
                <a:gd name="T36" fmla="*/ 48 w 571"/>
                <a:gd name="T37" fmla="*/ 265 h 548"/>
                <a:gd name="T38" fmla="*/ 70 w 571"/>
                <a:gd name="T39" fmla="*/ 260 h 548"/>
                <a:gd name="T40" fmla="*/ 84 w 571"/>
                <a:gd name="T41" fmla="*/ 249 h 548"/>
                <a:gd name="T42" fmla="*/ 106 w 571"/>
                <a:gd name="T43" fmla="*/ 265 h 548"/>
                <a:gd name="T44" fmla="*/ 150 w 571"/>
                <a:gd name="T45" fmla="*/ 337 h 548"/>
                <a:gd name="T46" fmla="*/ 174 w 571"/>
                <a:gd name="T47" fmla="*/ 350 h 548"/>
                <a:gd name="T48" fmla="*/ 221 w 571"/>
                <a:gd name="T49" fmla="*/ 362 h 548"/>
                <a:gd name="T50" fmla="*/ 245 w 571"/>
                <a:gd name="T51" fmla="*/ 374 h 548"/>
                <a:gd name="T52" fmla="*/ 261 w 571"/>
                <a:gd name="T53" fmla="*/ 394 h 548"/>
                <a:gd name="T54" fmla="*/ 264 w 571"/>
                <a:gd name="T55" fmla="*/ 426 h 548"/>
                <a:gd name="T56" fmla="*/ 252 w 571"/>
                <a:gd name="T57" fmla="*/ 458 h 548"/>
                <a:gd name="T58" fmla="*/ 241 w 571"/>
                <a:gd name="T59" fmla="*/ 548 h 548"/>
                <a:gd name="T60" fmla="*/ 264 w 571"/>
                <a:gd name="T61" fmla="*/ 521 h 548"/>
                <a:gd name="T62" fmla="*/ 278 w 571"/>
                <a:gd name="T63" fmla="*/ 516 h 548"/>
                <a:gd name="T64" fmla="*/ 289 w 571"/>
                <a:gd name="T65" fmla="*/ 522 h 548"/>
                <a:gd name="T66" fmla="*/ 337 w 571"/>
                <a:gd name="T67" fmla="*/ 517 h 548"/>
                <a:gd name="T68" fmla="*/ 407 w 571"/>
                <a:gd name="T69" fmla="*/ 492 h 548"/>
                <a:gd name="T70" fmla="*/ 447 w 571"/>
                <a:gd name="T71" fmla="*/ 458 h 548"/>
                <a:gd name="T72" fmla="*/ 462 w 571"/>
                <a:gd name="T73" fmla="*/ 436 h 548"/>
                <a:gd name="T74" fmla="*/ 469 w 571"/>
                <a:gd name="T75" fmla="*/ 404 h 548"/>
                <a:gd name="T76" fmla="*/ 501 w 571"/>
                <a:gd name="T77" fmla="*/ 412 h 548"/>
                <a:gd name="T78" fmla="*/ 523 w 571"/>
                <a:gd name="T79" fmla="*/ 416 h 548"/>
                <a:gd name="T80" fmla="*/ 534 w 571"/>
                <a:gd name="T81" fmla="*/ 412 h 548"/>
                <a:gd name="T82" fmla="*/ 547 w 571"/>
                <a:gd name="T83" fmla="*/ 393 h 548"/>
                <a:gd name="T84" fmla="*/ 563 w 571"/>
                <a:gd name="T85" fmla="*/ 366 h 548"/>
                <a:gd name="T86" fmla="*/ 559 w 571"/>
                <a:gd name="T87" fmla="*/ 345 h 548"/>
                <a:gd name="T88" fmla="*/ 546 w 571"/>
                <a:gd name="T89" fmla="*/ 314 h 548"/>
                <a:gd name="T90" fmla="*/ 541 w 571"/>
                <a:gd name="T91" fmla="*/ 277 h 548"/>
                <a:gd name="T92" fmla="*/ 551 w 571"/>
                <a:gd name="T93" fmla="*/ 246 h 548"/>
                <a:gd name="T94" fmla="*/ 566 w 571"/>
                <a:gd name="T95" fmla="*/ 220 h 548"/>
                <a:gd name="T96" fmla="*/ 571 w 571"/>
                <a:gd name="T97" fmla="*/ 193 h 548"/>
                <a:gd name="T98" fmla="*/ 563 w 571"/>
                <a:gd name="T99" fmla="*/ 180 h 548"/>
                <a:gd name="T100" fmla="*/ 538 w 571"/>
                <a:gd name="T101" fmla="*/ 158 h 548"/>
                <a:gd name="T102" fmla="*/ 525 w 571"/>
                <a:gd name="T103" fmla="*/ 142 h 548"/>
                <a:gd name="T104" fmla="*/ 529 w 571"/>
                <a:gd name="T105" fmla="*/ 117 h 548"/>
                <a:gd name="T106" fmla="*/ 541 w 571"/>
                <a:gd name="T107" fmla="*/ 90 h 548"/>
                <a:gd name="T108" fmla="*/ 539 w 571"/>
                <a:gd name="T109" fmla="*/ 73 h 548"/>
                <a:gd name="T110" fmla="*/ 529 w 571"/>
                <a:gd name="T111" fmla="*/ 55 h 548"/>
                <a:gd name="T112" fmla="*/ 447 w 571"/>
                <a:gd name="T113" fmla="*/ 84 h 548"/>
                <a:gd name="T114" fmla="*/ 390 w 571"/>
                <a:gd name="T115" fmla="*/ 90 h 548"/>
                <a:gd name="T116" fmla="*/ 345 w 571"/>
                <a:gd name="T117" fmla="*/ 88 h 548"/>
                <a:gd name="T118" fmla="*/ 336 w 571"/>
                <a:gd name="T119" fmla="*/ 80 h 548"/>
                <a:gd name="T120" fmla="*/ 332 w 571"/>
                <a:gd name="T121" fmla="*/ 67 h 54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571"/>
                <a:gd name="T184" fmla="*/ 0 h 548"/>
                <a:gd name="T185" fmla="*/ 571 w 571"/>
                <a:gd name="T186" fmla="*/ 548 h 54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571" h="548">
                  <a:moveTo>
                    <a:pt x="325" y="78"/>
                  </a:moveTo>
                  <a:lnTo>
                    <a:pt x="318" y="81"/>
                  </a:lnTo>
                  <a:lnTo>
                    <a:pt x="314" y="85"/>
                  </a:lnTo>
                  <a:lnTo>
                    <a:pt x="312" y="90"/>
                  </a:lnTo>
                  <a:lnTo>
                    <a:pt x="309" y="96"/>
                  </a:lnTo>
                  <a:lnTo>
                    <a:pt x="308" y="100"/>
                  </a:lnTo>
                  <a:lnTo>
                    <a:pt x="305" y="104"/>
                  </a:lnTo>
                  <a:lnTo>
                    <a:pt x="300" y="106"/>
                  </a:lnTo>
                  <a:lnTo>
                    <a:pt x="294" y="108"/>
                  </a:lnTo>
                  <a:lnTo>
                    <a:pt x="281" y="106"/>
                  </a:lnTo>
                  <a:lnTo>
                    <a:pt x="268" y="104"/>
                  </a:lnTo>
                  <a:lnTo>
                    <a:pt x="256" y="98"/>
                  </a:lnTo>
                  <a:lnTo>
                    <a:pt x="245" y="92"/>
                  </a:lnTo>
                  <a:lnTo>
                    <a:pt x="236" y="82"/>
                  </a:lnTo>
                  <a:lnTo>
                    <a:pt x="226" y="74"/>
                  </a:lnTo>
                  <a:lnTo>
                    <a:pt x="218" y="64"/>
                  </a:lnTo>
                  <a:lnTo>
                    <a:pt x="209" y="55"/>
                  </a:lnTo>
                  <a:lnTo>
                    <a:pt x="193" y="35"/>
                  </a:lnTo>
                  <a:lnTo>
                    <a:pt x="177" y="17"/>
                  </a:lnTo>
                  <a:lnTo>
                    <a:pt x="168" y="9"/>
                  </a:lnTo>
                  <a:lnTo>
                    <a:pt x="158" y="4"/>
                  </a:lnTo>
                  <a:lnTo>
                    <a:pt x="149" y="1"/>
                  </a:lnTo>
                  <a:lnTo>
                    <a:pt x="138" y="0"/>
                  </a:lnTo>
                  <a:lnTo>
                    <a:pt x="133" y="0"/>
                  </a:lnTo>
                  <a:lnTo>
                    <a:pt x="129" y="3"/>
                  </a:lnTo>
                  <a:lnTo>
                    <a:pt x="125" y="4"/>
                  </a:lnTo>
                  <a:lnTo>
                    <a:pt x="122" y="8"/>
                  </a:lnTo>
                  <a:lnTo>
                    <a:pt x="118" y="16"/>
                  </a:lnTo>
                  <a:lnTo>
                    <a:pt x="117" y="25"/>
                  </a:lnTo>
                  <a:lnTo>
                    <a:pt x="118" y="45"/>
                  </a:lnTo>
                  <a:lnTo>
                    <a:pt x="120" y="60"/>
                  </a:lnTo>
                  <a:lnTo>
                    <a:pt x="120" y="65"/>
                  </a:lnTo>
                  <a:lnTo>
                    <a:pt x="118" y="71"/>
                  </a:lnTo>
                  <a:lnTo>
                    <a:pt x="117" y="76"/>
                  </a:lnTo>
                  <a:lnTo>
                    <a:pt x="114" y="80"/>
                  </a:lnTo>
                  <a:lnTo>
                    <a:pt x="109" y="89"/>
                  </a:lnTo>
                  <a:lnTo>
                    <a:pt x="101" y="97"/>
                  </a:lnTo>
                  <a:lnTo>
                    <a:pt x="82" y="112"/>
                  </a:lnTo>
                  <a:lnTo>
                    <a:pt x="60" y="126"/>
                  </a:lnTo>
                  <a:lnTo>
                    <a:pt x="49" y="133"/>
                  </a:lnTo>
                  <a:lnTo>
                    <a:pt x="37" y="141"/>
                  </a:lnTo>
                  <a:lnTo>
                    <a:pt x="28" y="150"/>
                  </a:lnTo>
                  <a:lnTo>
                    <a:pt x="18" y="160"/>
                  </a:lnTo>
                  <a:lnTo>
                    <a:pt x="10" y="170"/>
                  </a:lnTo>
                  <a:lnTo>
                    <a:pt x="5" y="182"/>
                  </a:lnTo>
                  <a:lnTo>
                    <a:pt x="2" y="189"/>
                  </a:lnTo>
                  <a:lnTo>
                    <a:pt x="1" y="196"/>
                  </a:lnTo>
                  <a:lnTo>
                    <a:pt x="0" y="202"/>
                  </a:lnTo>
                  <a:lnTo>
                    <a:pt x="0" y="210"/>
                  </a:lnTo>
                  <a:lnTo>
                    <a:pt x="0" y="225"/>
                  </a:lnTo>
                  <a:lnTo>
                    <a:pt x="2" y="237"/>
                  </a:lnTo>
                  <a:lnTo>
                    <a:pt x="6" y="246"/>
                  </a:lnTo>
                  <a:lnTo>
                    <a:pt x="12" y="253"/>
                  </a:lnTo>
                  <a:lnTo>
                    <a:pt x="20" y="258"/>
                  </a:lnTo>
                  <a:lnTo>
                    <a:pt x="28" y="262"/>
                  </a:lnTo>
                  <a:lnTo>
                    <a:pt x="37" y="264"/>
                  </a:lnTo>
                  <a:lnTo>
                    <a:pt x="48" y="265"/>
                  </a:lnTo>
                  <a:lnTo>
                    <a:pt x="56" y="264"/>
                  </a:lnTo>
                  <a:lnTo>
                    <a:pt x="64" y="262"/>
                  </a:lnTo>
                  <a:lnTo>
                    <a:pt x="70" y="260"/>
                  </a:lnTo>
                  <a:lnTo>
                    <a:pt x="76" y="257"/>
                  </a:lnTo>
                  <a:lnTo>
                    <a:pt x="80" y="253"/>
                  </a:lnTo>
                  <a:lnTo>
                    <a:pt x="84" y="249"/>
                  </a:lnTo>
                  <a:lnTo>
                    <a:pt x="88" y="245"/>
                  </a:lnTo>
                  <a:lnTo>
                    <a:pt x="90" y="241"/>
                  </a:lnTo>
                  <a:lnTo>
                    <a:pt x="106" y="265"/>
                  </a:lnTo>
                  <a:lnTo>
                    <a:pt x="122" y="290"/>
                  </a:lnTo>
                  <a:lnTo>
                    <a:pt x="137" y="316"/>
                  </a:lnTo>
                  <a:lnTo>
                    <a:pt x="150" y="337"/>
                  </a:lnTo>
                  <a:lnTo>
                    <a:pt x="157" y="342"/>
                  </a:lnTo>
                  <a:lnTo>
                    <a:pt x="165" y="346"/>
                  </a:lnTo>
                  <a:lnTo>
                    <a:pt x="174" y="350"/>
                  </a:lnTo>
                  <a:lnTo>
                    <a:pt x="184" y="353"/>
                  </a:lnTo>
                  <a:lnTo>
                    <a:pt x="202" y="357"/>
                  </a:lnTo>
                  <a:lnTo>
                    <a:pt x="221" y="362"/>
                  </a:lnTo>
                  <a:lnTo>
                    <a:pt x="229" y="365"/>
                  </a:lnTo>
                  <a:lnTo>
                    <a:pt x="238" y="369"/>
                  </a:lnTo>
                  <a:lnTo>
                    <a:pt x="245" y="374"/>
                  </a:lnTo>
                  <a:lnTo>
                    <a:pt x="252" y="380"/>
                  </a:lnTo>
                  <a:lnTo>
                    <a:pt x="257" y="386"/>
                  </a:lnTo>
                  <a:lnTo>
                    <a:pt x="261" y="394"/>
                  </a:lnTo>
                  <a:lnTo>
                    <a:pt x="264" y="404"/>
                  </a:lnTo>
                  <a:lnTo>
                    <a:pt x="265" y="416"/>
                  </a:lnTo>
                  <a:lnTo>
                    <a:pt x="264" y="426"/>
                  </a:lnTo>
                  <a:lnTo>
                    <a:pt x="261" y="437"/>
                  </a:lnTo>
                  <a:lnTo>
                    <a:pt x="257" y="449"/>
                  </a:lnTo>
                  <a:lnTo>
                    <a:pt x="252" y="458"/>
                  </a:lnTo>
                  <a:lnTo>
                    <a:pt x="241" y="478"/>
                  </a:lnTo>
                  <a:lnTo>
                    <a:pt x="234" y="493"/>
                  </a:lnTo>
                  <a:lnTo>
                    <a:pt x="241" y="548"/>
                  </a:lnTo>
                  <a:lnTo>
                    <a:pt x="246" y="538"/>
                  </a:lnTo>
                  <a:lnTo>
                    <a:pt x="254" y="530"/>
                  </a:lnTo>
                  <a:lnTo>
                    <a:pt x="264" y="521"/>
                  </a:lnTo>
                  <a:lnTo>
                    <a:pt x="277" y="512"/>
                  </a:lnTo>
                  <a:lnTo>
                    <a:pt x="277" y="514"/>
                  </a:lnTo>
                  <a:lnTo>
                    <a:pt x="278" y="516"/>
                  </a:lnTo>
                  <a:lnTo>
                    <a:pt x="280" y="518"/>
                  </a:lnTo>
                  <a:lnTo>
                    <a:pt x="282" y="520"/>
                  </a:lnTo>
                  <a:lnTo>
                    <a:pt x="289" y="522"/>
                  </a:lnTo>
                  <a:lnTo>
                    <a:pt x="301" y="524"/>
                  </a:lnTo>
                  <a:lnTo>
                    <a:pt x="318" y="522"/>
                  </a:lnTo>
                  <a:lnTo>
                    <a:pt x="337" y="517"/>
                  </a:lnTo>
                  <a:lnTo>
                    <a:pt x="357" y="513"/>
                  </a:lnTo>
                  <a:lnTo>
                    <a:pt x="378" y="512"/>
                  </a:lnTo>
                  <a:lnTo>
                    <a:pt x="407" y="492"/>
                  </a:lnTo>
                  <a:lnTo>
                    <a:pt x="435" y="470"/>
                  </a:lnTo>
                  <a:lnTo>
                    <a:pt x="442" y="465"/>
                  </a:lnTo>
                  <a:lnTo>
                    <a:pt x="447" y="458"/>
                  </a:lnTo>
                  <a:lnTo>
                    <a:pt x="453" y="452"/>
                  </a:lnTo>
                  <a:lnTo>
                    <a:pt x="458" y="444"/>
                  </a:lnTo>
                  <a:lnTo>
                    <a:pt x="462" y="436"/>
                  </a:lnTo>
                  <a:lnTo>
                    <a:pt x="465" y="425"/>
                  </a:lnTo>
                  <a:lnTo>
                    <a:pt x="467" y="416"/>
                  </a:lnTo>
                  <a:lnTo>
                    <a:pt x="469" y="404"/>
                  </a:lnTo>
                  <a:lnTo>
                    <a:pt x="482" y="405"/>
                  </a:lnTo>
                  <a:lnTo>
                    <a:pt x="494" y="409"/>
                  </a:lnTo>
                  <a:lnTo>
                    <a:pt x="501" y="412"/>
                  </a:lnTo>
                  <a:lnTo>
                    <a:pt x="507" y="413"/>
                  </a:lnTo>
                  <a:lnTo>
                    <a:pt x="514" y="414"/>
                  </a:lnTo>
                  <a:lnTo>
                    <a:pt x="523" y="416"/>
                  </a:lnTo>
                  <a:lnTo>
                    <a:pt x="527" y="414"/>
                  </a:lnTo>
                  <a:lnTo>
                    <a:pt x="531" y="413"/>
                  </a:lnTo>
                  <a:lnTo>
                    <a:pt x="534" y="412"/>
                  </a:lnTo>
                  <a:lnTo>
                    <a:pt x="538" y="409"/>
                  </a:lnTo>
                  <a:lnTo>
                    <a:pt x="542" y="401"/>
                  </a:lnTo>
                  <a:lnTo>
                    <a:pt x="547" y="393"/>
                  </a:lnTo>
                  <a:lnTo>
                    <a:pt x="551" y="384"/>
                  </a:lnTo>
                  <a:lnTo>
                    <a:pt x="557" y="374"/>
                  </a:lnTo>
                  <a:lnTo>
                    <a:pt x="563" y="366"/>
                  </a:lnTo>
                  <a:lnTo>
                    <a:pt x="571" y="361"/>
                  </a:lnTo>
                  <a:lnTo>
                    <a:pt x="565" y="354"/>
                  </a:lnTo>
                  <a:lnTo>
                    <a:pt x="559" y="345"/>
                  </a:lnTo>
                  <a:lnTo>
                    <a:pt x="554" y="336"/>
                  </a:lnTo>
                  <a:lnTo>
                    <a:pt x="550" y="325"/>
                  </a:lnTo>
                  <a:lnTo>
                    <a:pt x="546" y="314"/>
                  </a:lnTo>
                  <a:lnTo>
                    <a:pt x="543" y="302"/>
                  </a:lnTo>
                  <a:lnTo>
                    <a:pt x="542" y="290"/>
                  </a:lnTo>
                  <a:lnTo>
                    <a:pt x="541" y="277"/>
                  </a:lnTo>
                  <a:lnTo>
                    <a:pt x="542" y="266"/>
                  </a:lnTo>
                  <a:lnTo>
                    <a:pt x="546" y="256"/>
                  </a:lnTo>
                  <a:lnTo>
                    <a:pt x="551" y="246"/>
                  </a:lnTo>
                  <a:lnTo>
                    <a:pt x="557" y="237"/>
                  </a:lnTo>
                  <a:lnTo>
                    <a:pt x="562" y="229"/>
                  </a:lnTo>
                  <a:lnTo>
                    <a:pt x="566" y="220"/>
                  </a:lnTo>
                  <a:lnTo>
                    <a:pt x="570" y="209"/>
                  </a:lnTo>
                  <a:lnTo>
                    <a:pt x="571" y="198"/>
                  </a:lnTo>
                  <a:lnTo>
                    <a:pt x="571" y="193"/>
                  </a:lnTo>
                  <a:lnTo>
                    <a:pt x="569" y="188"/>
                  </a:lnTo>
                  <a:lnTo>
                    <a:pt x="567" y="184"/>
                  </a:lnTo>
                  <a:lnTo>
                    <a:pt x="563" y="180"/>
                  </a:lnTo>
                  <a:lnTo>
                    <a:pt x="557" y="172"/>
                  </a:lnTo>
                  <a:lnTo>
                    <a:pt x="547" y="165"/>
                  </a:lnTo>
                  <a:lnTo>
                    <a:pt x="538" y="158"/>
                  </a:lnTo>
                  <a:lnTo>
                    <a:pt x="531" y="150"/>
                  </a:lnTo>
                  <a:lnTo>
                    <a:pt x="527" y="146"/>
                  </a:lnTo>
                  <a:lnTo>
                    <a:pt x="525" y="142"/>
                  </a:lnTo>
                  <a:lnTo>
                    <a:pt x="523" y="137"/>
                  </a:lnTo>
                  <a:lnTo>
                    <a:pt x="523" y="132"/>
                  </a:lnTo>
                  <a:lnTo>
                    <a:pt x="529" y="117"/>
                  </a:lnTo>
                  <a:lnTo>
                    <a:pt x="538" y="100"/>
                  </a:lnTo>
                  <a:lnTo>
                    <a:pt x="539" y="94"/>
                  </a:lnTo>
                  <a:lnTo>
                    <a:pt x="541" y="90"/>
                  </a:lnTo>
                  <a:lnTo>
                    <a:pt x="541" y="85"/>
                  </a:lnTo>
                  <a:lnTo>
                    <a:pt x="541" y="78"/>
                  </a:lnTo>
                  <a:lnTo>
                    <a:pt x="539" y="73"/>
                  </a:lnTo>
                  <a:lnTo>
                    <a:pt x="538" y="67"/>
                  </a:lnTo>
                  <a:lnTo>
                    <a:pt x="534" y="61"/>
                  </a:lnTo>
                  <a:lnTo>
                    <a:pt x="529" y="55"/>
                  </a:lnTo>
                  <a:lnTo>
                    <a:pt x="498" y="68"/>
                  </a:lnTo>
                  <a:lnTo>
                    <a:pt x="465" y="78"/>
                  </a:lnTo>
                  <a:lnTo>
                    <a:pt x="447" y="84"/>
                  </a:lnTo>
                  <a:lnTo>
                    <a:pt x="429" y="86"/>
                  </a:lnTo>
                  <a:lnTo>
                    <a:pt x="410" y="89"/>
                  </a:lnTo>
                  <a:lnTo>
                    <a:pt x="390" y="90"/>
                  </a:lnTo>
                  <a:lnTo>
                    <a:pt x="369" y="90"/>
                  </a:lnTo>
                  <a:lnTo>
                    <a:pt x="349" y="89"/>
                  </a:lnTo>
                  <a:lnTo>
                    <a:pt x="345" y="88"/>
                  </a:lnTo>
                  <a:lnTo>
                    <a:pt x="342" y="85"/>
                  </a:lnTo>
                  <a:lnTo>
                    <a:pt x="338" y="82"/>
                  </a:lnTo>
                  <a:lnTo>
                    <a:pt x="336" y="80"/>
                  </a:lnTo>
                  <a:lnTo>
                    <a:pt x="334" y="76"/>
                  </a:lnTo>
                  <a:lnTo>
                    <a:pt x="332" y="72"/>
                  </a:lnTo>
                  <a:lnTo>
                    <a:pt x="332" y="67"/>
                  </a:lnTo>
                  <a:lnTo>
                    <a:pt x="330" y="60"/>
                  </a:lnTo>
                  <a:lnTo>
                    <a:pt x="325" y="78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accent1">
                  <a:lumMod val="20000"/>
                  <a:lumOff val="8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95" b="0" i="0" u="none" strike="noStrike" kern="1200" cap="none" spc="0" normalizeH="0" baseline="0" noProof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0" name="Freeform 73"/>
            <p:cNvSpPr>
              <a:spLocks/>
            </p:cNvSpPr>
            <p:nvPr/>
          </p:nvSpPr>
          <p:spPr bwMode="auto">
            <a:xfrm>
              <a:off x="4750202" y="2454220"/>
              <a:ext cx="65792" cy="74517"/>
            </a:xfrm>
            <a:custGeom>
              <a:avLst/>
              <a:gdLst>
                <a:gd name="T0" fmla="*/ 789 w 916"/>
                <a:gd name="T1" fmla="*/ 57 h 1035"/>
                <a:gd name="T2" fmla="*/ 711 w 916"/>
                <a:gd name="T3" fmla="*/ 41 h 1035"/>
                <a:gd name="T4" fmla="*/ 633 w 916"/>
                <a:gd name="T5" fmla="*/ 0 h 1035"/>
                <a:gd name="T6" fmla="*/ 612 w 916"/>
                <a:gd name="T7" fmla="*/ 12 h 1035"/>
                <a:gd name="T8" fmla="*/ 605 w 916"/>
                <a:gd name="T9" fmla="*/ 67 h 1035"/>
                <a:gd name="T10" fmla="*/ 495 w 916"/>
                <a:gd name="T11" fmla="*/ 95 h 1035"/>
                <a:gd name="T12" fmla="*/ 512 w 916"/>
                <a:gd name="T13" fmla="*/ 145 h 1035"/>
                <a:gd name="T14" fmla="*/ 439 w 916"/>
                <a:gd name="T15" fmla="*/ 140 h 1035"/>
                <a:gd name="T16" fmla="*/ 422 w 916"/>
                <a:gd name="T17" fmla="*/ 216 h 1035"/>
                <a:gd name="T18" fmla="*/ 376 w 916"/>
                <a:gd name="T19" fmla="*/ 277 h 1035"/>
                <a:gd name="T20" fmla="*/ 310 w 916"/>
                <a:gd name="T21" fmla="*/ 290 h 1035"/>
                <a:gd name="T22" fmla="*/ 224 w 916"/>
                <a:gd name="T23" fmla="*/ 208 h 1035"/>
                <a:gd name="T24" fmla="*/ 178 w 916"/>
                <a:gd name="T25" fmla="*/ 215 h 1035"/>
                <a:gd name="T26" fmla="*/ 142 w 916"/>
                <a:gd name="T27" fmla="*/ 205 h 1035"/>
                <a:gd name="T28" fmla="*/ 98 w 916"/>
                <a:gd name="T29" fmla="*/ 181 h 1035"/>
                <a:gd name="T30" fmla="*/ 30 w 916"/>
                <a:gd name="T31" fmla="*/ 220 h 1035"/>
                <a:gd name="T32" fmla="*/ 38 w 916"/>
                <a:gd name="T33" fmla="*/ 277 h 1035"/>
                <a:gd name="T34" fmla="*/ 146 w 916"/>
                <a:gd name="T35" fmla="*/ 332 h 1035"/>
                <a:gd name="T36" fmla="*/ 131 w 916"/>
                <a:gd name="T37" fmla="*/ 365 h 1035"/>
                <a:gd name="T38" fmla="*/ 42 w 916"/>
                <a:gd name="T39" fmla="*/ 378 h 1035"/>
                <a:gd name="T40" fmla="*/ 66 w 916"/>
                <a:gd name="T41" fmla="*/ 445 h 1035"/>
                <a:gd name="T42" fmla="*/ 154 w 916"/>
                <a:gd name="T43" fmla="*/ 470 h 1035"/>
                <a:gd name="T44" fmla="*/ 199 w 916"/>
                <a:gd name="T45" fmla="*/ 524 h 1035"/>
                <a:gd name="T46" fmla="*/ 171 w 916"/>
                <a:gd name="T47" fmla="*/ 580 h 1035"/>
                <a:gd name="T48" fmla="*/ 160 w 916"/>
                <a:gd name="T49" fmla="*/ 645 h 1035"/>
                <a:gd name="T50" fmla="*/ 218 w 916"/>
                <a:gd name="T51" fmla="*/ 714 h 1035"/>
                <a:gd name="T52" fmla="*/ 212 w 916"/>
                <a:gd name="T53" fmla="*/ 820 h 1035"/>
                <a:gd name="T54" fmla="*/ 238 w 916"/>
                <a:gd name="T55" fmla="*/ 820 h 1035"/>
                <a:gd name="T56" fmla="*/ 288 w 916"/>
                <a:gd name="T57" fmla="*/ 839 h 1035"/>
                <a:gd name="T58" fmla="*/ 335 w 916"/>
                <a:gd name="T59" fmla="*/ 820 h 1035"/>
                <a:gd name="T60" fmla="*/ 387 w 916"/>
                <a:gd name="T61" fmla="*/ 843 h 1035"/>
                <a:gd name="T62" fmla="*/ 415 w 916"/>
                <a:gd name="T63" fmla="*/ 810 h 1035"/>
                <a:gd name="T64" fmla="*/ 464 w 916"/>
                <a:gd name="T65" fmla="*/ 853 h 1035"/>
                <a:gd name="T66" fmla="*/ 528 w 916"/>
                <a:gd name="T67" fmla="*/ 929 h 1035"/>
                <a:gd name="T68" fmla="*/ 553 w 916"/>
                <a:gd name="T69" fmla="*/ 1009 h 1035"/>
                <a:gd name="T70" fmla="*/ 595 w 916"/>
                <a:gd name="T71" fmla="*/ 1021 h 1035"/>
                <a:gd name="T72" fmla="*/ 641 w 916"/>
                <a:gd name="T73" fmla="*/ 1035 h 1035"/>
                <a:gd name="T74" fmla="*/ 663 w 916"/>
                <a:gd name="T75" fmla="*/ 999 h 1035"/>
                <a:gd name="T76" fmla="*/ 680 w 916"/>
                <a:gd name="T77" fmla="*/ 961 h 1035"/>
                <a:gd name="T78" fmla="*/ 836 w 916"/>
                <a:gd name="T79" fmla="*/ 887 h 1035"/>
                <a:gd name="T80" fmla="*/ 820 w 916"/>
                <a:gd name="T81" fmla="*/ 808 h 1035"/>
                <a:gd name="T82" fmla="*/ 784 w 916"/>
                <a:gd name="T83" fmla="*/ 825 h 1035"/>
                <a:gd name="T84" fmla="*/ 768 w 916"/>
                <a:gd name="T85" fmla="*/ 802 h 1035"/>
                <a:gd name="T86" fmla="*/ 733 w 916"/>
                <a:gd name="T87" fmla="*/ 754 h 1035"/>
                <a:gd name="T88" fmla="*/ 676 w 916"/>
                <a:gd name="T89" fmla="*/ 676 h 1035"/>
                <a:gd name="T90" fmla="*/ 691 w 916"/>
                <a:gd name="T91" fmla="*/ 602 h 1035"/>
                <a:gd name="T92" fmla="*/ 679 w 916"/>
                <a:gd name="T93" fmla="*/ 542 h 1035"/>
                <a:gd name="T94" fmla="*/ 645 w 916"/>
                <a:gd name="T95" fmla="*/ 500 h 1035"/>
                <a:gd name="T96" fmla="*/ 689 w 916"/>
                <a:gd name="T97" fmla="*/ 446 h 1035"/>
                <a:gd name="T98" fmla="*/ 768 w 916"/>
                <a:gd name="T99" fmla="*/ 442 h 1035"/>
                <a:gd name="T100" fmla="*/ 829 w 916"/>
                <a:gd name="T101" fmla="*/ 448 h 1035"/>
                <a:gd name="T102" fmla="*/ 844 w 916"/>
                <a:gd name="T103" fmla="*/ 368 h 1035"/>
                <a:gd name="T104" fmla="*/ 851 w 916"/>
                <a:gd name="T105" fmla="*/ 265 h 1035"/>
                <a:gd name="T106" fmla="*/ 905 w 916"/>
                <a:gd name="T107" fmla="*/ 203 h 1035"/>
                <a:gd name="T108" fmla="*/ 913 w 916"/>
                <a:gd name="T109" fmla="*/ 135 h 1035"/>
                <a:gd name="T110" fmla="*/ 881 w 916"/>
                <a:gd name="T111" fmla="*/ 68 h 1035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916"/>
                <a:gd name="T169" fmla="*/ 0 h 1035"/>
                <a:gd name="T170" fmla="*/ 916 w 916"/>
                <a:gd name="T171" fmla="*/ 1035 h 1035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916" h="1035">
                  <a:moveTo>
                    <a:pt x="849" y="43"/>
                  </a:moveTo>
                  <a:lnTo>
                    <a:pt x="839" y="43"/>
                  </a:lnTo>
                  <a:lnTo>
                    <a:pt x="829" y="45"/>
                  </a:lnTo>
                  <a:lnTo>
                    <a:pt x="820" y="48"/>
                  </a:lnTo>
                  <a:lnTo>
                    <a:pt x="811" y="52"/>
                  </a:lnTo>
                  <a:lnTo>
                    <a:pt x="800" y="55"/>
                  </a:lnTo>
                  <a:lnTo>
                    <a:pt x="789" y="57"/>
                  </a:lnTo>
                  <a:lnTo>
                    <a:pt x="779" y="60"/>
                  </a:lnTo>
                  <a:lnTo>
                    <a:pt x="765" y="60"/>
                  </a:lnTo>
                  <a:lnTo>
                    <a:pt x="753" y="60"/>
                  </a:lnTo>
                  <a:lnTo>
                    <a:pt x="743" y="57"/>
                  </a:lnTo>
                  <a:lnTo>
                    <a:pt x="733" y="55"/>
                  </a:lnTo>
                  <a:lnTo>
                    <a:pt x="725" y="51"/>
                  </a:lnTo>
                  <a:lnTo>
                    <a:pt x="711" y="41"/>
                  </a:lnTo>
                  <a:lnTo>
                    <a:pt x="697" y="31"/>
                  </a:lnTo>
                  <a:lnTo>
                    <a:pt x="684" y="19"/>
                  </a:lnTo>
                  <a:lnTo>
                    <a:pt x="669" y="9"/>
                  </a:lnTo>
                  <a:lnTo>
                    <a:pt x="661" y="5"/>
                  </a:lnTo>
                  <a:lnTo>
                    <a:pt x="653" y="3"/>
                  </a:lnTo>
                  <a:lnTo>
                    <a:pt x="644" y="1"/>
                  </a:lnTo>
                  <a:lnTo>
                    <a:pt x="633" y="0"/>
                  </a:lnTo>
                  <a:lnTo>
                    <a:pt x="627" y="0"/>
                  </a:lnTo>
                  <a:lnTo>
                    <a:pt x="623" y="1"/>
                  </a:lnTo>
                  <a:lnTo>
                    <a:pt x="619" y="3"/>
                  </a:lnTo>
                  <a:lnTo>
                    <a:pt x="616" y="4"/>
                  </a:lnTo>
                  <a:lnTo>
                    <a:pt x="615" y="7"/>
                  </a:lnTo>
                  <a:lnTo>
                    <a:pt x="613" y="9"/>
                  </a:lnTo>
                  <a:lnTo>
                    <a:pt x="612" y="12"/>
                  </a:lnTo>
                  <a:lnTo>
                    <a:pt x="613" y="16"/>
                  </a:lnTo>
                  <a:lnTo>
                    <a:pt x="613" y="24"/>
                  </a:lnTo>
                  <a:lnTo>
                    <a:pt x="615" y="33"/>
                  </a:lnTo>
                  <a:lnTo>
                    <a:pt x="616" y="44"/>
                  </a:lnTo>
                  <a:lnTo>
                    <a:pt x="615" y="55"/>
                  </a:lnTo>
                  <a:lnTo>
                    <a:pt x="611" y="61"/>
                  </a:lnTo>
                  <a:lnTo>
                    <a:pt x="605" y="67"/>
                  </a:lnTo>
                  <a:lnTo>
                    <a:pt x="599" y="71"/>
                  </a:lnTo>
                  <a:lnTo>
                    <a:pt x="593" y="75"/>
                  </a:lnTo>
                  <a:lnTo>
                    <a:pt x="579" y="80"/>
                  </a:lnTo>
                  <a:lnTo>
                    <a:pt x="564" y="83"/>
                  </a:lnTo>
                  <a:lnTo>
                    <a:pt x="531" y="85"/>
                  </a:lnTo>
                  <a:lnTo>
                    <a:pt x="495" y="84"/>
                  </a:lnTo>
                  <a:lnTo>
                    <a:pt x="495" y="95"/>
                  </a:lnTo>
                  <a:lnTo>
                    <a:pt x="498" y="103"/>
                  </a:lnTo>
                  <a:lnTo>
                    <a:pt x="500" y="111"/>
                  </a:lnTo>
                  <a:lnTo>
                    <a:pt x="504" y="117"/>
                  </a:lnTo>
                  <a:lnTo>
                    <a:pt x="507" y="123"/>
                  </a:lnTo>
                  <a:lnTo>
                    <a:pt x="510" y="129"/>
                  </a:lnTo>
                  <a:lnTo>
                    <a:pt x="512" y="136"/>
                  </a:lnTo>
                  <a:lnTo>
                    <a:pt x="512" y="145"/>
                  </a:lnTo>
                  <a:lnTo>
                    <a:pt x="496" y="145"/>
                  </a:lnTo>
                  <a:lnTo>
                    <a:pt x="483" y="145"/>
                  </a:lnTo>
                  <a:lnTo>
                    <a:pt x="472" y="143"/>
                  </a:lnTo>
                  <a:lnTo>
                    <a:pt x="464" y="140"/>
                  </a:lnTo>
                  <a:lnTo>
                    <a:pt x="456" y="139"/>
                  </a:lnTo>
                  <a:lnTo>
                    <a:pt x="448" y="139"/>
                  </a:lnTo>
                  <a:lnTo>
                    <a:pt x="439" y="140"/>
                  </a:lnTo>
                  <a:lnTo>
                    <a:pt x="428" y="145"/>
                  </a:lnTo>
                  <a:lnTo>
                    <a:pt x="428" y="168"/>
                  </a:lnTo>
                  <a:lnTo>
                    <a:pt x="428" y="181"/>
                  </a:lnTo>
                  <a:lnTo>
                    <a:pt x="428" y="189"/>
                  </a:lnTo>
                  <a:lnTo>
                    <a:pt x="427" y="197"/>
                  </a:lnTo>
                  <a:lnTo>
                    <a:pt x="424" y="207"/>
                  </a:lnTo>
                  <a:lnTo>
                    <a:pt x="422" y="216"/>
                  </a:lnTo>
                  <a:lnTo>
                    <a:pt x="416" y="227"/>
                  </a:lnTo>
                  <a:lnTo>
                    <a:pt x="412" y="236"/>
                  </a:lnTo>
                  <a:lnTo>
                    <a:pt x="407" y="245"/>
                  </a:lnTo>
                  <a:lnTo>
                    <a:pt x="400" y="253"/>
                  </a:lnTo>
                  <a:lnTo>
                    <a:pt x="392" y="262"/>
                  </a:lnTo>
                  <a:lnTo>
                    <a:pt x="386" y="270"/>
                  </a:lnTo>
                  <a:lnTo>
                    <a:pt x="376" y="277"/>
                  </a:lnTo>
                  <a:lnTo>
                    <a:pt x="367" y="284"/>
                  </a:lnTo>
                  <a:lnTo>
                    <a:pt x="358" y="288"/>
                  </a:lnTo>
                  <a:lnTo>
                    <a:pt x="348" y="292"/>
                  </a:lnTo>
                  <a:lnTo>
                    <a:pt x="338" y="294"/>
                  </a:lnTo>
                  <a:lnTo>
                    <a:pt x="326" y="296"/>
                  </a:lnTo>
                  <a:lnTo>
                    <a:pt x="318" y="294"/>
                  </a:lnTo>
                  <a:lnTo>
                    <a:pt x="310" y="290"/>
                  </a:lnTo>
                  <a:lnTo>
                    <a:pt x="302" y="286"/>
                  </a:lnTo>
                  <a:lnTo>
                    <a:pt x="294" y="280"/>
                  </a:lnTo>
                  <a:lnTo>
                    <a:pt x="279" y="265"/>
                  </a:lnTo>
                  <a:lnTo>
                    <a:pt x="264" y="247"/>
                  </a:lnTo>
                  <a:lnTo>
                    <a:pt x="250" y="229"/>
                  </a:lnTo>
                  <a:lnTo>
                    <a:pt x="232" y="215"/>
                  </a:lnTo>
                  <a:lnTo>
                    <a:pt x="224" y="208"/>
                  </a:lnTo>
                  <a:lnTo>
                    <a:pt x="215" y="203"/>
                  </a:lnTo>
                  <a:lnTo>
                    <a:pt x="204" y="200"/>
                  </a:lnTo>
                  <a:lnTo>
                    <a:pt x="194" y="199"/>
                  </a:lnTo>
                  <a:lnTo>
                    <a:pt x="190" y="201"/>
                  </a:lnTo>
                  <a:lnTo>
                    <a:pt x="184" y="208"/>
                  </a:lnTo>
                  <a:lnTo>
                    <a:pt x="180" y="212"/>
                  </a:lnTo>
                  <a:lnTo>
                    <a:pt x="178" y="215"/>
                  </a:lnTo>
                  <a:lnTo>
                    <a:pt x="174" y="216"/>
                  </a:lnTo>
                  <a:lnTo>
                    <a:pt x="170" y="217"/>
                  </a:lnTo>
                  <a:lnTo>
                    <a:pt x="164" y="217"/>
                  </a:lnTo>
                  <a:lnTo>
                    <a:pt x="159" y="216"/>
                  </a:lnTo>
                  <a:lnTo>
                    <a:pt x="154" y="213"/>
                  </a:lnTo>
                  <a:lnTo>
                    <a:pt x="150" y="212"/>
                  </a:lnTo>
                  <a:lnTo>
                    <a:pt x="142" y="205"/>
                  </a:lnTo>
                  <a:lnTo>
                    <a:pt x="134" y="199"/>
                  </a:lnTo>
                  <a:lnTo>
                    <a:pt x="126" y="192"/>
                  </a:lnTo>
                  <a:lnTo>
                    <a:pt x="118" y="187"/>
                  </a:lnTo>
                  <a:lnTo>
                    <a:pt x="112" y="184"/>
                  </a:lnTo>
                  <a:lnTo>
                    <a:pt x="108" y="183"/>
                  </a:lnTo>
                  <a:lnTo>
                    <a:pt x="103" y="181"/>
                  </a:lnTo>
                  <a:lnTo>
                    <a:pt x="98" y="181"/>
                  </a:lnTo>
                  <a:lnTo>
                    <a:pt x="91" y="181"/>
                  </a:lnTo>
                  <a:lnTo>
                    <a:pt x="83" y="183"/>
                  </a:lnTo>
                  <a:lnTo>
                    <a:pt x="76" y="185"/>
                  </a:lnTo>
                  <a:lnTo>
                    <a:pt x="70" y="189"/>
                  </a:lnTo>
                  <a:lnTo>
                    <a:pt x="55" y="197"/>
                  </a:lnTo>
                  <a:lnTo>
                    <a:pt x="42" y="208"/>
                  </a:lnTo>
                  <a:lnTo>
                    <a:pt x="30" y="220"/>
                  </a:lnTo>
                  <a:lnTo>
                    <a:pt x="19" y="232"/>
                  </a:lnTo>
                  <a:lnTo>
                    <a:pt x="8" y="243"/>
                  </a:lnTo>
                  <a:lnTo>
                    <a:pt x="0" y="253"/>
                  </a:lnTo>
                  <a:lnTo>
                    <a:pt x="10" y="260"/>
                  </a:lnTo>
                  <a:lnTo>
                    <a:pt x="19" y="266"/>
                  </a:lnTo>
                  <a:lnTo>
                    <a:pt x="28" y="273"/>
                  </a:lnTo>
                  <a:lnTo>
                    <a:pt x="38" y="277"/>
                  </a:lnTo>
                  <a:lnTo>
                    <a:pt x="55" y="285"/>
                  </a:lnTo>
                  <a:lnTo>
                    <a:pt x="72" y="292"/>
                  </a:lnTo>
                  <a:lnTo>
                    <a:pt x="102" y="300"/>
                  </a:lnTo>
                  <a:lnTo>
                    <a:pt x="122" y="308"/>
                  </a:lnTo>
                  <a:lnTo>
                    <a:pt x="131" y="316"/>
                  </a:lnTo>
                  <a:lnTo>
                    <a:pt x="140" y="324"/>
                  </a:lnTo>
                  <a:lnTo>
                    <a:pt x="146" y="332"/>
                  </a:lnTo>
                  <a:lnTo>
                    <a:pt x="150" y="338"/>
                  </a:lnTo>
                  <a:lnTo>
                    <a:pt x="152" y="345"/>
                  </a:lnTo>
                  <a:lnTo>
                    <a:pt x="151" y="350"/>
                  </a:lnTo>
                  <a:lnTo>
                    <a:pt x="150" y="356"/>
                  </a:lnTo>
                  <a:lnTo>
                    <a:pt x="146" y="360"/>
                  </a:lnTo>
                  <a:lnTo>
                    <a:pt x="139" y="362"/>
                  </a:lnTo>
                  <a:lnTo>
                    <a:pt x="131" y="365"/>
                  </a:lnTo>
                  <a:lnTo>
                    <a:pt x="122" y="366"/>
                  </a:lnTo>
                  <a:lnTo>
                    <a:pt x="110" y="368"/>
                  </a:lnTo>
                  <a:lnTo>
                    <a:pt x="96" y="368"/>
                  </a:lnTo>
                  <a:lnTo>
                    <a:pt x="80" y="366"/>
                  </a:lnTo>
                  <a:lnTo>
                    <a:pt x="63" y="364"/>
                  </a:lnTo>
                  <a:lnTo>
                    <a:pt x="43" y="361"/>
                  </a:lnTo>
                  <a:lnTo>
                    <a:pt x="42" y="378"/>
                  </a:lnTo>
                  <a:lnTo>
                    <a:pt x="40" y="398"/>
                  </a:lnTo>
                  <a:lnTo>
                    <a:pt x="40" y="410"/>
                  </a:lnTo>
                  <a:lnTo>
                    <a:pt x="40" y="422"/>
                  </a:lnTo>
                  <a:lnTo>
                    <a:pt x="42" y="434"/>
                  </a:lnTo>
                  <a:lnTo>
                    <a:pt x="43" y="446"/>
                  </a:lnTo>
                  <a:lnTo>
                    <a:pt x="54" y="445"/>
                  </a:lnTo>
                  <a:lnTo>
                    <a:pt x="66" y="445"/>
                  </a:lnTo>
                  <a:lnTo>
                    <a:pt x="78" y="446"/>
                  </a:lnTo>
                  <a:lnTo>
                    <a:pt x="91" y="449"/>
                  </a:lnTo>
                  <a:lnTo>
                    <a:pt x="103" y="452"/>
                  </a:lnTo>
                  <a:lnTo>
                    <a:pt x="116" y="456"/>
                  </a:lnTo>
                  <a:lnTo>
                    <a:pt x="130" y="460"/>
                  </a:lnTo>
                  <a:lnTo>
                    <a:pt x="142" y="465"/>
                  </a:lnTo>
                  <a:lnTo>
                    <a:pt x="154" y="470"/>
                  </a:lnTo>
                  <a:lnTo>
                    <a:pt x="164" y="477"/>
                  </a:lnTo>
                  <a:lnTo>
                    <a:pt x="174" y="484"/>
                  </a:lnTo>
                  <a:lnTo>
                    <a:pt x="183" y="490"/>
                  </a:lnTo>
                  <a:lnTo>
                    <a:pt x="190" y="498"/>
                  </a:lnTo>
                  <a:lnTo>
                    <a:pt x="195" y="506"/>
                  </a:lnTo>
                  <a:lnTo>
                    <a:pt x="199" y="516"/>
                  </a:lnTo>
                  <a:lnTo>
                    <a:pt x="199" y="524"/>
                  </a:lnTo>
                  <a:lnTo>
                    <a:pt x="199" y="530"/>
                  </a:lnTo>
                  <a:lnTo>
                    <a:pt x="198" y="537"/>
                  </a:lnTo>
                  <a:lnTo>
                    <a:pt x="196" y="542"/>
                  </a:lnTo>
                  <a:lnTo>
                    <a:pt x="194" y="548"/>
                  </a:lnTo>
                  <a:lnTo>
                    <a:pt x="186" y="558"/>
                  </a:lnTo>
                  <a:lnTo>
                    <a:pt x="179" y="569"/>
                  </a:lnTo>
                  <a:lnTo>
                    <a:pt x="171" y="580"/>
                  </a:lnTo>
                  <a:lnTo>
                    <a:pt x="164" y="593"/>
                  </a:lnTo>
                  <a:lnTo>
                    <a:pt x="162" y="600"/>
                  </a:lnTo>
                  <a:lnTo>
                    <a:pt x="159" y="608"/>
                  </a:lnTo>
                  <a:lnTo>
                    <a:pt x="158" y="617"/>
                  </a:lnTo>
                  <a:lnTo>
                    <a:pt x="158" y="626"/>
                  </a:lnTo>
                  <a:lnTo>
                    <a:pt x="158" y="636"/>
                  </a:lnTo>
                  <a:lnTo>
                    <a:pt x="160" y="645"/>
                  </a:lnTo>
                  <a:lnTo>
                    <a:pt x="163" y="653"/>
                  </a:lnTo>
                  <a:lnTo>
                    <a:pt x="168" y="660"/>
                  </a:lnTo>
                  <a:lnTo>
                    <a:pt x="179" y="673"/>
                  </a:lnTo>
                  <a:lnTo>
                    <a:pt x="191" y="685"/>
                  </a:lnTo>
                  <a:lnTo>
                    <a:pt x="203" y="696"/>
                  </a:lnTo>
                  <a:lnTo>
                    <a:pt x="214" y="708"/>
                  </a:lnTo>
                  <a:lnTo>
                    <a:pt x="218" y="714"/>
                  </a:lnTo>
                  <a:lnTo>
                    <a:pt x="220" y="720"/>
                  </a:lnTo>
                  <a:lnTo>
                    <a:pt x="223" y="728"/>
                  </a:lnTo>
                  <a:lnTo>
                    <a:pt x="224" y="734"/>
                  </a:lnTo>
                  <a:lnTo>
                    <a:pt x="222" y="757"/>
                  </a:lnTo>
                  <a:lnTo>
                    <a:pt x="218" y="777"/>
                  </a:lnTo>
                  <a:lnTo>
                    <a:pt x="214" y="797"/>
                  </a:lnTo>
                  <a:lnTo>
                    <a:pt x="212" y="820"/>
                  </a:lnTo>
                  <a:lnTo>
                    <a:pt x="212" y="817"/>
                  </a:lnTo>
                  <a:lnTo>
                    <a:pt x="214" y="817"/>
                  </a:lnTo>
                  <a:lnTo>
                    <a:pt x="216" y="817"/>
                  </a:lnTo>
                  <a:lnTo>
                    <a:pt x="222" y="818"/>
                  </a:lnTo>
                  <a:lnTo>
                    <a:pt x="230" y="820"/>
                  </a:lnTo>
                  <a:lnTo>
                    <a:pt x="238" y="820"/>
                  </a:lnTo>
                  <a:lnTo>
                    <a:pt x="246" y="821"/>
                  </a:lnTo>
                  <a:lnTo>
                    <a:pt x="252" y="824"/>
                  </a:lnTo>
                  <a:lnTo>
                    <a:pt x="259" y="828"/>
                  </a:lnTo>
                  <a:lnTo>
                    <a:pt x="271" y="839"/>
                  </a:lnTo>
                  <a:lnTo>
                    <a:pt x="284" y="855"/>
                  </a:lnTo>
                  <a:lnTo>
                    <a:pt x="286" y="846"/>
                  </a:lnTo>
                  <a:lnTo>
                    <a:pt x="288" y="839"/>
                  </a:lnTo>
                  <a:lnTo>
                    <a:pt x="292" y="833"/>
                  </a:lnTo>
                  <a:lnTo>
                    <a:pt x="298" y="828"/>
                  </a:lnTo>
                  <a:lnTo>
                    <a:pt x="304" y="824"/>
                  </a:lnTo>
                  <a:lnTo>
                    <a:pt x="312" y="821"/>
                  </a:lnTo>
                  <a:lnTo>
                    <a:pt x="319" y="820"/>
                  </a:lnTo>
                  <a:lnTo>
                    <a:pt x="326" y="820"/>
                  </a:lnTo>
                  <a:lnTo>
                    <a:pt x="335" y="820"/>
                  </a:lnTo>
                  <a:lnTo>
                    <a:pt x="343" y="822"/>
                  </a:lnTo>
                  <a:lnTo>
                    <a:pt x="350" y="826"/>
                  </a:lnTo>
                  <a:lnTo>
                    <a:pt x="356" y="832"/>
                  </a:lnTo>
                  <a:lnTo>
                    <a:pt x="363" y="836"/>
                  </a:lnTo>
                  <a:lnTo>
                    <a:pt x="370" y="839"/>
                  </a:lnTo>
                  <a:lnTo>
                    <a:pt x="378" y="842"/>
                  </a:lnTo>
                  <a:lnTo>
                    <a:pt x="387" y="843"/>
                  </a:lnTo>
                  <a:lnTo>
                    <a:pt x="391" y="842"/>
                  </a:lnTo>
                  <a:lnTo>
                    <a:pt x="395" y="842"/>
                  </a:lnTo>
                  <a:lnTo>
                    <a:pt x="398" y="841"/>
                  </a:lnTo>
                  <a:lnTo>
                    <a:pt x="400" y="838"/>
                  </a:lnTo>
                  <a:lnTo>
                    <a:pt x="406" y="833"/>
                  </a:lnTo>
                  <a:lnTo>
                    <a:pt x="408" y="826"/>
                  </a:lnTo>
                  <a:lnTo>
                    <a:pt x="415" y="810"/>
                  </a:lnTo>
                  <a:lnTo>
                    <a:pt x="423" y="796"/>
                  </a:lnTo>
                  <a:lnTo>
                    <a:pt x="447" y="796"/>
                  </a:lnTo>
                  <a:lnTo>
                    <a:pt x="447" y="808"/>
                  </a:lnTo>
                  <a:lnTo>
                    <a:pt x="450" y="821"/>
                  </a:lnTo>
                  <a:lnTo>
                    <a:pt x="454" y="832"/>
                  </a:lnTo>
                  <a:lnTo>
                    <a:pt x="458" y="842"/>
                  </a:lnTo>
                  <a:lnTo>
                    <a:pt x="464" y="853"/>
                  </a:lnTo>
                  <a:lnTo>
                    <a:pt x="471" y="862"/>
                  </a:lnTo>
                  <a:lnTo>
                    <a:pt x="478" y="870"/>
                  </a:lnTo>
                  <a:lnTo>
                    <a:pt x="486" y="879"/>
                  </a:lnTo>
                  <a:lnTo>
                    <a:pt x="500" y="895"/>
                  </a:lnTo>
                  <a:lnTo>
                    <a:pt x="515" y="911"/>
                  </a:lnTo>
                  <a:lnTo>
                    <a:pt x="521" y="919"/>
                  </a:lnTo>
                  <a:lnTo>
                    <a:pt x="528" y="929"/>
                  </a:lnTo>
                  <a:lnTo>
                    <a:pt x="533" y="937"/>
                  </a:lnTo>
                  <a:lnTo>
                    <a:pt x="537" y="946"/>
                  </a:lnTo>
                  <a:lnTo>
                    <a:pt x="543" y="971"/>
                  </a:lnTo>
                  <a:lnTo>
                    <a:pt x="547" y="995"/>
                  </a:lnTo>
                  <a:lnTo>
                    <a:pt x="548" y="999"/>
                  </a:lnTo>
                  <a:lnTo>
                    <a:pt x="551" y="1005"/>
                  </a:lnTo>
                  <a:lnTo>
                    <a:pt x="553" y="1009"/>
                  </a:lnTo>
                  <a:lnTo>
                    <a:pt x="556" y="1011"/>
                  </a:lnTo>
                  <a:lnTo>
                    <a:pt x="560" y="1014"/>
                  </a:lnTo>
                  <a:lnTo>
                    <a:pt x="565" y="1017"/>
                  </a:lnTo>
                  <a:lnTo>
                    <a:pt x="572" y="1017"/>
                  </a:lnTo>
                  <a:lnTo>
                    <a:pt x="579" y="1018"/>
                  </a:lnTo>
                  <a:lnTo>
                    <a:pt x="587" y="1018"/>
                  </a:lnTo>
                  <a:lnTo>
                    <a:pt x="595" y="1021"/>
                  </a:lnTo>
                  <a:lnTo>
                    <a:pt x="601" y="1023"/>
                  </a:lnTo>
                  <a:lnTo>
                    <a:pt x="608" y="1027"/>
                  </a:lnTo>
                  <a:lnTo>
                    <a:pt x="615" y="1030"/>
                  </a:lnTo>
                  <a:lnTo>
                    <a:pt x="620" y="1033"/>
                  </a:lnTo>
                  <a:lnTo>
                    <a:pt x="627" y="1035"/>
                  </a:lnTo>
                  <a:lnTo>
                    <a:pt x="633" y="1035"/>
                  </a:lnTo>
                  <a:lnTo>
                    <a:pt x="641" y="1035"/>
                  </a:lnTo>
                  <a:lnTo>
                    <a:pt x="648" y="1034"/>
                  </a:lnTo>
                  <a:lnTo>
                    <a:pt x="653" y="1030"/>
                  </a:lnTo>
                  <a:lnTo>
                    <a:pt x="657" y="1027"/>
                  </a:lnTo>
                  <a:lnTo>
                    <a:pt x="660" y="1022"/>
                  </a:lnTo>
                  <a:lnTo>
                    <a:pt x="661" y="1015"/>
                  </a:lnTo>
                  <a:lnTo>
                    <a:pt x="663" y="1009"/>
                  </a:lnTo>
                  <a:lnTo>
                    <a:pt x="663" y="999"/>
                  </a:lnTo>
                  <a:lnTo>
                    <a:pt x="667" y="994"/>
                  </a:lnTo>
                  <a:lnTo>
                    <a:pt x="668" y="989"/>
                  </a:lnTo>
                  <a:lnTo>
                    <a:pt x="669" y="982"/>
                  </a:lnTo>
                  <a:lnTo>
                    <a:pt x="671" y="977"/>
                  </a:lnTo>
                  <a:lnTo>
                    <a:pt x="672" y="970"/>
                  </a:lnTo>
                  <a:lnTo>
                    <a:pt x="675" y="965"/>
                  </a:lnTo>
                  <a:lnTo>
                    <a:pt x="680" y="961"/>
                  </a:lnTo>
                  <a:lnTo>
                    <a:pt x="687" y="958"/>
                  </a:lnTo>
                  <a:lnTo>
                    <a:pt x="745" y="938"/>
                  </a:lnTo>
                  <a:lnTo>
                    <a:pt x="797" y="919"/>
                  </a:lnTo>
                  <a:lnTo>
                    <a:pt x="809" y="913"/>
                  </a:lnTo>
                  <a:lnTo>
                    <a:pt x="819" y="906"/>
                  </a:lnTo>
                  <a:lnTo>
                    <a:pt x="828" y="897"/>
                  </a:lnTo>
                  <a:lnTo>
                    <a:pt x="836" y="887"/>
                  </a:lnTo>
                  <a:lnTo>
                    <a:pt x="841" y="875"/>
                  </a:lnTo>
                  <a:lnTo>
                    <a:pt x="847" y="863"/>
                  </a:lnTo>
                  <a:lnTo>
                    <a:pt x="849" y="847"/>
                  </a:lnTo>
                  <a:lnTo>
                    <a:pt x="849" y="832"/>
                  </a:lnTo>
                  <a:lnTo>
                    <a:pt x="849" y="821"/>
                  </a:lnTo>
                  <a:lnTo>
                    <a:pt x="849" y="808"/>
                  </a:lnTo>
                  <a:lnTo>
                    <a:pt x="820" y="808"/>
                  </a:lnTo>
                  <a:lnTo>
                    <a:pt x="813" y="816"/>
                  </a:lnTo>
                  <a:lnTo>
                    <a:pt x="809" y="821"/>
                  </a:lnTo>
                  <a:lnTo>
                    <a:pt x="807" y="822"/>
                  </a:lnTo>
                  <a:lnTo>
                    <a:pt x="803" y="824"/>
                  </a:lnTo>
                  <a:lnTo>
                    <a:pt x="797" y="825"/>
                  </a:lnTo>
                  <a:lnTo>
                    <a:pt x="789" y="825"/>
                  </a:lnTo>
                  <a:lnTo>
                    <a:pt x="784" y="825"/>
                  </a:lnTo>
                  <a:lnTo>
                    <a:pt x="779" y="822"/>
                  </a:lnTo>
                  <a:lnTo>
                    <a:pt x="776" y="820"/>
                  </a:lnTo>
                  <a:lnTo>
                    <a:pt x="773" y="816"/>
                  </a:lnTo>
                  <a:lnTo>
                    <a:pt x="772" y="808"/>
                  </a:lnTo>
                  <a:lnTo>
                    <a:pt x="772" y="801"/>
                  </a:lnTo>
                  <a:lnTo>
                    <a:pt x="771" y="802"/>
                  </a:lnTo>
                  <a:lnTo>
                    <a:pt x="768" y="802"/>
                  </a:lnTo>
                  <a:lnTo>
                    <a:pt x="767" y="798"/>
                  </a:lnTo>
                  <a:lnTo>
                    <a:pt x="765" y="789"/>
                  </a:lnTo>
                  <a:lnTo>
                    <a:pt x="760" y="765"/>
                  </a:lnTo>
                  <a:lnTo>
                    <a:pt x="753" y="764"/>
                  </a:lnTo>
                  <a:lnTo>
                    <a:pt x="747" y="762"/>
                  </a:lnTo>
                  <a:lnTo>
                    <a:pt x="740" y="760"/>
                  </a:lnTo>
                  <a:lnTo>
                    <a:pt x="733" y="754"/>
                  </a:lnTo>
                  <a:lnTo>
                    <a:pt x="720" y="744"/>
                  </a:lnTo>
                  <a:lnTo>
                    <a:pt x="707" y="730"/>
                  </a:lnTo>
                  <a:lnTo>
                    <a:pt x="693" y="714"/>
                  </a:lnTo>
                  <a:lnTo>
                    <a:pt x="684" y="698"/>
                  </a:lnTo>
                  <a:lnTo>
                    <a:pt x="680" y="690"/>
                  </a:lnTo>
                  <a:lnTo>
                    <a:pt x="677" y="684"/>
                  </a:lnTo>
                  <a:lnTo>
                    <a:pt x="676" y="676"/>
                  </a:lnTo>
                  <a:lnTo>
                    <a:pt x="675" y="669"/>
                  </a:lnTo>
                  <a:lnTo>
                    <a:pt x="676" y="656"/>
                  </a:lnTo>
                  <a:lnTo>
                    <a:pt x="679" y="644"/>
                  </a:lnTo>
                  <a:lnTo>
                    <a:pt x="681" y="633"/>
                  </a:lnTo>
                  <a:lnTo>
                    <a:pt x="684" y="624"/>
                  </a:lnTo>
                  <a:lnTo>
                    <a:pt x="688" y="613"/>
                  </a:lnTo>
                  <a:lnTo>
                    <a:pt x="691" y="602"/>
                  </a:lnTo>
                  <a:lnTo>
                    <a:pt x="692" y="590"/>
                  </a:lnTo>
                  <a:lnTo>
                    <a:pt x="693" y="578"/>
                  </a:lnTo>
                  <a:lnTo>
                    <a:pt x="693" y="570"/>
                  </a:lnTo>
                  <a:lnTo>
                    <a:pt x="691" y="564"/>
                  </a:lnTo>
                  <a:lnTo>
                    <a:pt x="689" y="558"/>
                  </a:lnTo>
                  <a:lnTo>
                    <a:pt x="685" y="553"/>
                  </a:lnTo>
                  <a:lnTo>
                    <a:pt x="679" y="542"/>
                  </a:lnTo>
                  <a:lnTo>
                    <a:pt x="669" y="534"/>
                  </a:lnTo>
                  <a:lnTo>
                    <a:pt x="660" y="526"/>
                  </a:lnTo>
                  <a:lnTo>
                    <a:pt x="652" y="518"/>
                  </a:lnTo>
                  <a:lnTo>
                    <a:pt x="649" y="514"/>
                  </a:lnTo>
                  <a:lnTo>
                    <a:pt x="647" y="510"/>
                  </a:lnTo>
                  <a:lnTo>
                    <a:pt x="645" y="505"/>
                  </a:lnTo>
                  <a:lnTo>
                    <a:pt x="645" y="500"/>
                  </a:lnTo>
                  <a:lnTo>
                    <a:pt x="645" y="494"/>
                  </a:lnTo>
                  <a:lnTo>
                    <a:pt x="648" y="489"/>
                  </a:lnTo>
                  <a:lnTo>
                    <a:pt x="651" y="482"/>
                  </a:lnTo>
                  <a:lnTo>
                    <a:pt x="655" y="477"/>
                  </a:lnTo>
                  <a:lnTo>
                    <a:pt x="664" y="466"/>
                  </a:lnTo>
                  <a:lnTo>
                    <a:pt x="676" y="456"/>
                  </a:lnTo>
                  <a:lnTo>
                    <a:pt x="689" y="446"/>
                  </a:lnTo>
                  <a:lnTo>
                    <a:pt x="704" y="440"/>
                  </a:lnTo>
                  <a:lnTo>
                    <a:pt x="717" y="436"/>
                  </a:lnTo>
                  <a:lnTo>
                    <a:pt x="729" y="433"/>
                  </a:lnTo>
                  <a:lnTo>
                    <a:pt x="740" y="434"/>
                  </a:lnTo>
                  <a:lnTo>
                    <a:pt x="751" y="437"/>
                  </a:lnTo>
                  <a:lnTo>
                    <a:pt x="760" y="440"/>
                  </a:lnTo>
                  <a:lnTo>
                    <a:pt x="768" y="442"/>
                  </a:lnTo>
                  <a:lnTo>
                    <a:pt x="777" y="446"/>
                  </a:lnTo>
                  <a:lnTo>
                    <a:pt x="787" y="449"/>
                  </a:lnTo>
                  <a:lnTo>
                    <a:pt x="797" y="450"/>
                  </a:lnTo>
                  <a:lnTo>
                    <a:pt x="808" y="452"/>
                  </a:lnTo>
                  <a:lnTo>
                    <a:pt x="816" y="452"/>
                  </a:lnTo>
                  <a:lnTo>
                    <a:pt x="823" y="450"/>
                  </a:lnTo>
                  <a:lnTo>
                    <a:pt x="829" y="448"/>
                  </a:lnTo>
                  <a:lnTo>
                    <a:pt x="833" y="445"/>
                  </a:lnTo>
                  <a:lnTo>
                    <a:pt x="837" y="441"/>
                  </a:lnTo>
                  <a:lnTo>
                    <a:pt x="840" y="436"/>
                  </a:lnTo>
                  <a:lnTo>
                    <a:pt x="843" y="432"/>
                  </a:lnTo>
                  <a:lnTo>
                    <a:pt x="844" y="425"/>
                  </a:lnTo>
                  <a:lnTo>
                    <a:pt x="845" y="398"/>
                  </a:lnTo>
                  <a:lnTo>
                    <a:pt x="844" y="368"/>
                  </a:lnTo>
                  <a:lnTo>
                    <a:pt x="844" y="354"/>
                  </a:lnTo>
                  <a:lnTo>
                    <a:pt x="844" y="336"/>
                  </a:lnTo>
                  <a:lnTo>
                    <a:pt x="844" y="314"/>
                  </a:lnTo>
                  <a:lnTo>
                    <a:pt x="844" y="296"/>
                  </a:lnTo>
                  <a:lnTo>
                    <a:pt x="845" y="284"/>
                  </a:lnTo>
                  <a:lnTo>
                    <a:pt x="847" y="273"/>
                  </a:lnTo>
                  <a:lnTo>
                    <a:pt x="851" y="265"/>
                  </a:lnTo>
                  <a:lnTo>
                    <a:pt x="855" y="257"/>
                  </a:lnTo>
                  <a:lnTo>
                    <a:pt x="867" y="243"/>
                  </a:lnTo>
                  <a:lnTo>
                    <a:pt x="880" y="231"/>
                  </a:lnTo>
                  <a:lnTo>
                    <a:pt x="887" y="224"/>
                  </a:lnTo>
                  <a:lnTo>
                    <a:pt x="893" y="217"/>
                  </a:lnTo>
                  <a:lnTo>
                    <a:pt x="900" y="211"/>
                  </a:lnTo>
                  <a:lnTo>
                    <a:pt x="905" y="203"/>
                  </a:lnTo>
                  <a:lnTo>
                    <a:pt x="909" y="193"/>
                  </a:lnTo>
                  <a:lnTo>
                    <a:pt x="913" y="183"/>
                  </a:lnTo>
                  <a:lnTo>
                    <a:pt x="916" y="171"/>
                  </a:lnTo>
                  <a:lnTo>
                    <a:pt x="916" y="157"/>
                  </a:lnTo>
                  <a:lnTo>
                    <a:pt x="916" y="149"/>
                  </a:lnTo>
                  <a:lnTo>
                    <a:pt x="915" y="141"/>
                  </a:lnTo>
                  <a:lnTo>
                    <a:pt x="913" y="135"/>
                  </a:lnTo>
                  <a:lnTo>
                    <a:pt x="911" y="128"/>
                  </a:lnTo>
                  <a:lnTo>
                    <a:pt x="905" y="116"/>
                  </a:lnTo>
                  <a:lnTo>
                    <a:pt x="899" y="104"/>
                  </a:lnTo>
                  <a:lnTo>
                    <a:pt x="892" y="92"/>
                  </a:lnTo>
                  <a:lnTo>
                    <a:pt x="885" y="80"/>
                  </a:lnTo>
                  <a:lnTo>
                    <a:pt x="884" y="73"/>
                  </a:lnTo>
                  <a:lnTo>
                    <a:pt x="881" y="68"/>
                  </a:lnTo>
                  <a:lnTo>
                    <a:pt x="880" y="61"/>
                  </a:lnTo>
                  <a:lnTo>
                    <a:pt x="880" y="55"/>
                  </a:lnTo>
                  <a:lnTo>
                    <a:pt x="877" y="52"/>
                  </a:lnTo>
                  <a:lnTo>
                    <a:pt x="869" y="48"/>
                  </a:lnTo>
                  <a:lnTo>
                    <a:pt x="860" y="44"/>
                  </a:lnTo>
                  <a:lnTo>
                    <a:pt x="849" y="43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accent1">
                  <a:lumMod val="20000"/>
                  <a:lumOff val="8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95" b="0" i="0" u="none" strike="noStrike" kern="1200" cap="none" spc="0" normalizeH="0" baseline="0" noProof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1" name="Freeform 79"/>
            <p:cNvSpPr>
              <a:spLocks/>
            </p:cNvSpPr>
            <p:nvPr/>
          </p:nvSpPr>
          <p:spPr bwMode="auto">
            <a:xfrm>
              <a:off x="4768360" y="2377816"/>
              <a:ext cx="38202" cy="35372"/>
            </a:xfrm>
            <a:custGeom>
              <a:avLst/>
              <a:gdLst>
                <a:gd name="T0" fmla="*/ 513 w 530"/>
                <a:gd name="T1" fmla="*/ 390 h 493"/>
                <a:gd name="T2" fmla="*/ 526 w 530"/>
                <a:gd name="T3" fmla="*/ 415 h 493"/>
                <a:gd name="T4" fmla="*/ 526 w 530"/>
                <a:gd name="T5" fmla="*/ 437 h 493"/>
                <a:gd name="T6" fmla="*/ 507 w 530"/>
                <a:gd name="T7" fmla="*/ 474 h 493"/>
                <a:gd name="T8" fmla="*/ 435 w 530"/>
                <a:gd name="T9" fmla="*/ 471 h 493"/>
                <a:gd name="T10" fmla="*/ 349 w 530"/>
                <a:gd name="T11" fmla="*/ 446 h 493"/>
                <a:gd name="T12" fmla="*/ 258 w 530"/>
                <a:gd name="T13" fmla="*/ 415 h 493"/>
                <a:gd name="T14" fmla="*/ 240 w 530"/>
                <a:gd name="T15" fmla="*/ 402 h 493"/>
                <a:gd name="T16" fmla="*/ 216 w 530"/>
                <a:gd name="T17" fmla="*/ 365 h 493"/>
                <a:gd name="T18" fmla="*/ 192 w 530"/>
                <a:gd name="T19" fmla="*/ 331 h 493"/>
                <a:gd name="T20" fmla="*/ 169 w 530"/>
                <a:gd name="T21" fmla="*/ 325 h 493"/>
                <a:gd name="T22" fmla="*/ 132 w 530"/>
                <a:gd name="T23" fmla="*/ 325 h 493"/>
                <a:gd name="T24" fmla="*/ 108 w 530"/>
                <a:gd name="T25" fmla="*/ 322 h 493"/>
                <a:gd name="T26" fmla="*/ 84 w 530"/>
                <a:gd name="T27" fmla="*/ 302 h 493"/>
                <a:gd name="T28" fmla="*/ 72 w 530"/>
                <a:gd name="T29" fmla="*/ 271 h 493"/>
                <a:gd name="T30" fmla="*/ 73 w 530"/>
                <a:gd name="T31" fmla="*/ 241 h 493"/>
                <a:gd name="T32" fmla="*/ 68 w 530"/>
                <a:gd name="T33" fmla="*/ 219 h 493"/>
                <a:gd name="T34" fmla="*/ 44 w 530"/>
                <a:gd name="T35" fmla="*/ 194 h 493"/>
                <a:gd name="T36" fmla="*/ 6 w 530"/>
                <a:gd name="T37" fmla="*/ 155 h 493"/>
                <a:gd name="T38" fmla="*/ 1 w 530"/>
                <a:gd name="T39" fmla="*/ 134 h 493"/>
                <a:gd name="T40" fmla="*/ 2 w 530"/>
                <a:gd name="T41" fmla="*/ 114 h 493"/>
                <a:gd name="T42" fmla="*/ 17 w 530"/>
                <a:gd name="T43" fmla="*/ 89 h 493"/>
                <a:gd name="T44" fmla="*/ 53 w 530"/>
                <a:gd name="T45" fmla="*/ 56 h 493"/>
                <a:gd name="T46" fmla="*/ 80 w 530"/>
                <a:gd name="T47" fmla="*/ 45 h 493"/>
                <a:gd name="T48" fmla="*/ 96 w 530"/>
                <a:gd name="T49" fmla="*/ 60 h 493"/>
                <a:gd name="T50" fmla="*/ 106 w 530"/>
                <a:gd name="T51" fmla="*/ 56 h 493"/>
                <a:gd name="T52" fmla="*/ 124 w 530"/>
                <a:gd name="T53" fmla="*/ 37 h 493"/>
                <a:gd name="T54" fmla="*/ 148 w 530"/>
                <a:gd name="T55" fmla="*/ 8 h 493"/>
                <a:gd name="T56" fmla="*/ 158 w 530"/>
                <a:gd name="T57" fmla="*/ 4 h 493"/>
                <a:gd name="T58" fmla="*/ 169 w 530"/>
                <a:gd name="T59" fmla="*/ 10 h 493"/>
                <a:gd name="T60" fmla="*/ 217 w 530"/>
                <a:gd name="T61" fmla="*/ 5 h 493"/>
                <a:gd name="T62" fmla="*/ 266 w 530"/>
                <a:gd name="T63" fmla="*/ 0 h 493"/>
                <a:gd name="T64" fmla="*/ 299 w 530"/>
                <a:gd name="T65" fmla="*/ 8 h 493"/>
                <a:gd name="T66" fmla="*/ 321 w 530"/>
                <a:gd name="T67" fmla="*/ 22 h 493"/>
                <a:gd name="T68" fmla="*/ 334 w 530"/>
                <a:gd name="T69" fmla="*/ 45 h 493"/>
                <a:gd name="T70" fmla="*/ 345 w 530"/>
                <a:gd name="T71" fmla="*/ 85 h 493"/>
                <a:gd name="T72" fmla="*/ 351 w 530"/>
                <a:gd name="T73" fmla="*/ 112 h 493"/>
                <a:gd name="T74" fmla="*/ 369 w 530"/>
                <a:gd name="T75" fmla="*/ 118 h 493"/>
                <a:gd name="T76" fmla="*/ 405 w 530"/>
                <a:gd name="T77" fmla="*/ 130 h 493"/>
                <a:gd name="T78" fmla="*/ 418 w 530"/>
                <a:gd name="T79" fmla="*/ 140 h 493"/>
                <a:gd name="T80" fmla="*/ 431 w 530"/>
                <a:gd name="T81" fmla="*/ 173 h 493"/>
                <a:gd name="T82" fmla="*/ 443 w 530"/>
                <a:gd name="T83" fmla="*/ 231 h 493"/>
                <a:gd name="T84" fmla="*/ 453 w 530"/>
                <a:gd name="T85" fmla="*/ 286 h 493"/>
                <a:gd name="T86" fmla="*/ 469 w 530"/>
                <a:gd name="T87" fmla="*/ 325 h 493"/>
                <a:gd name="T88" fmla="*/ 499 w 530"/>
                <a:gd name="T89" fmla="*/ 361 h 493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530"/>
                <a:gd name="T136" fmla="*/ 0 h 493"/>
                <a:gd name="T137" fmla="*/ 530 w 530"/>
                <a:gd name="T138" fmla="*/ 493 h 493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530" h="493">
                  <a:moveTo>
                    <a:pt x="511" y="367"/>
                  </a:moveTo>
                  <a:lnTo>
                    <a:pt x="511" y="381"/>
                  </a:lnTo>
                  <a:lnTo>
                    <a:pt x="513" y="390"/>
                  </a:lnTo>
                  <a:lnTo>
                    <a:pt x="517" y="398"/>
                  </a:lnTo>
                  <a:lnTo>
                    <a:pt x="523" y="409"/>
                  </a:lnTo>
                  <a:lnTo>
                    <a:pt x="526" y="415"/>
                  </a:lnTo>
                  <a:lnTo>
                    <a:pt x="530" y="421"/>
                  </a:lnTo>
                  <a:lnTo>
                    <a:pt x="529" y="429"/>
                  </a:lnTo>
                  <a:lnTo>
                    <a:pt x="526" y="437"/>
                  </a:lnTo>
                  <a:lnTo>
                    <a:pt x="523" y="446"/>
                  </a:lnTo>
                  <a:lnTo>
                    <a:pt x="518" y="455"/>
                  </a:lnTo>
                  <a:lnTo>
                    <a:pt x="507" y="474"/>
                  </a:lnTo>
                  <a:lnTo>
                    <a:pt x="494" y="493"/>
                  </a:lnTo>
                  <a:lnTo>
                    <a:pt x="465" y="481"/>
                  </a:lnTo>
                  <a:lnTo>
                    <a:pt x="435" y="471"/>
                  </a:lnTo>
                  <a:lnTo>
                    <a:pt x="407" y="462"/>
                  </a:lnTo>
                  <a:lnTo>
                    <a:pt x="378" y="454"/>
                  </a:lnTo>
                  <a:lnTo>
                    <a:pt x="349" y="446"/>
                  </a:lnTo>
                  <a:lnTo>
                    <a:pt x="319" y="438"/>
                  </a:lnTo>
                  <a:lnTo>
                    <a:pt x="290" y="427"/>
                  </a:lnTo>
                  <a:lnTo>
                    <a:pt x="258" y="415"/>
                  </a:lnTo>
                  <a:lnTo>
                    <a:pt x="252" y="411"/>
                  </a:lnTo>
                  <a:lnTo>
                    <a:pt x="245" y="407"/>
                  </a:lnTo>
                  <a:lnTo>
                    <a:pt x="240" y="402"/>
                  </a:lnTo>
                  <a:lnTo>
                    <a:pt x="234" y="395"/>
                  </a:lnTo>
                  <a:lnTo>
                    <a:pt x="225" y="381"/>
                  </a:lnTo>
                  <a:lnTo>
                    <a:pt x="216" y="365"/>
                  </a:lnTo>
                  <a:lnTo>
                    <a:pt x="208" y="350"/>
                  </a:lnTo>
                  <a:lnTo>
                    <a:pt x="197" y="337"/>
                  </a:lnTo>
                  <a:lnTo>
                    <a:pt x="192" y="331"/>
                  </a:lnTo>
                  <a:lnTo>
                    <a:pt x="185" y="329"/>
                  </a:lnTo>
                  <a:lnTo>
                    <a:pt x="177" y="326"/>
                  </a:lnTo>
                  <a:lnTo>
                    <a:pt x="169" y="325"/>
                  </a:lnTo>
                  <a:lnTo>
                    <a:pt x="153" y="325"/>
                  </a:lnTo>
                  <a:lnTo>
                    <a:pt x="141" y="325"/>
                  </a:lnTo>
                  <a:lnTo>
                    <a:pt x="132" y="325"/>
                  </a:lnTo>
                  <a:lnTo>
                    <a:pt x="126" y="325"/>
                  </a:lnTo>
                  <a:lnTo>
                    <a:pt x="116" y="323"/>
                  </a:lnTo>
                  <a:lnTo>
                    <a:pt x="108" y="322"/>
                  </a:lnTo>
                  <a:lnTo>
                    <a:pt x="101" y="318"/>
                  </a:lnTo>
                  <a:lnTo>
                    <a:pt x="94" y="313"/>
                  </a:lnTo>
                  <a:lnTo>
                    <a:pt x="84" y="302"/>
                  </a:lnTo>
                  <a:lnTo>
                    <a:pt x="72" y="289"/>
                  </a:lnTo>
                  <a:lnTo>
                    <a:pt x="70" y="281"/>
                  </a:lnTo>
                  <a:lnTo>
                    <a:pt x="72" y="271"/>
                  </a:lnTo>
                  <a:lnTo>
                    <a:pt x="72" y="262"/>
                  </a:lnTo>
                  <a:lnTo>
                    <a:pt x="73" y="251"/>
                  </a:lnTo>
                  <a:lnTo>
                    <a:pt x="73" y="241"/>
                  </a:lnTo>
                  <a:lnTo>
                    <a:pt x="72" y="230"/>
                  </a:lnTo>
                  <a:lnTo>
                    <a:pt x="69" y="225"/>
                  </a:lnTo>
                  <a:lnTo>
                    <a:pt x="68" y="219"/>
                  </a:lnTo>
                  <a:lnTo>
                    <a:pt x="64" y="215"/>
                  </a:lnTo>
                  <a:lnTo>
                    <a:pt x="60" y="210"/>
                  </a:lnTo>
                  <a:lnTo>
                    <a:pt x="44" y="194"/>
                  </a:lnTo>
                  <a:lnTo>
                    <a:pt x="24" y="177"/>
                  </a:lnTo>
                  <a:lnTo>
                    <a:pt x="14" y="167"/>
                  </a:lnTo>
                  <a:lnTo>
                    <a:pt x="6" y="155"/>
                  </a:lnTo>
                  <a:lnTo>
                    <a:pt x="4" y="150"/>
                  </a:lnTo>
                  <a:lnTo>
                    <a:pt x="2" y="142"/>
                  </a:lnTo>
                  <a:lnTo>
                    <a:pt x="1" y="134"/>
                  </a:lnTo>
                  <a:lnTo>
                    <a:pt x="0" y="126"/>
                  </a:lnTo>
                  <a:lnTo>
                    <a:pt x="1" y="121"/>
                  </a:lnTo>
                  <a:lnTo>
                    <a:pt x="2" y="114"/>
                  </a:lnTo>
                  <a:lnTo>
                    <a:pt x="5" y="108"/>
                  </a:lnTo>
                  <a:lnTo>
                    <a:pt x="8" y="102"/>
                  </a:lnTo>
                  <a:lnTo>
                    <a:pt x="17" y="89"/>
                  </a:lnTo>
                  <a:lnTo>
                    <a:pt x="28" y="77"/>
                  </a:lnTo>
                  <a:lnTo>
                    <a:pt x="40" y="66"/>
                  </a:lnTo>
                  <a:lnTo>
                    <a:pt x="53" y="56"/>
                  </a:lnTo>
                  <a:lnTo>
                    <a:pt x="66" y="48"/>
                  </a:lnTo>
                  <a:lnTo>
                    <a:pt x="78" y="42"/>
                  </a:lnTo>
                  <a:lnTo>
                    <a:pt x="80" y="45"/>
                  </a:lnTo>
                  <a:lnTo>
                    <a:pt x="85" y="50"/>
                  </a:lnTo>
                  <a:lnTo>
                    <a:pt x="90" y="57"/>
                  </a:lnTo>
                  <a:lnTo>
                    <a:pt x="96" y="60"/>
                  </a:lnTo>
                  <a:lnTo>
                    <a:pt x="100" y="60"/>
                  </a:lnTo>
                  <a:lnTo>
                    <a:pt x="104" y="58"/>
                  </a:lnTo>
                  <a:lnTo>
                    <a:pt x="106" y="56"/>
                  </a:lnTo>
                  <a:lnTo>
                    <a:pt x="110" y="53"/>
                  </a:lnTo>
                  <a:lnTo>
                    <a:pt x="117" y="45"/>
                  </a:lnTo>
                  <a:lnTo>
                    <a:pt x="124" y="37"/>
                  </a:lnTo>
                  <a:lnTo>
                    <a:pt x="132" y="26"/>
                  </a:lnTo>
                  <a:lnTo>
                    <a:pt x="140" y="17"/>
                  </a:lnTo>
                  <a:lnTo>
                    <a:pt x="148" y="8"/>
                  </a:lnTo>
                  <a:lnTo>
                    <a:pt x="157" y="0"/>
                  </a:lnTo>
                  <a:lnTo>
                    <a:pt x="157" y="2"/>
                  </a:lnTo>
                  <a:lnTo>
                    <a:pt x="158" y="4"/>
                  </a:lnTo>
                  <a:lnTo>
                    <a:pt x="160" y="6"/>
                  </a:lnTo>
                  <a:lnTo>
                    <a:pt x="162" y="8"/>
                  </a:lnTo>
                  <a:lnTo>
                    <a:pt x="169" y="10"/>
                  </a:lnTo>
                  <a:lnTo>
                    <a:pt x="181" y="12"/>
                  </a:lnTo>
                  <a:lnTo>
                    <a:pt x="198" y="10"/>
                  </a:lnTo>
                  <a:lnTo>
                    <a:pt x="217" y="5"/>
                  </a:lnTo>
                  <a:lnTo>
                    <a:pt x="234" y="1"/>
                  </a:lnTo>
                  <a:lnTo>
                    <a:pt x="253" y="0"/>
                  </a:lnTo>
                  <a:lnTo>
                    <a:pt x="266" y="0"/>
                  </a:lnTo>
                  <a:lnTo>
                    <a:pt x="279" y="1"/>
                  </a:lnTo>
                  <a:lnTo>
                    <a:pt x="290" y="4"/>
                  </a:lnTo>
                  <a:lnTo>
                    <a:pt x="299" y="8"/>
                  </a:lnTo>
                  <a:lnTo>
                    <a:pt x="307" y="12"/>
                  </a:lnTo>
                  <a:lnTo>
                    <a:pt x="314" y="17"/>
                  </a:lnTo>
                  <a:lnTo>
                    <a:pt x="321" y="22"/>
                  </a:lnTo>
                  <a:lnTo>
                    <a:pt x="326" y="29"/>
                  </a:lnTo>
                  <a:lnTo>
                    <a:pt x="330" y="37"/>
                  </a:lnTo>
                  <a:lnTo>
                    <a:pt x="334" y="45"/>
                  </a:lnTo>
                  <a:lnTo>
                    <a:pt x="337" y="53"/>
                  </a:lnTo>
                  <a:lnTo>
                    <a:pt x="339" y="64"/>
                  </a:lnTo>
                  <a:lnTo>
                    <a:pt x="345" y="85"/>
                  </a:lnTo>
                  <a:lnTo>
                    <a:pt x="349" y="108"/>
                  </a:lnTo>
                  <a:lnTo>
                    <a:pt x="350" y="110"/>
                  </a:lnTo>
                  <a:lnTo>
                    <a:pt x="351" y="112"/>
                  </a:lnTo>
                  <a:lnTo>
                    <a:pt x="354" y="114"/>
                  </a:lnTo>
                  <a:lnTo>
                    <a:pt x="358" y="116"/>
                  </a:lnTo>
                  <a:lnTo>
                    <a:pt x="369" y="118"/>
                  </a:lnTo>
                  <a:lnTo>
                    <a:pt x="381" y="121"/>
                  </a:lnTo>
                  <a:lnTo>
                    <a:pt x="393" y="125"/>
                  </a:lnTo>
                  <a:lnTo>
                    <a:pt x="405" y="130"/>
                  </a:lnTo>
                  <a:lnTo>
                    <a:pt x="410" y="133"/>
                  </a:lnTo>
                  <a:lnTo>
                    <a:pt x="414" y="136"/>
                  </a:lnTo>
                  <a:lnTo>
                    <a:pt x="418" y="140"/>
                  </a:lnTo>
                  <a:lnTo>
                    <a:pt x="421" y="144"/>
                  </a:lnTo>
                  <a:lnTo>
                    <a:pt x="427" y="158"/>
                  </a:lnTo>
                  <a:lnTo>
                    <a:pt x="431" y="173"/>
                  </a:lnTo>
                  <a:lnTo>
                    <a:pt x="435" y="187"/>
                  </a:lnTo>
                  <a:lnTo>
                    <a:pt x="438" y="202"/>
                  </a:lnTo>
                  <a:lnTo>
                    <a:pt x="443" y="231"/>
                  </a:lnTo>
                  <a:lnTo>
                    <a:pt x="447" y="259"/>
                  </a:lnTo>
                  <a:lnTo>
                    <a:pt x="449" y="273"/>
                  </a:lnTo>
                  <a:lnTo>
                    <a:pt x="453" y="286"/>
                  </a:lnTo>
                  <a:lnTo>
                    <a:pt x="457" y="299"/>
                  </a:lnTo>
                  <a:lnTo>
                    <a:pt x="462" y="313"/>
                  </a:lnTo>
                  <a:lnTo>
                    <a:pt x="469" y="325"/>
                  </a:lnTo>
                  <a:lnTo>
                    <a:pt x="477" y="338"/>
                  </a:lnTo>
                  <a:lnTo>
                    <a:pt x="487" y="349"/>
                  </a:lnTo>
                  <a:lnTo>
                    <a:pt x="499" y="361"/>
                  </a:lnTo>
                  <a:lnTo>
                    <a:pt x="511" y="367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accent1">
                  <a:lumMod val="20000"/>
                  <a:lumOff val="8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95" b="0" i="0" u="none" strike="noStrike" kern="1200" cap="none" spc="0" normalizeH="0" baseline="0" noProof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2" name="Freeform 96"/>
            <p:cNvSpPr>
              <a:spLocks/>
            </p:cNvSpPr>
            <p:nvPr/>
          </p:nvSpPr>
          <p:spPr bwMode="auto">
            <a:xfrm>
              <a:off x="4958426" y="2441486"/>
              <a:ext cx="68858" cy="93618"/>
            </a:xfrm>
            <a:custGeom>
              <a:avLst/>
              <a:gdLst>
                <a:gd name="T0" fmla="*/ 540 w 954"/>
                <a:gd name="T1" fmla="*/ 1113 h 1301"/>
                <a:gd name="T2" fmla="*/ 614 w 954"/>
                <a:gd name="T3" fmla="*/ 1001 h 1301"/>
                <a:gd name="T4" fmla="*/ 641 w 954"/>
                <a:gd name="T5" fmla="*/ 916 h 1301"/>
                <a:gd name="T6" fmla="*/ 750 w 954"/>
                <a:gd name="T7" fmla="*/ 844 h 1301"/>
                <a:gd name="T8" fmla="*/ 791 w 954"/>
                <a:gd name="T9" fmla="*/ 859 h 1301"/>
                <a:gd name="T10" fmla="*/ 838 w 954"/>
                <a:gd name="T11" fmla="*/ 813 h 1301"/>
                <a:gd name="T12" fmla="*/ 850 w 954"/>
                <a:gd name="T13" fmla="*/ 697 h 1301"/>
                <a:gd name="T14" fmla="*/ 750 w 954"/>
                <a:gd name="T15" fmla="*/ 717 h 1301"/>
                <a:gd name="T16" fmla="*/ 671 w 954"/>
                <a:gd name="T17" fmla="*/ 695 h 1301"/>
                <a:gd name="T18" fmla="*/ 597 w 954"/>
                <a:gd name="T19" fmla="*/ 672 h 1301"/>
                <a:gd name="T20" fmla="*/ 566 w 954"/>
                <a:gd name="T21" fmla="*/ 597 h 1301"/>
                <a:gd name="T22" fmla="*/ 568 w 954"/>
                <a:gd name="T23" fmla="*/ 513 h 1301"/>
                <a:gd name="T24" fmla="*/ 600 w 954"/>
                <a:gd name="T25" fmla="*/ 477 h 1301"/>
                <a:gd name="T26" fmla="*/ 681 w 954"/>
                <a:gd name="T27" fmla="*/ 473 h 1301"/>
                <a:gd name="T28" fmla="*/ 701 w 954"/>
                <a:gd name="T29" fmla="*/ 511 h 1301"/>
                <a:gd name="T30" fmla="*/ 666 w 954"/>
                <a:gd name="T31" fmla="*/ 560 h 1301"/>
                <a:gd name="T32" fmla="*/ 725 w 954"/>
                <a:gd name="T33" fmla="*/ 573 h 1301"/>
                <a:gd name="T34" fmla="*/ 762 w 954"/>
                <a:gd name="T35" fmla="*/ 608 h 1301"/>
                <a:gd name="T36" fmla="*/ 795 w 954"/>
                <a:gd name="T37" fmla="*/ 571 h 1301"/>
                <a:gd name="T38" fmla="*/ 919 w 954"/>
                <a:gd name="T39" fmla="*/ 552 h 1301"/>
                <a:gd name="T40" fmla="*/ 913 w 954"/>
                <a:gd name="T41" fmla="*/ 488 h 1301"/>
                <a:gd name="T42" fmla="*/ 938 w 954"/>
                <a:gd name="T43" fmla="*/ 390 h 1301"/>
                <a:gd name="T44" fmla="*/ 946 w 954"/>
                <a:gd name="T45" fmla="*/ 351 h 1301"/>
                <a:gd name="T46" fmla="*/ 883 w 954"/>
                <a:gd name="T47" fmla="*/ 364 h 1301"/>
                <a:gd name="T48" fmla="*/ 785 w 954"/>
                <a:gd name="T49" fmla="*/ 310 h 1301"/>
                <a:gd name="T50" fmla="*/ 731 w 954"/>
                <a:gd name="T51" fmla="*/ 235 h 1301"/>
                <a:gd name="T52" fmla="*/ 673 w 954"/>
                <a:gd name="T53" fmla="*/ 235 h 1301"/>
                <a:gd name="T54" fmla="*/ 649 w 954"/>
                <a:gd name="T55" fmla="*/ 203 h 1301"/>
                <a:gd name="T56" fmla="*/ 626 w 954"/>
                <a:gd name="T57" fmla="*/ 148 h 1301"/>
                <a:gd name="T58" fmla="*/ 581 w 954"/>
                <a:gd name="T59" fmla="*/ 115 h 1301"/>
                <a:gd name="T60" fmla="*/ 530 w 954"/>
                <a:gd name="T61" fmla="*/ 100 h 1301"/>
                <a:gd name="T62" fmla="*/ 472 w 954"/>
                <a:gd name="T63" fmla="*/ 76 h 1301"/>
                <a:gd name="T64" fmla="*/ 436 w 954"/>
                <a:gd name="T65" fmla="*/ 0 h 1301"/>
                <a:gd name="T66" fmla="*/ 332 w 954"/>
                <a:gd name="T67" fmla="*/ 58 h 1301"/>
                <a:gd name="T68" fmla="*/ 261 w 954"/>
                <a:gd name="T69" fmla="*/ 70 h 1301"/>
                <a:gd name="T70" fmla="*/ 286 w 954"/>
                <a:gd name="T71" fmla="*/ 128 h 1301"/>
                <a:gd name="T72" fmla="*/ 289 w 954"/>
                <a:gd name="T73" fmla="*/ 164 h 1301"/>
                <a:gd name="T74" fmla="*/ 216 w 954"/>
                <a:gd name="T75" fmla="*/ 199 h 1301"/>
                <a:gd name="T76" fmla="*/ 108 w 954"/>
                <a:gd name="T77" fmla="*/ 235 h 1301"/>
                <a:gd name="T78" fmla="*/ 120 w 954"/>
                <a:gd name="T79" fmla="*/ 300 h 1301"/>
                <a:gd name="T80" fmla="*/ 57 w 954"/>
                <a:gd name="T81" fmla="*/ 367 h 1301"/>
                <a:gd name="T82" fmla="*/ 4 w 954"/>
                <a:gd name="T83" fmla="*/ 437 h 1301"/>
                <a:gd name="T84" fmla="*/ 12 w 954"/>
                <a:gd name="T85" fmla="*/ 609 h 1301"/>
                <a:gd name="T86" fmla="*/ 69 w 954"/>
                <a:gd name="T87" fmla="*/ 741 h 1301"/>
                <a:gd name="T88" fmla="*/ 100 w 954"/>
                <a:gd name="T89" fmla="*/ 889 h 1301"/>
                <a:gd name="T90" fmla="*/ 108 w 954"/>
                <a:gd name="T91" fmla="*/ 972 h 1301"/>
                <a:gd name="T92" fmla="*/ 149 w 954"/>
                <a:gd name="T93" fmla="*/ 960 h 1301"/>
                <a:gd name="T94" fmla="*/ 194 w 954"/>
                <a:gd name="T95" fmla="*/ 973 h 1301"/>
                <a:gd name="T96" fmla="*/ 208 w 954"/>
                <a:gd name="T97" fmla="*/ 1028 h 1301"/>
                <a:gd name="T98" fmla="*/ 150 w 954"/>
                <a:gd name="T99" fmla="*/ 1062 h 1301"/>
                <a:gd name="T100" fmla="*/ 160 w 954"/>
                <a:gd name="T101" fmla="*/ 1094 h 1301"/>
                <a:gd name="T102" fmla="*/ 184 w 954"/>
                <a:gd name="T103" fmla="*/ 1138 h 1301"/>
                <a:gd name="T104" fmla="*/ 164 w 954"/>
                <a:gd name="T105" fmla="*/ 1181 h 1301"/>
                <a:gd name="T106" fmla="*/ 164 w 954"/>
                <a:gd name="T107" fmla="*/ 1221 h 1301"/>
                <a:gd name="T108" fmla="*/ 246 w 954"/>
                <a:gd name="T109" fmla="*/ 1258 h 1301"/>
                <a:gd name="T110" fmla="*/ 292 w 954"/>
                <a:gd name="T111" fmla="*/ 1241 h 1301"/>
                <a:gd name="T112" fmla="*/ 352 w 954"/>
                <a:gd name="T113" fmla="*/ 1282 h 1301"/>
                <a:gd name="T114" fmla="*/ 410 w 954"/>
                <a:gd name="T115" fmla="*/ 1298 h 1301"/>
                <a:gd name="T116" fmla="*/ 508 w 954"/>
                <a:gd name="T117" fmla="*/ 1210 h 1301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954"/>
                <a:gd name="T178" fmla="*/ 0 h 1301"/>
                <a:gd name="T179" fmla="*/ 954 w 954"/>
                <a:gd name="T180" fmla="*/ 1301 h 1301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954" h="1301">
                  <a:moveTo>
                    <a:pt x="516" y="1174"/>
                  </a:moveTo>
                  <a:lnTo>
                    <a:pt x="516" y="1165"/>
                  </a:lnTo>
                  <a:lnTo>
                    <a:pt x="517" y="1156"/>
                  </a:lnTo>
                  <a:lnTo>
                    <a:pt x="520" y="1148"/>
                  </a:lnTo>
                  <a:lnTo>
                    <a:pt x="522" y="1140"/>
                  </a:lnTo>
                  <a:lnTo>
                    <a:pt x="530" y="1125"/>
                  </a:lnTo>
                  <a:lnTo>
                    <a:pt x="540" y="1113"/>
                  </a:lnTo>
                  <a:lnTo>
                    <a:pt x="564" y="1088"/>
                  </a:lnTo>
                  <a:lnTo>
                    <a:pt x="588" y="1060"/>
                  </a:lnTo>
                  <a:lnTo>
                    <a:pt x="596" y="1048"/>
                  </a:lnTo>
                  <a:lnTo>
                    <a:pt x="602" y="1037"/>
                  </a:lnTo>
                  <a:lnTo>
                    <a:pt x="606" y="1028"/>
                  </a:lnTo>
                  <a:lnTo>
                    <a:pt x="610" y="1018"/>
                  </a:lnTo>
                  <a:lnTo>
                    <a:pt x="614" y="1001"/>
                  </a:lnTo>
                  <a:lnTo>
                    <a:pt x="617" y="985"/>
                  </a:lnTo>
                  <a:lnTo>
                    <a:pt x="618" y="971"/>
                  </a:lnTo>
                  <a:lnTo>
                    <a:pt x="622" y="955"/>
                  </a:lnTo>
                  <a:lnTo>
                    <a:pt x="625" y="945"/>
                  </a:lnTo>
                  <a:lnTo>
                    <a:pt x="629" y="936"/>
                  </a:lnTo>
                  <a:lnTo>
                    <a:pt x="634" y="927"/>
                  </a:lnTo>
                  <a:lnTo>
                    <a:pt x="641" y="916"/>
                  </a:lnTo>
                  <a:lnTo>
                    <a:pt x="661" y="900"/>
                  </a:lnTo>
                  <a:lnTo>
                    <a:pt x="694" y="875"/>
                  </a:lnTo>
                  <a:lnTo>
                    <a:pt x="713" y="863"/>
                  </a:lnTo>
                  <a:lnTo>
                    <a:pt x="730" y="853"/>
                  </a:lnTo>
                  <a:lnTo>
                    <a:pt x="737" y="849"/>
                  </a:lnTo>
                  <a:lnTo>
                    <a:pt x="745" y="847"/>
                  </a:lnTo>
                  <a:lnTo>
                    <a:pt x="750" y="844"/>
                  </a:lnTo>
                  <a:lnTo>
                    <a:pt x="755" y="844"/>
                  </a:lnTo>
                  <a:lnTo>
                    <a:pt x="762" y="844"/>
                  </a:lnTo>
                  <a:lnTo>
                    <a:pt x="769" y="847"/>
                  </a:lnTo>
                  <a:lnTo>
                    <a:pt x="774" y="849"/>
                  </a:lnTo>
                  <a:lnTo>
                    <a:pt x="779" y="852"/>
                  </a:lnTo>
                  <a:lnTo>
                    <a:pt x="786" y="856"/>
                  </a:lnTo>
                  <a:lnTo>
                    <a:pt x="791" y="859"/>
                  </a:lnTo>
                  <a:lnTo>
                    <a:pt x="798" y="861"/>
                  </a:lnTo>
                  <a:lnTo>
                    <a:pt x="803" y="861"/>
                  </a:lnTo>
                  <a:lnTo>
                    <a:pt x="807" y="860"/>
                  </a:lnTo>
                  <a:lnTo>
                    <a:pt x="813" y="855"/>
                  </a:lnTo>
                  <a:lnTo>
                    <a:pt x="818" y="848"/>
                  </a:lnTo>
                  <a:lnTo>
                    <a:pt x="825" y="837"/>
                  </a:lnTo>
                  <a:lnTo>
                    <a:pt x="838" y="813"/>
                  </a:lnTo>
                  <a:lnTo>
                    <a:pt x="853" y="784"/>
                  </a:lnTo>
                  <a:lnTo>
                    <a:pt x="866" y="755"/>
                  </a:lnTo>
                  <a:lnTo>
                    <a:pt x="878" y="727"/>
                  </a:lnTo>
                  <a:lnTo>
                    <a:pt x="886" y="705"/>
                  </a:lnTo>
                  <a:lnTo>
                    <a:pt x="889" y="693"/>
                  </a:lnTo>
                  <a:lnTo>
                    <a:pt x="858" y="693"/>
                  </a:lnTo>
                  <a:lnTo>
                    <a:pt x="850" y="697"/>
                  </a:lnTo>
                  <a:lnTo>
                    <a:pt x="841" y="701"/>
                  </a:lnTo>
                  <a:lnTo>
                    <a:pt x="829" y="705"/>
                  </a:lnTo>
                  <a:lnTo>
                    <a:pt x="815" y="709"/>
                  </a:lnTo>
                  <a:lnTo>
                    <a:pt x="801" y="712"/>
                  </a:lnTo>
                  <a:lnTo>
                    <a:pt x="785" y="715"/>
                  </a:lnTo>
                  <a:lnTo>
                    <a:pt x="767" y="716"/>
                  </a:lnTo>
                  <a:lnTo>
                    <a:pt x="750" y="717"/>
                  </a:lnTo>
                  <a:lnTo>
                    <a:pt x="735" y="716"/>
                  </a:lnTo>
                  <a:lnTo>
                    <a:pt x="723" y="713"/>
                  </a:lnTo>
                  <a:lnTo>
                    <a:pt x="713" y="709"/>
                  </a:lnTo>
                  <a:lnTo>
                    <a:pt x="702" y="705"/>
                  </a:lnTo>
                  <a:lnTo>
                    <a:pt x="693" y="700"/>
                  </a:lnTo>
                  <a:lnTo>
                    <a:pt x="683" y="697"/>
                  </a:lnTo>
                  <a:lnTo>
                    <a:pt x="671" y="695"/>
                  </a:lnTo>
                  <a:lnTo>
                    <a:pt x="660" y="693"/>
                  </a:lnTo>
                  <a:lnTo>
                    <a:pt x="646" y="692"/>
                  </a:lnTo>
                  <a:lnTo>
                    <a:pt x="634" y="691"/>
                  </a:lnTo>
                  <a:lnTo>
                    <a:pt x="624" y="688"/>
                  </a:lnTo>
                  <a:lnTo>
                    <a:pt x="614" y="684"/>
                  </a:lnTo>
                  <a:lnTo>
                    <a:pt x="605" y="679"/>
                  </a:lnTo>
                  <a:lnTo>
                    <a:pt x="597" y="672"/>
                  </a:lnTo>
                  <a:lnTo>
                    <a:pt x="590" y="665"/>
                  </a:lnTo>
                  <a:lnTo>
                    <a:pt x="585" y="657"/>
                  </a:lnTo>
                  <a:lnTo>
                    <a:pt x="580" y="647"/>
                  </a:lnTo>
                  <a:lnTo>
                    <a:pt x="574" y="636"/>
                  </a:lnTo>
                  <a:lnTo>
                    <a:pt x="572" y="624"/>
                  </a:lnTo>
                  <a:lnTo>
                    <a:pt x="568" y="612"/>
                  </a:lnTo>
                  <a:lnTo>
                    <a:pt x="566" y="597"/>
                  </a:lnTo>
                  <a:lnTo>
                    <a:pt x="565" y="583"/>
                  </a:lnTo>
                  <a:lnTo>
                    <a:pt x="564" y="565"/>
                  </a:lnTo>
                  <a:lnTo>
                    <a:pt x="564" y="548"/>
                  </a:lnTo>
                  <a:lnTo>
                    <a:pt x="564" y="539"/>
                  </a:lnTo>
                  <a:lnTo>
                    <a:pt x="565" y="529"/>
                  </a:lnTo>
                  <a:lnTo>
                    <a:pt x="566" y="521"/>
                  </a:lnTo>
                  <a:lnTo>
                    <a:pt x="568" y="513"/>
                  </a:lnTo>
                  <a:lnTo>
                    <a:pt x="570" y="507"/>
                  </a:lnTo>
                  <a:lnTo>
                    <a:pt x="574" y="500"/>
                  </a:lnTo>
                  <a:lnTo>
                    <a:pt x="577" y="495"/>
                  </a:lnTo>
                  <a:lnTo>
                    <a:pt x="582" y="489"/>
                  </a:lnTo>
                  <a:lnTo>
                    <a:pt x="588" y="484"/>
                  </a:lnTo>
                  <a:lnTo>
                    <a:pt x="593" y="480"/>
                  </a:lnTo>
                  <a:lnTo>
                    <a:pt x="600" y="477"/>
                  </a:lnTo>
                  <a:lnTo>
                    <a:pt x="606" y="475"/>
                  </a:lnTo>
                  <a:lnTo>
                    <a:pt x="622" y="471"/>
                  </a:lnTo>
                  <a:lnTo>
                    <a:pt x="641" y="471"/>
                  </a:lnTo>
                  <a:lnTo>
                    <a:pt x="652" y="471"/>
                  </a:lnTo>
                  <a:lnTo>
                    <a:pt x="661" y="471"/>
                  </a:lnTo>
                  <a:lnTo>
                    <a:pt x="671" y="472"/>
                  </a:lnTo>
                  <a:lnTo>
                    <a:pt x="681" y="473"/>
                  </a:lnTo>
                  <a:lnTo>
                    <a:pt x="689" y="477"/>
                  </a:lnTo>
                  <a:lnTo>
                    <a:pt x="695" y="483"/>
                  </a:lnTo>
                  <a:lnTo>
                    <a:pt x="698" y="487"/>
                  </a:lnTo>
                  <a:lnTo>
                    <a:pt x="699" y="491"/>
                  </a:lnTo>
                  <a:lnTo>
                    <a:pt x="701" y="495"/>
                  </a:lnTo>
                  <a:lnTo>
                    <a:pt x="702" y="500"/>
                  </a:lnTo>
                  <a:lnTo>
                    <a:pt x="701" y="511"/>
                  </a:lnTo>
                  <a:lnTo>
                    <a:pt x="698" y="519"/>
                  </a:lnTo>
                  <a:lnTo>
                    <a:pt x="693" y="524"/>
                  </a:lnTo>
                  <a:lnTo>
                    <a:pt x="687" y="531"/>
                  </a:lnTo>
                  <a:lnTo>
                    <a:pt x="682" y="536"/>
                  </a:lnTo>
                  <a:lnTo>
                    <a:pt x="677" y="543"/>
                  </a:lnTo>
                  <a:lnTo>
                    <a:pt x="670" y="551"/>
                  </a:lnTo>
                  <a:lnTo>
                    <a:pt x="666" y="560"/>
                  </a:lnTo>
                  <a:lnTo>
                    <a:pt x="674" y="564"/>
                  </a:lnTo>
                  <a:lnTo>
                    <a:pt x="681" y="565"/>
                  </a:lnTo>
                  <a:lnTo>
                    <a:pt x="687" y="565"/>
                  </a:lnTo>
                  <a:lnTo>
                    <a:pt x="693" y="565"/>
                  </a:lnTo>
                  <a:lnTo>
                    <a:pt x="705" y="563"/>
                  </a:lnTo>
                  <a:lnTo>
                    <a:pt x="719" y="560"/>
                  </a:lnTo>
                  <a:lnTo>
                    <a:pt x="725" y="573"/>
                  </a:lnTo>
                  <a:lnTo>
                    <a:pt x="731" y="589"/>
                  </a:lnTo>
                  <a:lnTo>
                    <a:pt x="737" y="596"/>
                  </a:lnTo>
                  <a:lnTo>
                    <a:pt x="743" y="603"/>
                  </a:lnTo>
                  <a:lnTo>
                    <a:pt x="747" y="605"/>
                  </a:lnTo>
                  <a:lnTo>
                    <a:pt x="751" y="607"/>
                  </a:lnTo>
                  <a:lnTo>
                    <a:pt x="757" y="608"/>
                  </a:lnTo>
                  <a:lnTo>
                    <a:pt x="762" y="608"/>
                  </a:lnTo>
                  <a:lnTo>
                    <a:pt x="770" y="608"/>
                  </a:lnTo>
                  <a:lnTo>
                    <a:pt x="777" y="605"/>
                  </a:lnTo>
                  <a:lnTo>
                    <a:pt x="782" y="601"/>
                  </a:lnTo>
                  <a:lnTo>
                    <a:pt x="786" y="596"/>
                  </a:lnTo>
                  <a:lnTo>
                    <a:pt x="790" y="589"/>
                  </a:lnTo>
                  <a:lnTo>
                    <a:pt x="793" y="581"/>
                  </a:lnTo>
                  <a:lnTo>
                    <a:pt x="795" y="571"/>
                  </a:lnTo>
                  <a:lnTo>
                    <a:pt x="798" y="560"/>
                  </a:lnTo>
                  <a:lnTo>
                    <a:pt x="827" y="561"/>
                  </a:lnTo>
                  <a:lnTo>
                    <a:pt x="866" y="563"/>
                  </a:lnTo>
                  <a:lnTo>
                    <a:pt x="886" y="561"/>
                  </a:lnTo>
                  <a:lnTo>
                    <a:pt x="903" y="557"/>
                  </a:lnTo>
                  <a:lnTo>
                    <a:pt x="911" y="555"/>
                  </a:lnTo>
                  <a:lnTo>
                    <a:pt x="919" y="552"/>
                  </a:lnTo>
                  <a:lnTo>
                    <a:pt x="925" y="548"/>
                  </a:lnTo>
                  <a:lnTo>
                    <a:pt x="930" y="543"/>
                  </a:lnTo>
                  <a:lnTo>
                    <a:pt x="922" y="529"/>
                  </a:lnTo>
                  <a:lnTo>
                    <a:pt x="917" y="516"/>
                  </a:lnTo>
                  <a:lnTo>
                    <a:pt x="915" y="508"/>
                  </a:lnTo>
                  <a:lnTo>
                    <a:pt x="914" y="499"/>
                  </a:lnTo>
                  <a:lnTo>
                    <a:pt x="913" y="488"/>
                  </a:lnTo>
                  <a:lnTo>
                    <a:pt x="913" y="476"/>
                  </a:lnTo>
                  <a:lnTo>
                    <a:pt x="914" y="457"/>
                  </a:lnTo>
                  <a:lnTo>
                    <a:pt x="917" y="443"/>
                  </a:lnTo>
                  <a:lnTo>
                    <a:pt x="922" y="428"/>
                  </a:lnTo>
                  <a:lnTo>
                    <a:pt x="927" y="416"/>
                  </a:lnTo>
                  <a:lnTo>
                    <a:pt x="933" y="403"/>
                  </a:lnTo>
                  <a:lnTo>
                    <a:pt x="938" y="390"/>
                  </a:lnTo>
                  <a:lnTo>
                    <a:pt x="941" y="375"/>
                  </a:lnTo>
                  <a:lnTo>
                    <a:pt x="942" y="356"/>
                  </a:lnTo>
                  <a:lnTo>
                    <a:pt x="946" y="352"/>
                  </a:lnTo>
                  <a:lnTo>
                    <a:pt x="949" y="351"/>
                  </a:lnTo>
                  <a:lnTo>
                    <a:pt x="951" y="350"/>
                  </a:lnTo>
                  <a:lnTo>
                    <a:pt x="954" y="350"/>
                  </a:lnTo>
                  <a:lnTo>
                    <a:pt x="946" y="351"/>
                  </a:lnTo>
                  <a:lnTo>
                    <a:pt x="938" y="352"/>
                  </a:lnTo>
                  <a:lnTo>
                    <a:pt x="931" y="355"/>
                  </a:lnTo>
                  <a:lnTo>
                    <a:pt x="926" y="359"/>
                  </a:lnTo>
                  <a:lnTo>
                    <a:pt x="915" y="366"/>
                  </a:lnTo>
                  <a:lnTo>
                    <a:pt x="906" y="368"/>
                  </a:lnTo>
                  <a:lnTo>
                    <a:pt x="895" y="367"/>
                  </a:lnTo>
                  <a:lnTo>
                    <a:pt x="883" y="364"/>
                  </a:lnTo>
                  <a:lnTo>
                    <a:pt x="870" y="360"/>
                  </a:lnTo>
                  <a:lnTo>
                    <a:pt x="857" y="354"/>
                  </a:lnTo>
                  <a:lnTo>
                    <a:pt x="842" y="347"/>
                  </a:lnTo>
                  <a:lnTo>
                    <a:pt x="827" y="339"/>
                  </a:lnTo>
                  <a:lnTo>
                    <a:pt x="813" y="330"/>
                  </a:lnTo>
                  <a:lnTo>
                    <a:pt x="799" y="320"/>
                  </a:lnTo>
                  <a:lnTo>
                    <a:pt x="785" y="310"/>
                  </a:lnTo>
                  <a:lnTo>
                    <a:pt x="773" y="299"/>
                  </a:lnTo>
                  <a:lnTo>
                    <a:pt x="761" y="287"/>
                  </a:lnTo>
                  <a:lnTo>
                    <a:pt x="751" y="276"/>
                  </a:lnTo>
                  <a:lnTo>
                    <a:pt x="743" y="266"/>
                  </a:lnTo>
                  <a:lnTo>
                    <a:pt x="737" y="255"/>
                  </a:lnTo>
                  <a:lnTo>
                    <a:pt x="733" y="244"/>
                  </a:lnTo>
                  <a:lnTo>
                    <a:pt x="731" y="235"/>
                  </a:lnTo>
                  <a:lnTo>
                    <a:pt x="727" y="240"/>
                  </a:lnTo>
                  <a:lnTo>
                    <a:pt x="722" y="243"/>
                  </a:lnTo>
                  <a:lnTo>
                    <a:pt x="718" y="243"/>
                  </a:lnTo>
                  <a:lnTo>
                    <a:pt x="713" y="242"/>
                  </a:lnTo>
                  <a:lnTo>
                    <a:pt x="699" y="238"/>
                  </a:lnTo>
                  <a:lnTo>
                    <a:pt x="683" y="235"/>
                  </a:lnTo>
                  <a:lnTo>
                    <a:pt x="673" y="235"/>
                  </a:lnTo>
                  <a:lnTo>
                    <a:pt x="664" y="232"/>
                  </a:lnTo>
                  <a:lnTo>
                    <a:pt x="658" y="230"/>
                  </a:lnTo>
                  <a:lnTo>
                    <a:pt x="653" y="226"/>
                  </a:lnTo>
                  <a:lnTo>
                    <a:pt x="650" y="220"/>
                  </a:lnTo>
                  <a:lnTo>
                    <a:pt x="649" y="215"/>
                  </a:lnTo>
                  <a:lnTo>
                    <a:pt x="649" y="210"/>
                  </a:lnTo>
                  <a:lnTo>
                    <a:pt x="649" y="203"/>
                  </a:lnTo>
                  <a:lnTo>
                    <a:pt x="650" y="190"/>
                  </a:lnTo>
                  <a:lnTo>
                    <a:pt x="652" y="178"/>
                  </a:lnTo>
                  <a:lnTo>
                    <a:pt x="652" y="171"/>
                  </a:lnTo>
                  <a:lnTo>
                    <a:pt x="649" y="166"/>
                  </a:lnTo>
                  <a:lnTo>
                    <a:pt x="646" y="162"/>
                  </a:lnTo>
                  <a:lnTo>
                    <a:pt x="641" y="158"/>
                  </a:lnTo>
                  <a:lnTo>
                    <a:pt x="626" y="148"/>
                  </a:lnTo>
                  <a:lnTo>
                    <a:pt x="614" y="144"/>
                  </a:lnTo>
                  <a:lnTo>
                    <a:pt x="606" y="143"/>
                  </a:lnTo>
                  <a:lnTo>
                    <a:pt x="600" y="143"/>
                  </a:lnTo>
                  <a:lnTo>
                    <a:pt x="596" y="142"/>
                  </a:lnTo>
                  <a:lnTo>
                    <a:pt x="592" y="138"/>
                  </a:lnTo>
                  <a:lnTo>
                    <a:pt x="588" y="130"/>
                  </a:lnTo>
                  <a:lnTo>
                    <a:pt x="581" y="115"/>
                  </a:lnTo>
                  <a:lnTo>
                    <a:pt x="580" y="112"/>
                  </a:lnTo>
                  <a:lnTo>
                    <a:pt x="577" y="110"/>
                  </a:lnTo>
                  <a:lnTo>
                    <a:pt x="574" y="107"/>
                  </a:lnTo>
                  <a:lnTo>
                    <a:pt x="570" y="106"/>
                  </a:lnTo>
                  <a:lnTo>
                    <a:pt x="562" y="103"/>
                  </a:lnTo>
                  <a:lnTo>
                    <a:pt x="552" y="102"/>
                  </a:lnTo>
                  <a:lnTo>
                    <a:pt x="530" y="100"/>
                  </a:lnTo>
                  <a:lnTo>
                    <a:pt x="509" y="96"/>
                  </a:lnTo>
                  <a:lnTo>
                    <a:pt x="501" y="95"/>
                  </a:lnTo>
                  <a:lnTo>
                    <a:pt x="494" y="94"/>
                  </a:lnTo>
                  <a:lnTo>
                    <a:pt x="488" y="90"/>
                  </a:lnTo>
                  <a:lnTo>
                    <a:pt x="482" y="86"/>
                  </a:lnTo>
                  <a:lnTo>
                    <a:pt x="476" y="82"/>
                  </a:lnTo>
                  <a:lnTo>
                    <a:pt x="472" y="76"/>
                  </a:lnTo>
                  <a:lnTo>
                    <a:pt x="466" y="71"/>
                  </a:lnTo>
                  <a:lnTo>
                    <a:pt x="462" y="64"/>
                  </a:lnTo>
                  <a:lnTo>
                    <a:pt x="456" y="51"/>
                  </a:lnTo>
                  <a:lnTo>
                    <a:pt x="450" y="35"/>
                  </a:lnTo>
                  <a:lnTo>
                    <a:pt x="446" y="18"/>
                  </a:lnTo>
                  <a:lnTo>
                    <a:pt x="442" y="0"/>
                  </a:lnTo>
                  <a:lnTo>
                    <a:pt x="436" y="0"/>
                  </a:lnTo>
                  <a:lnTo>
                    <a:pt x="425" y="0"/>
                  </a:lnTo>
                  <a:lnTo>
                    <a:pt x="409" y="12"/>
                  </a:lnTo>
                  <a:lnTo>
                    <a:pt x="390" y="26"/>
                  </a:lnTo>
                  <a:lnTo>
                    <a:pt x="372" y="38"/>
                  </a:lnTo>
                  <a:lnTo>
                    <a:pt x="353" y="48"/>
                  </a:lnTo>
                  <a:lnTo>
                    <a:pt x="342" y="54"/>
                  </a:lnTo>
                  <a:lnTo>
                    <a:pt x="332" y="58"/>
                  </a:lnTo>
                  <a:lnTo>
                    <a:pt x="321" y="60"/>
                  </a:lnTo>
                  <a:lnTo>
                    <a:pt x="309" y="63"/>
                  </a:lnTo>
                  <a:lnTo>
                    <a:pt x="298" y="64"/>
                  </a:lnTo>
                  <a:lnTo>
                    <a:pt x="286" y="64"/>
                  </a:lnTo>
                  <a:lnTo>
                    <a:pt x="274" y="63"/>
                  </a:lnTo>
                  <a:lnTo>
                    <a:pt x="262" y="60"/>
                  </a:lnTo>
                  <a:lnTo>
                    <a:pt x="261" y="70"/>
                  </a:lnTo>
                  <a:lnTo>
                    <a:pt x="262" y="78"/>
                  </a:lnTo>
                  <a:lnTo>
                    <a:pt x="262" y="84"/>
                  </a:lnTo>
                  <a:lnTo>
                    <a:pt x="264" y="90"/>
                  </a:lnTo>
                  <a:lnTo>
                    <a:pt x="269" y="102"/>
                  </a:lnTo>
                  <a:lnTo>
                    <a:pt x="274" y="111"/>
                  </a:lnTo>
                  <a:lnTo>
                    <a:pt x="281" y="119"/>
                  </a:lnTo>
                  <a:lnTo>
                    <a:pt x="286" y="128"/>
                  </a:lnTo>
                  <a:lnTo>
                    <a:pt x="289" y="134"/>
                  </a:lnTo>
                  <a:lnTo>
                    <a:pt x="290" y="139"/>
                  </a:lnTo>
                  <a:lnTo>
                    <a:pt x="292" y="144"/>
                  </a:lnTo>
                  <a:lnTo>
                    <a:pt x="292" y="151"/>
                  </a:lnTo>
                  <a:lnTo>
                    <a:pt x="292" y="155"/>
                  </a:lnTo>
                  <a:lnTo>
                    <a:pt x="290" y="160"/>
                  </a:lnTo>
                  <a:lnTo>
                    <a:pt x="289" y="164"/>
                  </a:lnTo>
                  <a:lnTo>
                    <a:pt x="286" y="167"/>
                  </a:lnTo>
                  <a:lnTo>
                    <a:pt x="280" y="175"/>
                  </a:lnTo>
                  <a:lnTo>
                    <a:pt x="270" y="180"/>
                  </a:lnTo>
                  <a:lnTo>
                    <a:pt x="258" y="187"/>
                  </a:lnTo>
                  <a:lnTo>
                    <a:pt x="245" y="191"/>
                  </a:lnTo>
                  <a:lnTo>
                    <a:pt x="232" y="195"/>
                  </a:lnTo>
                  <a:lnTo>
                    <a:pt x="216" y="199"/>
                  </a:lnTo>
                  <a:lnTo>
                    <a:pt x="184" y="206"/>
                  </a:lnTo>
                  <a:lnTo>
                    <a:pt x="153" y="208"/>
                  </a:lnTo>
                  <a:lnTo>
                    <a:pt x="124" y="211"/>
                  </a:lnTo>
                  <a:lnTo>
                    <a:pt x="100" y="211"/>
                  </a:lnTo>
                  <a:lnTo>
                    <a:pt x="101" y="220"/>
                  </a:lnTo>
                  <a:lnTo>
                    <a:pt x="104" y="227"/>
                  </a:lnTo>
                  <a:lnTo>
                    <a:pt x="108" y="235"/>
                  </a:lnTo>
                  <a:lnTo>
                    <a:pt x="112" y="242"/>
                  </a:lnTo>
                  <a:lnTo>
                    <a:pt x="116" y="250"/>
                  </a:lnTo>
                  <a:lnTo>
                    <a:pt x="120" y="258"/>
                  </a:lnTo>
                  <a:lnTo>
                    <a:pt x="122" y="267"/>
                  </a:lnTo>
                  <a:lnTo>
                    <a:pt x="124" y="278"/>
                  </a:lnTo>
                  <a:lnTo>
                    <a:pt x="122" y="290"/>
                  </a:lnTo>
                  <a:lnTo>
                    <a:pt x="120" y="300"/>
                  </a:lnTo>
                  <a:lnTo>
                    <a:pt x="116" y="311"/>
                  </a:lnTo>
                  <a:lnTo>
                    <a:pt x="109" y="320"/>
                  </a:lnTo>
                  <a:lnTo>
                    <a:pt x="102" y="330"/>
                  </a:lnTo>
                  <a:lnTo>
                    <a:pt x="94" y="338"/>
                  </a:lnTo>
                  <a:lnTo>
                    <a:pt x="85" y="346"/>
                  </a:lnTo>
                  <a:lnTo>
                    <a:pt x="76" y="352"/>
                  </a:lnTo>
                  <a:lnTo>
                    <a:pt x="57" y="367"/>
                  </a:lnTo>
                  <a:lnTo>
                    <a:pt x="40" y="380"/>
                  </a:lnTo>
                  <a:lnTo>
                    <a:pt x="32" y="388"/>
                  </a:lnTo>
                  <a:lnTo>
                    <a:pt x="25" y="395"/>
                  </a:lnTo>
                  <a:lnTo>
                    <a:pt x="20" y="403"/>
                  </a:lnTo>
                  <a:lnTo>
                    <a:pt x="16" y="410"/>
                  </a:lnTo>
                  <a:lnTo>
                    <a:pt x="8" y="424"/>
                  </a:lnTo>
                  <a:lnTo>
                    <a:pt x="4" y="437"/>
                  </a:lnTo>
                  <a:lnTo>
                    <a:pt x="1" y="451"/>
                  </a:lnTo>
                  <a:lnTo>
                    <a:pt x="0" y="465"/>
                  </a:lnTo>
                  <a:lnTo>
                    <a:pt x="1" y="496"/>
                  </a:lnTo>
                  <a:lnTo>
                    <a:pt x="4" y="531"/>
                  </a:lnTo>
                  <a:lnTo>
                    <a:pt x="4" y="559"/>
                  </a:lnTo>
                  <a:lnTo>
                    <a:pt x="8" y="585"/>
                  </a:lnTo>
                  <a:lnTo>
                    <a:pt x="12" y="609"/>
                  </a:lnTo>
                  <a:lnTo>
                    <a:pt x="18" y="632"/>
                  </a:lnTo>
                  <a:lnTo>
                    <a:pt x="25" y="652"/>
                  </a:lnTo>
                  <a:lnTo>
                    <a:pt x="33" y="671"/>
                  </a:lnTo>
                  <a:lnTo>
                    <a:pt x="42" y="689"/>
                  </a:lnTo>
                  <a:lnTo>
                    <a:pt x="52" y="707"/>
                  </a:lnTo>
                  <a:lnTo>
                    <a:pt x="60" y="724"/>
                  </a:lnTo>
                  <a:lnTo>
                    <a:pt x="69" y="741"/>
                  </a:lnTo>
                  <a:lnTo>
                    <a:pt x="77" y="760"/>
                  </a:lnTo>
                  <a:lnTo>
                    <a:pt x="85" y="780"/>
                  </a:lnTo>
                  <a:lnTo>
                    <a:pt x="90" y="800"/>
                  </a:lnTo>
                  <a:lnTo>
                    <a:pt x="96" y="823"/>
                  </a:lnTo>
                  <a:lnTo>
                    <a:pt x="98" y="847"/>
                  </a:lnTo>
                  <a:lnTo>
                    <a:pt x="100" y="873"/>
                  </a:lnTo>
                  <a:lnTo>
                    <a:pt x="100" y="889"/>
                  </a:lnTo>
                  <a:lnTo>
                    <a:pt x="100" y="905"/>
                  </a:lnTo>
                  <a:lnTo>
                    <a:pt x="100" y="920"/>
                  </a:lnTo>
                  <a:lnTo>
                    <a:pt x="100" y="928"/>
                  </a:lnTo>
                  <a:lnTo>
                    <a:pt x="100" y="945"/>
                  </a:lnTo>
                  <a:lnTo>
                    <a:pt x="102" y="961"/>
                  </a:lnTo>
                  <a:lnTo>
                    <a:pt x="104" y="967"/>
                  </a:lnTo>
                  <a:lnTo>
                    <a:pt x="108" y="972"/>
                  </a:lnTo>
                  <a:lnTo>
                    <a:pt x="112" y="975"/>
                  </a:lnTo>
                  <a:lnTo>
                    <a:pt x="117" y="976"/>
                  </a:lnTo>
                  <a:lnTo>
                    <a:pt x="126" y="975"/>
                  </a:lnTo>
                  <a:lnTo>
                    <a:pt x="133" y="972"/>
                  </a:lnTo>
                  <a:lnTo>
                    <a:pt x="138" y="968"/>
                  </a:lnTo>
                  <a:lnTo>
                    <a:pt x="144" y="964"/>
                  </a:lnTo>
                  <a:lnTo>
                    <a:pt x="149" y="960"/>
                  </a:lnTo>
                  <a:lnTo>
                    <a:pt x="154" y="956"/>
                  </a:lnTo>
                  <a:lnTo>
                    <a:pt x="160" y="953"/>
                  </a:lnTo>
                  <a:lnTo>
                    <a:pt x="166" y="952"/>
                  </a:lnTo>
                  <a:lnTo>
                    <a:pt x="172" y="953"/>
                  </a:lnTo>
                  <a:lnTo>
                    <a:pt x="178" y="959"/>
                  </a:lnTo>
                  <a:lnTo>
                    <a:pt x="186" y="965"/>
                  </a:lnTo>
                  <a:lnTo>
                    <a:pt x="194" y="973"/>
                  </a:lnTo>
                  <a:lnTo>
                    <a:pt x="202" y="983"/>
                  </a:lnTo>
                  <a:lnTo>
                    <a:pt x="208" y="993"/>
                  </a:lnTo>
                  <a:lnTo>
                    <a:pt x="213" y="1003"/>
                  </a:lnTo>
                  <a:lnTo>
                    <a:pt x="214" y="1012"/>
                  </a:lnTo>
                  <a:lnTo>
                    <a:pt x="213" y="1018"/>
                  </a:lnTo>
                  <a:lnTo>
                    <a:pt x="212" y="1024"/>
                  </a:lnTo>
                  <a:lnTo>
                    <a:pt x="208" y="1028"/>
                  </a:lnTo>
                  <a:lnTo>
                    <a:pt x="204" y="1033"/>
                  </a:lnTo>
                  <a:lnTo>
                    <a:pt x="193" y="1038"/>
                  </a:lnTo>
                  <a:lnTo>
                    <a:pt x="181" y="1044"/>
                  </a:lnTo>
                  <a:lnTo>
                    <a:pt x="169" y="1049"/>
                  </a:lnTo>
                  <a:lnTo>
                    <a:pt x="158" y="1056"/>
                  </a:lnTo>
                  <a:lnTo>
                    <a:pt x="154" y="1058"/>
                  </a:lnTo>
                  <a:lnTo>
                    <a:pt x="150" y="1062"/>
                  </a:lnTo>
                  <a:lnTo>
                    <a:pt x="149" y="1066"/>
                  </a:lnTo>
                  <a:lnTo>
                    <a:pt x="148" y="1072"/>
                  </a:lnTo>
                  <a:lnTo>
                    <a:pt x="148" y="1077"/>
                  </a:lnTo>
                  <a:lnTo>
                    <a:pt x="149" y="1081"/>
                  </a:lnTo>
                  <a:lnTo>
                    <a:pt x="150" y="1084"/>
                  </a:lnTo>
                  <a:lnTo>
                    <a:pt x="153" y="1088"/>
                  </a:lnTo>
                  <a:lnTo>
                    <a:pt x="160" y="1094"/>
                  </a:lnTo>
                  <a:lnTo>
                    <a:pt x="166" y="1101"/>
                  </a:lnTo>
                  <a:lnTo>
                    <a:pt x="173" y="1108"/>
                  </a:lnTo>
                  <a:lnTo>
                    <a:pt x="178" y="1116"/>
                  </a:lnTo>
                  <a:lnTo>
                    <a:pt x="181" y="1121"/>
                  </a:lnTo>
                  <a:lnTo>
                    <a:pt x="182" y="1126"/>
                  </a:lnTo>
                  <a:lnTo>
                    <a:pt x="184" y="1132"/>
                  </a:lnTo>
                  <a:lnTo>
                    <a:pt x="184" y="1138"/>
                  </a:lnTo>
                  <a:lnTo>
                    <a:pt x="184" y="1146"/>
                  </a:lnTo>
                  <a:lnTo>
                    <a:pt x="182" y="1152"/>
                  </a:lnTo>
                  <a:lnTo>
                    <a:pt x="181" y="1157"/>
                  </a:lnTo>
                  <a:lnTo>
                    <a:pt x="180" y="1161"/>
                  </a:lnTo>
                  <a:lnTo>
                    <a:pt x="174" y="1169"/>
                  </a:lnTo>
                  <a:lnTo>
                    <a:pt x="169" y="1174"/>
                  </a:lnTo>
                  <a:lnTo>
                    <a:pt x="164" y="1181"/>
                  </a:lnTo>
                  <a:lnTo>
                    <a:pt x="158" y="1188"/>
                  </a:lnTo>
                  <a:lnTo>
                    <a:pt x="157" y="1192"/>
                  </a:lnTo>
                  <a:lnTo>
                    <a:pt x="154" y="1197"/>
                  </a:lnTo>
                  <a:lnTo>
                    <a:pt x="154" y="1204"/>
                  </a:lnTo>
                  <a:lnTo>
                    <a:pt x="154" y="1210"/>
                  </a:lnTo>
                  <a:lnTo>
                    <a:pt x="157" y="1214"/>
                  </a:lnTo>
                  <a:lnTo>
                    <a:pt x="164" y="1221"/>
                  </a:lnTo>
                  <a:lnTo>
                    <a:pt x="176" y="1229"/>
                  </a:lnTo>
                  <a:lnTo>
                    <a:pt x="189" y="1237"/>
                  </a:lnTo>
                  <a:lnTo>
                    <a:pt x="204" y="1245"/>
                  </a:lnTo>
                  <a:lnTo>
                    <a:pt x="217" y="1252"/>
                  </a:lnTo>
                  <a:lnTo>
                    <a:pt x="229" y="1257"/>
                  </a:lnTo>
                  <a:lnTo>
                    <a:pt x="238" y="1258"/>
                  </a:lnTo>
                  <a:lnTo>
                    <a:pt x="246" y="1258"/>
                  </a:lnTo>
                  <a:lnTo>
                    <a:pt x="253" y="1256"/>
                  </a:lnTo>
                  <a:lnTo>
                    <a:pt x="260" y="1253"/>
                  </a:lnTo>
                  <a:lnTo>
                    <a:pt x="265" y="1250"/>
                  </a:lnTo>
                  <a:lnTo>
                    <a:pt x="270" y="1246"/>
                  </a:lnTo>
                  <a:lnTo>
                    <a:pt x="277" y="1244"/>
                  </a:lnTo>
                  <a:lnTo>
                    <a:pt x="284" y="1241"/>
                  </a:lnTo>
                  <a:lnTo>
                    <a:pt x="292" y="1241"/>
                  </a:lnTo>
                  <a:lnTo>
                    <a:pt x="301" y="1241"/>
                  </a:lnTo>
                  <a:lnTo>
                    <a:pt x="308" y="1244"/>
                  </a:lnTo>
                  <a:lnTo>
                    <a:pt x="314" y="1246"/>
                  </a:lnTo>
                  <a:lnTo>
                    <a:pt x="321" y="1250"/>
                  </a:lnTo>
                  <a:lnTo>
                    <a:pt x="332" y="1260"/>
                  </a:lnTo>
                  <a:lnTo>
                    <a:pt x="341" y="1270"/>
                  </a:lnTo>
                  <a:lnTo>
                    <a:pt x="352" y="1282"/>
                  </a:lnTo>
                  <a:lnTo>
                    <a:pt x="362" y="1292"/>
                  </a:lnTo>
                  <a:lnTo>
                    <a:pt x="369" y="1296"/>
                  </a:lnTo>
                  <a:lnTo>
                    <a:pt x="377" y="1298"/>
                  </a:lnTo>
                  <a:lnTo>
                    <a:pt x="385" y="1301"/>
                  </a:lnTo>
                  <a:lnTo>
                    <a:pt x="394" y="1301"/>
                  </a:lnTo>
                  <a:lnTo>
                    <a:pt x="402" y="1300"/>
                  </a:lnTo>
                  <a:lnTo>
                    <a:pt x="410" y="1298"/>
                  </a:lnTo>
                  <a:lnTo>
                    <a:pt x="418" y="1294"/>
                  </a:lnTo>
                  <a:lnTo>
                    <a:pt x="428" y="1289"/>
                  </a:lnTo>
                  <a:lnTo>
                    <a:pt x="444" y="1276"/>
                  </a:lnTo>
                  <a:lnTo>
                    <a:pt x="460" y="1258"/>
                  </a:lnTo>
                  <a:lnTo>
                    <a:pt x="477" y="1242"/>
                  </a:lnTo>
                  <a:lnTo>
                    <a:pt x="492" y="1225"/>
                  </a:lnTo>
                  <a:lnTo>
                    <a:pt x="508" y="1210"/>
                  </a:lnTo>
                  <a:lnTo>
                    <a:pt x="521" y="1198"/>
                  </a:lnTo>
                  <a:lnTo>
                    <a:pt x="516" y="1174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accent1">
                  <a:lumMod val="20000"/>
                  <a:lumOff val="8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95" b="0" i="0" u="none" strike="noStrike" kern="1200" cap="none" spc="0" normalizeH="0" baseline="0" noProof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3" name="Freeform 97"/>
            <p:cNvSpPr>
              <a:spLocks/>
            </p:cNvSpPr>
            <p:nvPr/>
          </p:nvSpPr>
          <p:spPr bwMode="auto">
            <a:xfrm>
              <a:off x="4861035" y="2399040"/>
              <a:ext cx="45984" cy="33250"/>
            </a:xfrm>
            <a:custGeom>
              <a:avLst/>
              <a:gdLst>
                <a:gd name="T0" fmla="*/ 171 w 639"/>
                <a:gd name="T1" fmla="*/ 35 h 464"/>
                <a:gd name="T2" fmla="*/ 143 w 639"/>
                <a:gd name="T3" fmla="*/ 71 h 464"/>
                <a:gd name="T4" fmla="*/ 107 w 639"/>
                <a:gd name="T5" fmla="*/ 103 h 464"/>
                <a:gd name="T6" fmla="*/ 24 w 639"/>
                <a:gd name="T7" fmla="*/ 147 h 464"/>
                <a:gd name="T8" fmla="*/ 4 w 639"/>
                <a:gd name="T9" fmla="*/ 171 h 464"/>
                <a:gd name="T10" fmla="*/ 23 w 639"/>
                <a:gd name="T11" fmla="*/ 200 h 464"/>
                <a:gd name="T12" fmla="*/ 64 w 639"/>
                <a:gd name="T13" fmla="*/ 233 h 464"/>
                <a:gd name="T14" fmla="*/ 84 w 639"/>
                <a:gd name="T15" fmla="*/ 241 h 464"/>
                <a:gd name="T16" fmla="*/ 107 w 639"/>
                <a:gd name="T17" fmla="*/ 239 h 464"/>
                <a:gd name="T18" fmla="*/ 126 w 639"/>
                <a:gd name="T19" fmla="*/ 229 h 464"/>
                <a:gd name="T20" fmla="*/ 144 w 639"/>
                <a:gd name="T21" fmla="*/ 224 h 464"/>
                <a:gd name="T22" fmla="*/ 167 w 639"/>
                <a:gd name="T23" fmla="*/ 228 h 464"/>
                <a:gd name="T24" fmla="*/ 182 w 639"/>
                <a:gd name="T25" fmla="*/ 240 h 464"/>
                <a:gd name="T26" fmla="*/ 192 w 639"/>
                <a:gd name="T27" fmla="*/ 265 h 464"/>
                <a:gd name="T28" fmla="*/ 200 w 639"/>
                <a:gd name="T29" fmla="*/ 313 h 464"/>
                <a:gd name="T30" fmla="*/ 207 w 639"/>
                <a:gd name="T31" fmla="*/ 363 h 464"/>
                <a:gd name="T32" fmla="*/ 216 w 639"/>
                <a:gd name="T33" fmla="*/ 388 h 464"/>
                <a:gd name="T34" fmla="*/ 228 w 639"/>
                <a:gd name="T35" fmla="*/ 400 h 464"/>
                <a:gd name="T36" fmla="*/ 247 w 639"/>
                <a:gd name="T37" fmla="*/ 404 h 464"/>
                <a:gd name="T38" fmla="*/ 259 w 639"/>
                <a:gd name="T39" fmla="*/ 400 h 464"/>
                <a:gd name="T40" fmla="*/ 275 w 639"/>
                <a:gd name="T41" fmla="*/ 383 h 464"/>
                <a:gd name="T42" fmla="*/ 292 w 639"/>
                <a:gd name="T43" fmla="*/ 365 h 464"/>
                <a:gd name="T44" fmla="*/ 307 w 639"/>
                <a:gd name="T45" fmla="*/ 361 h 464"/>
                <a:gd name="T46" fmla="*/ 335 w 639"/>
                <a:gd name="T47" fmla="*/ 368 h 464"/>
                <a:gd name="T48" fmla="*/ 371 w 639"/>
                <a:gd name="T49" fmla="*/ 399 h 464"/>
                <a:gd name="T50" fmla="*/ 407 w 639"/>
                <a:gd name="T51" fmla="*/ 431 h 464"/>
                <a:gd name="T52" fmla="*/ 434 w 639"/>
                <a:gd name="T53" fmla="*/ 440 h 464"/>
                <a:gd name="T54" fmla="*/ 463 w 639"/>
                <a:gd name="T55" fmla="*/ 438 h 464"/>
                <a:gd name="T56" fmla="*/ 462 w 639"/>
                <a:gd name="T57" fmla="*/ 436 h 464"/>
                <a:gd name="T58" fmla="*/ 470 w 639"/>
                <a:gd name="T59" fmla="*/ 435 h 464"/>
                <a:gd name="T60" fmla="*/ 503 w 639"/>
                <a:gd name="T61" fmla="*/ 444 h 464"/>
                <a:gd name="T62" fmla="*/ 533 w 639"/>
                <a:gd name="T63" fmla="*/ 460 h 464"/>
                <a:gd name="T64" fmla="*/ 568 w 639"/>
                <a:gd name="T65" fmla="*/ 464 h 464"/>
                <a:gd name="T66" fmla="*/ 584 w 639"/>
                <a:gd name="T67" fmla="*/ 454 h 464"/>
                <a:gd name="T68" fmla="*/ 595 w 639"/>
                <a:gd name="T69" fmla="*/ 436 h 464"/>
                <a:gd name="T70" fmla="*/ 601 w 639"/>
                <a:gd name="T71" fmla="*/ 396 h 464"/>
                <a:gd name="T72" fmla="*/ 603 w 639"/>
                <a:gd name="T73" fmla="*/ 359 h 464"/>
                <a:gd name="T74" fmla="*/ 608 w 639"/>
                <a:gd name="T75" fmla="*/ 351 h 464"/>
                <a:gd name="T76" fmla="*/ 627 w 639"/>
                <a:gd name="T77" fmla="*/ 336 h 464"/>
                <a:gd name="T78" fmla="*/ 639 w 639"/>
                <a:gd name="T79" fmla="*/ 320 h 464"/>
                <a:gd name="T80" fmla="*/ 631 w 639"/>
                <a:gd name="T81" fmla="*/ 303 h 464"/>
                <a:gd name="T82" fmla="*/ 619 w 639"/>
                <a:gd name="T83" fmla="*/ 293 h 464"/>
                <a:gd name="T84" fmla="*/ 605 w 639"/>
                <a:gd name="T85" fmla="*/ 275 h 464"/>
                <a:gd name="T86" fmla="*/ 564 w 639"/>
                <a:gd name="T87" fmla="*/ 233 h 464"/>
                <a:gd name="T88" fmla="*/ 544 w 639"/>
                <a:gd name="T89" fmla="*/ 219 h 464"/>
                <a:gd name="T90" fmla="*/ 513 w 639"/>
                <a:gd name="T91" fmla="*/ 228 h 464"/>
                <a:gd name="T92" fmla="*/ 452 w 639"/>
                <a:gd name="T93" fmla="*/ 263 h 464"/>
                <a:gd name="T94" fmla="*/ 415 w 639"/>
                <a:gd name="T95" fmla="*/ 281 h 464"/>
                <a:gd name="T96" fmla="*/ 391 w 639"/>
                <a:gd name="T97" fmla="*/ 283 h 464"/>
                <a:gd name="T98" fmla="*/ 372 w 639"/>
                <a:gd name="T99" fmla="*/ 276 h 464"/>
                <a:gd name="T100" fmla="*/ 356 w 639"/>
                <a:gd name="T101" fmla="*/ 263 h 464"/>
                <a:gd name="T102" fmla="*/ 336 w 639"/>
                <a:gd name="T103" fmla="*/ 231 h 464"/>
                <a:gd name="T104" fmla="*/ 331 w 639"/>
                <a:gd name="T105" fmla="*/ 183 h 464"/>
                <a:gd name="T106" fmla="*/ 324 w 639"/>
                <a:gd name="T107" fmla="*/ 113 h 464"/>
                <a:gd name="T108" fmla="*/ 314 w 639"/>
                <a:gd name="T109" fmla="*/ 81 h 464"/>
                <a:gd name="T110" fmla="*/ 295 w 639"/>
                <a:gd name="T111" fmla="*/ 60 h 464"/>
                <a:gd name="T112" fmla="*/ 267 w 639"/>
                <a:gd name="T113" fmla="*/ 55 h 464"/>
                <a:gd name="T114" fmla="*/ 220 w 639"/>
                <a:gd name="T115" fmla="*/ 44 h 464"/>
                <a:gd name="T116" fmla="*/ 199 w 639"/>
                <a:gd name="T117" fmla="*/ 32 h 464"/>
                <a:gd name="T118" fmla="*/ 184 w 639"/>
                <a:gd name="T119" fmla="*/ 15 h 464"/>
                <a:gd name="T120" fmla="*/ 182 w 639"/>
                <a:gd name="T121" fmla="*/ 7 h 46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639"/>
                <a:gd name="T184" fmla="*/ 0 h 464"/>
                <a:gd name="T185" fmla="*/ 639 w 639"/>
                <a:gd name="T186" fmla="*/ 464 h 46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639" h="464">
                  <a:moveTo>
                    <a:pt x="182" y="7"/>
                  </a:moveTo>
                  <a:lnTo>
                    <a:pt x="176" y="21"/>
                  </a:lnTo>
                  <a:lnTo>
                    <a:pt x="171" y="35"/>
                  </a:lnTo>
                  <a:lnTo>
                    <a:pt x="163" y="48"/>
                  </a:lnTo>
                  <a:lnTo>
                    <a:pt x="154" y="60"/>
                  </a:lnTo>
                  <a:lnTo>
                    <a:pt x="143" y="71"/>
                  </a:lnTo>
                  <a:lnTo>
                    <a:pt x="132" y="83"/>
                  </a:lnTo>
                  <a:lnTo>
                    <a:pt x="119" y="92"/>
                  </a:lnTo>
                  <a:lnTo>
                    <a:pt x="107" y="103"/>
                  </a:lnTo>
                  <a:lnTo>
                    <a:pt x="79" y="120"/>
                  </a:lnTo>
                  <a:lnTo>
                    <a:pt x="51" y="135"/>
                  </a:lnTo>
                  <a:lnTo>
                    <a:pt x="24" y="147"/>
                  </a:lnTo>
                  <a:lnTo>
                    <a:pt x="0" y="157"/>
                  </a:lnTo>
                  <a:lnTo>
                    <a:pt x="2" y="164"/>
                  </a:lnTo>
                  <a:lnTo>
                    <a:pt x="4" y="171"/>
                  </a:lnTo>
                  <a:lnTo>
                    <a:pt x="8" y="179"/>
                  </a:lnTo>
                  <a:lnTo>
                    <a:pt x="12" y="185"/>
                  </a:lnTo>
                  <a:lnTo>
                    <a:pt x="23" y="200"/>
                  </a:lnTo>
                  <a:lnTo>
                    <a:pt x="36" y="213"/>
                  </a:lnTo>
                  <a:lnTo>
                    <a:pt x="51" y="224"/>
                  </a:lnTo>
                  <a:lnTo>
                    <a:pt x="64" y="233"/>
                  </a:lnTo>
                  <a:lnTo>
                    <a:pt x="72" y="237"/>
                  </a:lnTo>
                  <a:lnTo>
                    <a:pt x="79" y="239"/>
                  </a:lnTo>
                  <a:lnTo>
                    <a:pt x="84" y="241"/>
                  </a:lnTo>
                  <a:lnTo>
                    <a:pt x="91" y="241"/>
                  </a:lnTo>
                  <a:lnTo>
                    <a:pt x="99" y="241"/>
                  </a:lnTo>
                  <a:lnTo>
                    <a:pt x="107" y="239"/>
                  </a:lnTo>
                  <a:lnTo>
                    <a:pt x="114" y="236"/>
                  </a:lnTo>
                  <a:lnTo>
                    <a:pt x="120" y="232"/>
                  </a:lnTo>
                  <a:lnTo>
                    <a:pt x="126" y="229"/>
                  </a:lnTo>
                  <a:lnTo>
                    <a:pt x="132" y="227"/>
                  </a:lnTo>
                  <a:lnTo>
                    <a:pt x="139" y="224"/>
                  </a:lnTo>
                  <a:lnTo>
                    <a:pt x="144" y="224"/>
                  </a:lnTo>
                  <a:lnTo>
                    <a:pt x="152" y="224"/>
                  </a:lnTo>
                  <a:lnTo>
                    <a:pt x="160" y="225"/>
                  </a:lnTo>
                  <a:lnTo>
                    <a:pt x="167" y="228"/>
                  </a:lnTo>
                  <a:lnTo>
                    <a:pt x="172" y="231"/>
                  </a:lnTo>
                  <a:lnTo>
                    <a:pt x="176" y="235"/>
                  </a:lnTo>
                  <a:lnTo>
                    <a:pt x="182" y="240"/>
                  </a:lnTo>
                  <a:lnTo>
                    <a:pt x="184" y="245"/>
                  </a:lnTo>
                  <a:lnTo>
                    <a:pt x="188" y="252"/>
                  </a:lnTo>
                  <a:lnTo>
                    <a:pt x="192" y="265"/>
                  </a:lnTo>
                  <a:lnTo>
                    <a:pt x="196" y="280"/>
                  </a:lnTo>
                  <a:lnTo>
                    <a:pt x="199" y="297"/>
                  </a:lnTo>
                  <a:lnTo>
                    <a:pt x="200" y="313"/>
                  </a:lnTo>
                  <a:lnTo>
                    <a:pt x="202" y="331"/>
                  </a:lnTo>
                  <a:lnTo>
                    <a:pt x="204" y="347"/>
                  </a:lnTo>
                  <a:lnTo>
                    <a:pt x="207" y="363"/>
                  </a:lnTo>
                  <a:lnTo>
                    <a:pt x="211" y="376"/>
                  </a:lnTo>
                  <a:lnTo>
                    <a:pt x="214" y="381"/>
                  </a:lnTo>
                  <a:lnTo>
                    <a:pt x="216" y="388"/>
                  </a:lnTo>
                  <a:lnTo>
                    <a:pt x="220" y="392"/>
                  </a:lnTo>
                  <a:lnTo>
                    <a:pt x="224" y="396"/>
                  </a:lnTo>
                  <a:lnTo>
                    <a:pt x="228" y="400"/>
                  </a:lnTo>
                  <a:lnTo>
                    <a:pt x="234" y="403"/>
                  </a:lnTo>
                  <a:lnTo>
                    <a:pt x="240" y="404"/>
                  </a:lnTo>
                  <a:lnTo>
                    <a:pt x="247" y="404"/>
                  </a:lnTo>
                  <a:lnTo>
                    <a:pt x="251" y="404"/>
                  </a:lnTo>
                  <a:lnTo>
                    <a:pt x="255" y="403"/>
                  </a:lnTo>
                  <a:lnTo>
                    <a:pt x="259" y="400"/>
                  </a:lnTo>
                  <a:lnTo>
                    <a:pt x="263" y="397"/>
                  </a:lnTo>
                  <a:lnTo>
                    <a:pt x="270" y="391"/>
                  </a:lnTo>
                  <a:lnTo>
                    <a:pt x="275" y="383"/>
                  </a:lnTo>
                  <a:lnTo>
                    <a:pt x="282" y="375"/>
                  </a:lnTo>
                  <a:lnTo>
                    <a:pt x="288" y="368"/>
                  </a:lnTo>
                  <a:lnTo>
                    <a:pt x="292" y="365"/>
                  </a:lnTo>
                  <a:lnTo>
                    <a:pt x="298" y="364"/>
                  </a:lnTo>
                  <a:lnTo>
                    <a:pt x="302" y="363"/>
                  </a:lnTo>
                  <a:lnTo>
                    <a:pt x="307" y="361"/>
                  </a:lnTo>
                  <a:lnTo>
                    <a:pt x="318" y="363"/>
                  </a:lnTo>
                  <a:lnTo>
                    <a:pt x="327" y="365"/>
                  </a:lnTo>
                  <a:lnTo>
                    <a:pt x="335" y="368"/>
                  </a:lnTo>
                  <a:lnTo>
                    <a:pt x="343" y="373"/>
                  </a:lnTo>
                  <a:lnTo>
                    <a:pt x="358" y="385"/>
                  </a:lnTo>
                  <a:lnTo>
                    <a:pt x="371" y="399"/>
                  </a:lnTo>
                  <a:lnTo>
                    <a:pt x="384" y="413"/>
                  </a:lnTo>
                  <a:lnTo>
                    <a:pt x="399" y="425"/>
                  </a:lnTo>
                  <a:lnTo>
                    <a:pt x="407" y="431"/>
                  </a:lnTo>
                  <a:lnTo>
                    <a:pt x="415" y="435"/>
                  </a:lnTo>
                  <a:lnTo>
                    <a:pt x="424" y="438"/>
                  </a:lnTo>
                  <a:lnTo>
                    <a:pt x="434" y="440"/>
                  </a:lnTo>
                  <a:lnTo>
                    <a:pt x="458" y="440"/>
                  </a:lnTo>
                  <a:lnTo>
                    <a:pt x="462" y="440"/>
                  </a:lnTo>
                  <a:lnTo>
                    <a:pt x="463" y="438"/>
                  </a:lnTo>
                  <a:lnTo>
                    <a:pt x="462" y="437"/>
                  </a:lnTo>
                  <a:lnTo>
                    <a:pt x="462" y="436"/>
                  </a:lnTo>
                  <a:lnTo>
                    <a:pt x="463" y="435"/>
                  </a:lnTo>
                  <a:lnTo>
                    <a:pt x="466" y="435"/>
                  </a:lnTo>
                  <a:lnTo>
                    <a:pt x="470" y="435"/>
                  </a:lnTo>
                  <a:lnTo>
                    <a:pt x="483" y="436"/>
                  </a:lnTo>
                  <a:lnTo>
                    <a:pt x="493" y="438"/>
                  </a:lnTo>
                  <a:lnTo>
                    <a:pt x="503" y="444"/>
                  </a:lnTo>
                  <a:lnTo>
                    <a:pt x="513" y="449"/>
                  </a:lnTo>
                  <a:lnTo>
                    <a:pt x="523" y="454"/>
                  </a:lnTo>
                  <a:lnTo>
                    <a:pt x="533" y="460"/>
                  </a:lnTo>
                  <a:lnTo>
                    <a:pt x="545" y="462"/>
                  </a:lnTo>
                  <a:lnTo>
                    <a:pt x="560" y="464"/>
                  </a:lnTo>
                  <a:lnTo>
                    <a:pt x="568" y="464"/>
                  </a:lnTo>
                  <a:lnTo>
                    <a:pt x="575" y="461"/>
                  </a:lnTo>
                  <a:lnTo>
                    <a:pt x="580" y="458"/>
                  </a:lnTo>
                  <a:lnTo>
                    <a:pt x="584" y="454"/>
                  </a:lnTo>
                  <a:lnTo>
                    <a:pt x="589" y="449"/>
                  </a:lnTo>
                  <a:lnTo>
                    <a:pt x="592" y="442"/>
                  </a:lnTo>
                  <a:lnTo>
                    <a:pt x="595" y="436"/>
                  </a:lnTo>
                  <a:lnTo>
                    <a:pt x="597" y="429"/>
                  </a:lnTo>
                  <a:lnTo>
                    <a:pt x="600" y="413"/>
                  </a:lnTo>
                  <a:lnTo>
                    <a:pt x="601" y="396"/>
                  </a:lnTo>
                  <a:lnTo>
                    <a:pt x="603" y="379"/>
                  </a:lnTo>
                  <a:lnTo>
                    <a:pt x="603" y="361"/>
                  </a:lnTo>
                  <a:lnTo>
                    <a:pt x="603" y="359"/>
                  </a:lnTo>
                  <a:lnTo>
                    <a:pt x="604" y="356"/>
                  </a:lnTo>
                  <a:lnTo>
                    <a:pt x="605" y="353"/>
                  </a:lnTo>
                  <a:lnTo>
                    <a:pt x="608" y="351"/>
                  </a:lnTo>
                  <a:lnTo>
                    <a:pt x="613" y="345"/>
                  </a:lnTo>
                  <a:lnTo>
                    <a:pt x="620" y="341"/>
                  </a:lnTo>
                  <a:lnTo>
                    <a:pt x="627" y="336"/>
                  </a:lnTo>
                  <a:lnTo>
                    <a:pt x="633" y="332"/>
                  </a:lnTo>
                  <a:lnTo>
                    <a:pt x="637" y="327"/>
                  </a:lnTo>
                  <a:lnTo>
                    <a:pt x="639" y="320"/>
                  </a:lnTo>
                  <a:lnTo>
                    <a:pt x="637" y="312"/>
                  </a:lnTo>
                  <a:lnTo>
                    <a:pt x="635" y="307"/>
                  </a:lnTo>
                  <a:lnTo>
                    <a:pt x="631" y="303"/>
                  </a:lnTo>
                  <a:lnTo>
                    <a:pt x="627" y="300"/>
                  </a:lnTo>
                  <a:lnTo>
                    <a:pt x="623" y="296"/>
                  </a:lnTo>
                  <a:lnTo>
                    <a:pt x="619" y="293"/>
                  </a:lnTo>
                  <a:lnTo>
                    <a:pt x="616" y="289"/>
                  </a:lnTo>
                  <a:lnTo>
                    <a:pt x="615" y="284"/>
                  </a:lnTo>
                  <a:lnTo>
                    <a:pt x="605" y="275"/>
                  </a:lnTo>
                  <a:lnTo>
                    <a:pt x="584" y="255"/>
                  </a:lnTo>
                  <a:lnTo>
                    <a:pt x="573" y="244"/>
                  </a:lnTo>
                  <a:lnTo>
                    <a:pt x="564" y="233"/>
                  </a:lnTo>
                  <a:lnTo>
                    <a:pt x="557" y="224"/>
                  </a:lnTo>
                  <a:lnTo>
                    <a:pt x="555" y="217"/>
                  </a:lnTo>
                  <a:lnTo>
                    <a:pt x="544" y="219"/>
                  </a:lnTo>
                  <a:lnTo>
                    <a:pt x="533" y="220"/>
                  </a:lnTo>
                  <a:lnTo>
                    <a:pt x="523" y="224"/>
                  </a:lnTo>
                  <a:lnTo>
                    <a:pt x="513" y="228"/>
                  </a:lnTo>
                  <a:lnTo>
                    <a:pt x="492" y="239"/>
                  </a:lnTo>
                  <a:lnTo>
                    <a:pt x="472" y="251"/>
                  </a:lnTo>
                  <a:lnTo>
                    <a:pt x="452" y="263"/>
                  </a:lnTo>
                  <a:lnTo>
                    <a:pt x="432" y="273"/>
                  </a:lnTo>
                  <a:lnTo>
                    <a:pt x="423" y="277"/>
                  </a:lnTo>
                  <a:lnTo>
                    <a:pt x="415" y="281"/>
                  </a:lnTo>
                  <a:lnTo>
                    <a:pt x="406" y="283"/>
                  </a:lnTo>
                  <a:lnTo>
                    <a:pt x="398" y="284"/>
                  </a:lnTo>
                  <a:lnTo>
                    <a:pt x="391" y="283"/>
                  </a:lnTo>
                  <a:lnTo>
                    <a:pt x="384" y="281"/>
                  </a:lnTo>
                  <a:lnTo>
                    <a:pt x="379" y="280"/>
                  </a:lnTo>
                  <a:lnTo>
                    <a:pt x="372" y="276"/>
                  </a:lnTo>
                  <a:lnTo>
                    <a:pt x="367" y="272"/>
                  </a:lnTo>
                  <a:lnTo>
                    <a:pt x="362" y="268"/>
                  </a:lnTo>
                  <a:lnTo>
                    <a:pt x="356" y="263"/>
                  </a:lnTo>
                  <a:lnTo>
                    <a:pt x="351" y="257"/>
                  </a:lnTo>
                  <a:lnTo>
                    <a:pt x="343" y="244"/>
                  </a:lnTo>
                  <a:lnTo>
                    <a:pt x="336" y="231"/>
                  </a:lnTo>
                  <a:lnTo>
                    <a:pt x="334" y="215"/>
                  </a:lnTo>
                  <a:lnTo>
                    <a:pt x="332" y="199"/>
                  </a:lnTo>
                  <a:lnTo>
                    <a:pt x="331" y="183"/>
                  </a:lnTo>
                  <a:lnTo>
                    <a:pt x="331" y="161"/>
                  </a:lnTo>
                  <a:lnTo>
                    <a:pt x="328" y="137"/>
                  </a:lnTo>
                  <a:lnTo>
                    <a:pt x="324" y="113"/>
                  </a:lnTo>
                  <a:lnTo>
                    <a:pt x="322" y="101"/>
                  </a:lnTo>
                  <a:lnTo>
                    <a:pt x="319" y="91"/>
                  </a:lnTo>
                  <a:lnTo>
                    <a:pt x="314" y="81"/>
                  </a:lnTo>
                  <a:lnTo>
                    <a:pt x="308" y="72"/>
                  </a:lnTo>
                  <a:lnTo>
                    <a:pt x="303" y="65"/>
                  </a:lnTo>
                  <a:lnTo>
                    <a:pt x="295" y="60"/>
                  </a:lnTo>
                  <a:lnTo>
                    <a:pt x="287" y="56"/>
                  </a:lnTo>
                  <a:lnTo>
                    <a:pt x="278" y="55"/>
                  </a:lnTo>
                  <a:lnTo>
                    <a:pt x="267" y="55"/>
                  </a:lnTo>
                  <a:lnTo>
                    <a:pt x="252" y="52"/>
                  </a:lnTo>
                  <a:lnTo>
                    <a:pt x="236" y="49"/>
                  </a:lnTo>
                  <a:lnTo>
                    <a:pt x="220" y="44"/>
                  </a:lnTo>
                  <a:lnTo>
                    <a:pt x="212" y="40"/>
                  </a:lnTo>
                  <a:lnTo>
                    <a:pt x="206" y="36"/>
                  </a:lnTo>
                  <a:lnTo>
                    <a:pt x="199" y="32"/>
                  </a:lnTo>
                  <a:lnTo>
                    <a:pt x="192" y="27"/>
                  </a:lnTo>
                  <a:lnTo>
                    <a:pt x="188" y="21"/>
                  </a:lnTo>
                  <a:lnTo>
                    <a:pt x="184" y="15"/>
                  </a:lnTo>
                  <a:lnTo>
                    <a:pt x="182" y="8"/>
                  </a:lnTo>
                  <a:lnTo>
                    <a:pt x="182" y="0"/>
                  </a:lnTo>
                  <a:lnTo>
                    <a:pt x="182" y="7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accent1">
                  <a:lumMod val="20000"/>
                  <a:lumOff val="8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95" b="0" i="0" u="none" strike="noStrike" kern="1200" cap="none" spc="0" normalizeH="0" baseline="0" noProof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4" name="Freeform 108"/>
            <p:cNvSpPr>
              <a:spLocks/>
            </p:cNvSpPr>
            <p:nvPr/>
          </p:nvSpPr>
          <p:spPr bwMode="auto">
            <a:xfrm>
              <a:off x="5302715" y="2575900"/>
              <a:ext cx="110597" cy="72159"/>
            </a:xfrm>
            <a:custGeom>
              <a:avLst/>
              <a:gdLst>
                <a:gd name="T0" fmla="*/ 302 w 1536"/>
                <a:gd name="T1" fmla="*/ 872 h 1000"/>
                <a:gd name="T2" fmla="*/ 432 w 1536"/>
                <a:gd name="T3" fmla="*/ 795 h 1000"/>
                <a:gd name="T4" fmla="*/ 509 w 1536"/>
                <a:gd name="T5" fmla="*/ 776 h 1000"/>
                <a:gd name="T6" fmla="*/ 672 w 1536"/>
                <a:gd name="T7" fmla="*/ 776 h 1000"/>
                <a:gd name="T8" fmla="*/ 807 w 1536"/>
                <a:gd name="T9" fmla="*/ 812 h 1000"/>
                <a:gd name="T10" fmla="*/ 840 w 1536"/>
                <a:gd name="T11" fmla="*/ 839 h 1000"/>
                <a:gd name="T12" fmla="*/ 843 w 1536"/>
                <a:gd name="T13" fmla="*/ 875 h 1000"/>
                <a:gd name="T14" fmla="*/ 857 w 1536"/>
                <a:gd name="T15" fmla="*/ 910 h 1000"/>
                <a:gd name="T16" fmla="*/ 891 w 1536"/>
                <a:gd name="T17" fmla="*/ 934 h 1000"/>
                <a:gd name="T18" fmla="*/ 993 w 1536"/>
                <a:gd name="T19" fmla="*/ 956 h 1000"/>
                <a:gd name="T20" fmla="*/ 1191 w 1536"/>
                <a:gd name="T21" fmla="*/ 957 h 1000"/>
                <a:gd name="T22" fmla="*/ 1344 w 1536"/>
                <a:gd name="T23" fmla="*/ 938 h 1000"/>
                <a:gd name="T24" fmla="*/ 1406 w 1536"/>
                <a:gd name="T25" fmla="*/ 909 h 1000"/>
                <a:gd name="T26" fmla="*/ 1440 w 1536"/>
                <a:gd name="T27" fmla="*/ 869 h 1000"/>
                <a:gd name="T28" fmla="*/ 1456 w 1536"/>
                <a:gd name="T29" fmla="*/ 812 h 1000"/>
                <a:gd name="T30" fmla="*/ 1449 w 1536"/>
                <a:gd name="T31" fmla="*/ 763 h 1000"/>
                <a:gd name="T32" fmla="*/ 1396 w 1536"/>
                <a:gd name="T33" fmla="*/ 711 h 1000"/>
                <a:gd name="T34" fmla="*/ 1368 w 1536"/>
                <a:gd name="T35" fmla="*/ 657 h 1000"/>
                <a:gd name="T36" fmla="*/ 1382 w 1536"/>
                <a:gd name="T37" fmla="*/ 564 h 1000"/>
                <a:gd name="T38" fmla="*/ 1442 w 1536"/>
                <a:gd name="T39" fmla="*/ 460 h 1000"/>
                <a:gd name="T40" fmla="*/ 1465 w 1536"/>
                <a:gd name="T41" fmla="*/ 340 h 1000"/>
                <a:gd name="T42" fmla="*/ 1440 w 1536"/>
                <a:gd name="T43" fmla="*/ 296 h 1000"/>
                <a:gd name="T44" fmla="*/ 1445 w 1536"/>
                <a:gd name="T45" fmla="*/ 260 h 1000"/>
                <a:gd name="T46" fmla="*/ 1462 w 1536"/>
                <a:gd name="T47" fmla="*/ 232 h 1000"/>
                <a:gd name="T48" fmla="*/ 1453 w 1536"/>
                <a:gd name="T49" fmla="*/ 194 h 1000"/>
                <a:gd name="T50" fmla="*/ 1473 w 1536"/>
                <a:gd name="T51" fmla="*/ 178 h 1000"/>
                <a:gd name="T52" fmla="*/ 1521 w 1536"/>
                <a:gd name="T53" fmla="*/ 154 h 1000"/>
                <a:gd name="T54" fmla="*/ 1485 w 1536"/>
                <a:gd name="T55" fmla="*/ 127 h 1000"/>
                <a:gd name="T56" fmla="*/ 1464 w 1536"/>
                <a:gd name="T57" fmla="*/ 108 h 1000"/>
                <a:gd name="T58" fmla="*/ 1413 w 1536"/>
                <a:gd name="T59" fmla="*/ 126 h 1000"/>
                <a:gd name="T60" fmla="*/ 1354 w 1536"/>
                <a:gd name="T61" fmla="*/ 119 h 1000"/>
                <a:gd name="T62" fmla="*/ 1225 w 1536"/>
                <a:gd name="T63" fmla="*/ 47 h 1000"/>
                <a:gd name="T64" fmla="*/ 1188 w 1536"/>
                <a:gd name="T65" fmla="*/ 6 h 1000"/>
                <a:gd name="T66" fmla="*/ 1143 w 1536"/>
                <a:gd name="T67" fmla="*/ 2 h 1000"/>
                <a:gd name="T68" fmla="*/ 1108 w 1536"/>
                <a:gd name="T69" fmla="*/ 22 h 1000"/>
                <a:gd name="T70" fmla="*/ 1077 w 1536"/>
                <a:gd name="T71" fmla="*/ 55 h 1000"/>
                <a:gd name="T72" fmla="*/ 911 w 1536"/>
                <a:gd name="T73" fmla="*/ 84 h 1000"/>
                <a:gd name="T74" fmla="*/ 851 w 1536"/>
                <a:gd name="T75" fmla="*/ 111 h 1000"/>
                <a:gd name="T76" fmla="*/ 841 w 1536"/>
                <a:gd name="T77" fmla="*/ 155 h 1000"/>
                <a:gd name="T78" fmla="*/ 835 w 1536"/>
                <a:gd name="T79" fmla="*/ 200 h 1000"/>
                <a:gd name="T80" fmla="*/ 789 w 1536"/>
                <a:gd name="T81" fmla="*/ 227 h 1000"/>
                <a:gd name="T82" fmla="*/ 723 w 1536"/>
                <a:gd name="T83" fmla="*/ 363 h 1000"/>
                <a:gd name="T84" fmla="*/ 643 w 1536"/>
                <a:gd name="T85" fmla="*/ 468 h 1000"/>
                <a:gd name="T86" fmla="*/ 588 w 1536"/>
                <a:gd name="T87" fmla="*/ 503 h 1000"/>
                <a:gd name="T88" fmla="*/ 523 w 1536"/>
                <a:gd name="T89" fmla="*/ 523 h 1000"/>
                <a:gd name="T90" fmla="*/ 460 w 1536"/>
                <a:gd name="T91" fmla="*/ 520 h 1000"/>
                <a:gd name="T92" fmla="*/ 416 w 1536"/>
                <a:gd name="T93" fmla="*/ 493 h 1000"/>
                <a:gd name="T94" fmla="*/ 266 w 1536"/>
                <a:gd name="T95" fmla="*/ 433 h 1000"/>
                <a:gd name="T96" fmla="*/ 212 w 1536"/>
                <a:gd name="T97" fmla="*/ 436 h 1000"/>
                <a:gd name="T98" fmla="*/ 198 w 1536"/>
                <a:gd name="T99" fmla="*/ 465 h 1000"/>
                <a:gd name="T100" fmla="*/ 188 w 1536"/>
                <a:gd name="T101" fmla="*/ 524 h 1000"/>
                <a:gd name="T102" fmla="*/ 144 w 1536"/>
                <a:gd name="T103" fmla="*/ 563 h 1000"/>
                <a:gd name="T104" fmla="*/ 84 w 1536"/>
                <a:gd name="T105" fmla="*/ 577 h 1000"/>
                <a:gd name="T106" fmla="*/ 0 w 1536"/>
                <a:gd name="T107" fmla="*/ 596 h 1000"/>
                <a:gd name="T108" fmla="*/ 28 w 1536"/>
                <a:gd name="T109" fmla="*/ 676 h 1000"/>
                <a:gd name="T110" fmla="*/ 55 w 1536"/>
                <a:gd name="T111" fmla="*/ 739 h 1000"/>
                <a:gd name="T112" fmla="*/ 130 w 1536"/>
                <a:gd name="T113" fmla="*/ 804 h 1000"/>
                <a:gd name="T114" fmla="*/ 156 w 1536"/>
                <a:gd name="T115" fmla="*/ 861 h 1000"/>
                <a:gd name="T116" fmla="*/ 99 w 1536"/>
                <a:gd name="T117" fmla="*/ 881 h 1000"/>
                <a:gd name="T118" fmla="*/ 92 w 1536"/>
                <a:gd name="T119" fmla="*/ 928 h 1000"/>
                <a:gd name="T120" fmla="*/ 132 w 1536"/>
                <a:gd name="T121" fmla="*/ 993 h 100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536"/>
                <a:gd name="T184" fmla="*/ 0 h 1000"/>
                <a:gd name="T185" fmla="*/ 1536 w 1536"/>
                <a:gd name="T186" fmla="*/ 1000 h 100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536" h="1000">
                  <a:moveTo>
                    <a:pt x="132" y="1000"/>
                  </a:moveTo>
                  <a:lnTo>
                    <a:pt x="179" y="965"/>
                  </a:lnTo>
                  <a:lnTo>
                    <a:pt x="222" y="933"/>
                  </a:lnTo>
                  <a:lnTo>
                    <a:pt x="263" y="901"/>
                  </a:lnTo>
                  <a:lnTo>
                    <a:pt x="302" y="872"/>
                  </a:lnTo>
                  <a:lnTo>
                    <a:pt x="339" y="845"/>
                  </a:lnTo>
                  <a:lnTo>
                    <a:pt x="376" y="821"/>
                  </a:lnTo>
                  <a:lnTo>
                    <a:pt x="395" y="812"/>
                  </a:lnTo>
                  <a:lnTo>
                    <a:pt x="414" y="803"/>
                  </a:lnTo>
                  <a:lnTo>
                    <a:pt x="432" y="795"/>
                  </a:lnTo>
                  <a:lnTo>
                    <a:pt x="452" y="789"/>
                  </a:lnTo>
                  <a:lnTo>
                    <a:pt x="465" y="784"/>
                  </a:lnTo>
                  <a:lnTo>
                    <a:pt x="479" y="781"/>
                  </a:lnTo>
                  <a:lnTo>
                    <a:pt x="493" y="777"/>
                  </a:lnTo>
                  <a:lnTo>
                    <a:pt x="509" y="776"/>
                  </a:lnTo>
                  <a:lnTo>
                    <a:pt x="540" y="772"/>
                  </a:lnTo>
                  <a:lnTo>
                    <a:pt x="573" y="771"/>
                  </a:lnTo>
                  <a:lnTo>
                    <a:pt x="607" y="771"/>
                  </a:lnTo>
                  <a:lnTo>
                    <a:pt x="640" y="773"/>
                  </a:lnTo>
                  <a:lnTo>
                    <a:pt x="672" y="776"/>
                  </a:lnTo>
                  <a:lnTo>
                    <a:pt x="704" y="781"/>
                  </a:lnTo>
                  <a:lnTo>
                    <a:pt x="733" y="788"/>
                  </a:lnTo>
                  <a:lnTo>
                    <a:pt x="761" y="795"/>
                  </a:lnTo>
                  <a:lnTo>
                    <a:pt x="785" y="804"/>
                  </a:lnTo>
                  <a:lnTo>
                    <a:pt x="807" y="812"/>
                  </a:lnTo>
                  <a:lnTo>
                    <a:pt x="816" y="817"/>
                  </a:lnTo>
                  <a:lnTo>
                    <a:pt x="824" y="823"/>
                  </a:lnTo>
                  <a:lnTo>
                    <a:pt x="831" y="828"/>
                  </a:lnTo>
                  <a:lnTo>
                    <a:pt x="836" y="833"/>
                  </a:lnTo>
                  <a:lnTo>
                    <a:pt x="840" y="839"/>
                  </a:lnTo>
                  <a:lnTo>
                    <a:pt x="843" y="844"/>
                  </a:lnTo>
                  <a:lnTo>
                    <a:pt x="844" y="849"/>
                  </a:lnTo>
                  <a:lnTo>
                    <a:pt x="843" y="855"/>
                  </a:lnTo>
                  <a:lnTo>
                    <a:pt x="843" y="865"/>
                  </a:lnTo>
                  <a:lnTo>
                    <a:pt x="843" y="875"/>
                  </a:lnTo>
                  <a:lnTo>
                    <a:pt x="844" y="883"/>
                  </a:lnTo>
                  <a:lnTo>
                    <a:pt x="847" y="891"/>
                  </a:lnTo>
                  <a:lnTo>
                    <a:pt x="849" y="898"/>
                  </a:lnTo>
                  <a:lnTo>
                    <a:pt x="853" y="905"/>
                  </a:lnTo>
                  <a:lnTo>
                    <a:pt x="857" y="910"/>
                  </a:lnTo>
                  <a:lnTo>
                    <a:pt x="863" y="917"/>
                  </a:lnTo>
                  <a:lnTo>
                    <a:pt x="868" y="922"/>
                  </a:lnTo>
                  <a:lnTo>
                    <a:pt x="875" y="926"/>
                  </a:lnTo>
                  <a:lnTo>
                    <a:pt x="883" y="930"/>
                  </a:lnTo>
                  <a:lnTo>
                    <a:pt x="891" y="934"/>
                  </a:lnTo>
                  <a:lnTo>
                    <a:pt x="908" y="941"/>
                  </a:lnTo>
                  <a:lnTo>
                    <a:pt x="927" y="946"/>
                  </a:lnTo>
                  <a:lnTo>
                    <a:pt x="948" y="950"/>
                  </a:lnTo>
                  <a:lnTo>
                    <a:pt x="969" y="953"/>
                  </a:lnTo>
                  <a:lnTo>
                    <a:pt x="993" y="956"/>
                  </a:lnTo>
                  <a:lnTo>
                    <a:pt x="1017" y="957"/>
                  </a:lnTo>
                  <a:lnTo>
                    <a:pt x="1065" y="957"/>
                  </a:lnTo>
                  <a:lnTo>
                    <a:pt x="1115" y="957"/>
                  </a:lnTo>
                  <a:lnTo>
                    <a:pt x="1153" y="957"/>
                  </a:lnTo>
                  <a:lnTo>
                    <a:pt x="1191" y="957"/>
                  </a:lnTo>
                  <a:lnTo>
                    <a:pt x="1226" y="956"/>
                  </a:lnTo>
                  <a:lnTo>
                    <a:pt x="1260" y="953"/>
                  </a:lnTo>
                  <a:lnTo>
                    <a:pt x="1290" y="949"/>
                  </a:lnTo>
                  <a:lnTo>
                    <a:pt x="1318" y="945"/>
                  </a:lnTo>
                  <a:lnTo>
                    <a:pt x="1344" y="938"/>
                  </a:lnTo>
                  <a:lnTo>
                    <a:pt x="1368" y="930"/>
                  </a:lnTo>
                  <a:lnTo>
                    <a:pt x="1378" y="926"/>
                  </a:lnTo>
                  <a:lnTo>
                    <a:pt x="1388" y="921"/>
                  </a:lnTo>
                  <a:lnTo>
                    <a:pt x="1397" y="916"/>
                  </a:lnTo>
                  <a:lnTo>
                    <a:pt x="1406" y="909"/>
                  </a:lnTo>
                  <a:lnTo>
                    <a:pt x="1414" y="902"/>
                  </a:lnTo>
                  <a:lnTo>
                    <a:pt x="1421" y="896"/>
                  </a:lnTo>
                  <a:lnTo>
                    <a:pt x="1428" y="888"/>
                  </a:lnTo>
                  <a:lnTo>
                    <a:pt x="1434" y="879"/>
                  </a:lnTo>
                  <a:lnTo>
                    <a:pt x="1440" y="869"/>
                  </a:lnTo>
                  <a:lnTo>
                    <a:pt x="1444" y="860"/>
                  </a:lnTo>
                  <a:lnTo>
                    <a:pt x="1448" y="848"/>
                  </a:lnTo>
                  <a:lnTo>
                    <a:pt x="1452" y="837"/>
                  </a:lnTo>
                  <a:lnTo>
                    <a:pt x="1454" y="825"/>
                  </a:lnTo>
                  <a:lnTo>
                    <a:pt x="1456" y="812"/>
                  </a:lnTo>
                  <a:lnTo>
                    <a:pt x="1457" y="797"/>
                  </a:lnTo>
                  <a:lnTo>
                    <a:pt x="1457" y="783"/>
                  </a:lnTo>
                  <a:lnTo>
                    <a:pt x="1457" y="776"/>
                  </a:lnTo>
                  <a:lnTo>
                    <a:pt x="1453" y="769"/>
                  </a:lnTo>
                  <a:lnTo>
                    <a:pt x="1449" y="763"/>
                  </a:lnTo>
                  <a:lnTo>
                    <a:pt x="1444" y="756"/>
                  </a:lnTo>
                  <a:lnTo>
                    <a:pt x="1429" y="743"/>
                  </a:lnTo>
                  <a:lnTo>
                    <a:pt x="1412" y="727"/>
                  </a:lnTo>
                  <a:lnTo>
                    <a:pt x="1404" y="719"/>
                  </a:lnTo>
                  <a:lnTo>
                    <a:pt x="1396" y="711"/>
                  </a:lnTo>
                  <a:lnTo>
                    <a:pt x="1388" y="701"/>
                  </a:lnTo>
                  <a:lnTo>
                    <a:pt x="1381" y="692"/>
                  </a:lnTo>
                  <a:lnTo>
                    <a:pt x="1376" y="681"/>
                  </a:lnTo>
                  <a:lnTo>
                    <a:pt x="1370" y="669"/>
                  </a:lnTo>
                  <a:lnTo>
                    <a:pt x="1368" y="657"/>
                  </a:lnTo>
                  <a:lnTo>
                    <a:pt x="1368" y="644"/>
                  </a:lnTo>
                  <a:lnTo>
                    <a:pt x="1368" y="623"/>
                  </a:lnTo>
                  <a:lnTo>
                    <a:pt x="1372" y="603"/>
                  </a:lnTo>
                  <a:lnTo>
                    <a:pt x="1376" y="583"/>
                  </a:lnTo>
                  <a:lnTo>
                    <a:pt x="1382" y="564"/>
                  </a:lnTo>
                  <a:lnTo>
                    <a:pt x="1390" y="545"/>
                  </a:lnTo>
                  <a:lnTo>
                    <a:pt x="1400" y="527"/>
                  </a:lnTo>
                  <a:lnTo>
                    <a:pt x="1409" y="509"/>
                  </a:lnTo>
                  <a:lnTo>
                    <a:pt x="1420" y="493"/>
                  </a:lnTo>
                  <a:lnTo>
                    <a:pt x="1442" y="460"/>
                  </a:lnTo>
                  <a:lnTo>
                    <a:pt x="1464" y="429"/>
                  </a:lnTo>
                  <a:lnTo>
                    <a:pt x="1484" y="401"/>
                  </a:lnTo>
                  <a:lnTo>
                    <a:pt x="1500" y="373"/>
                  </a:lnTo>
                  <a:lnTo>
                    <a:pt x="1485" y="359"/>
                  </a:lnTo>
                  <a:lnTo>
                    <a:pt x="1465" y="340"/>
                  </a:lnTo>
                  <a:lnTo>
                    <a:pt x="1456" y="329"/>
                  </a:lnTo>
                  <a:lnTo>
                    <a:pt x="1446" y="317"/>
                  </a:lnTo>
                  <a:lnTo>
                    <a:pt x="1444" y="311"/>
                  </a:lnTo>
                  <a:lnTo>
                    <a:pt x="1441" y="304"/>
                  </a:lnTo>
                  <a:lnTo>
                    <a:pt x="1440" y="296"/>
                  </a:lnTo>
                  <a:lnTo>
                    <a:pt x="1440" y="290"/>
                  </a:lnTo>
                  <a:lnTo>
                    <a:pt x="1440" y="280"/>
                  </a:lnTo>
                  <a:lnTo>
                    <a:pt x="1441" y="274"/>
                  </a:lnTo>
                  <a:lnTo>
                    <a:pt x="1444" y="267"/>
                  </a:lnTo>
                  <a:lnTo>
                    <a:pt x="1445" y="260"/>
                  </a:lnTo>
                  <a:lnTo>
                    <a:pt x="1449" y="250"/>
                  </a:lnTo>
                  <a:lnTo>
                    <a:pt x="1452" y="240"/>
                  </a:lnTo>
                  <a:lnTo>
                    <a:pt x="1456" y="239"/>
                  </a:lnTo>
                  <a:lnTo>
                    <a:pt x="1460" y="236"/>
                  </a:lnTo>
                  <a:lnTo>
                    <a:pt x="1462" y="232"/>
                  </a:lnTo>
                  <a:lnTo>
                    <a:pt x="1464" y="228"/>
                  </a:lnTo>
                  <a:lnTo>
                    <a:pt x="1462" y="222"/>
                  </a:lnTo>
                  <a:lnTo>
                    <a:pt x="1461" y="212"/>
                  </a:lnTo>
                  <a:lnTo>
                    <a:pt x="1457" y="203"/>
                  </a:lnTo>
                  <a:lnTo>
                    <a:pt x="1453" y="194"/>
                  </a:lnTo>
                  <a:lnTo>
                    <a:pt x="1450" y="184"/>
                  </a:lnTo>
                  <a:lnTo>
                    <a:pt x="1452" y="175"/>
                  </a:lnTo>
                  <a:lnTo>
                    <a:pt x="1460" y="176"/>
                  </a:lnTo>
                  <a:lnTo>
                    <a:pt x="1466" y="178"/>
                  </a:lnTo>
                  <a:lnTo>
                    <a:pt x="1473" y="178"/>
                  </a:lnTo>
                  <a:lnTo>
                    <a:pt x="1480" y="178"/>
                  </a:lnTo>
                  <a:lnTo>
                    <a:pt x="1492" y="175"/>
                  </a:lnTo>
                  <a:lnTo>
                    <a:pt x="1502" y="170"/>
                  </a:lnTo>
                  <a:lnTo>
                    <a:pt x="1512" y="162"/>
                  </a:lnTo>
                  <a:lnTo>
                    <a:pt x="1521" y="154"/>
                  </a:lnTo>
                  <a:lnTo>
                    <a:pt x="1529" y="143"/>
                  </a:lnTo>
                  <a:lnTo>
                    <a:pt x="1536" y="132"/>
                  </a:lnTo>
                  <a:lnTo>
                    <a:pt x="1516" y="132"/>
                  </a:lnTo>
                  <a:lnTo>
                    <a:pt x="1496" y="130"/>
                  </a:lnTo>
                  <a:lnTo>
                    <a:pt x="1485" y="127"/>
                  </a:lnTo>
                  <a:lnTo>
                    <a:pt x="1477" y="123"/>
                  </a:lnTo>
                  <a:lnTo>
                    <a:pt x="1473" y="119"/>
                  </a:lnTo>
                  <a:lnTo>
                    <a:pt x="1469" y="116"/>
                  </a:lnTo>
                  <a:lnTo>
                    <a:pt x="1466" y="112"/>
                  </a:lnTo>
                  <a:lnTo>
                    <a:pt x="1464" y="108"/>
                  </a:lnTo>
                  <a:lnTo>
                    <a:pt x="1448" y="114"/>
                  </a:lnTo>
                  <a:lnTo>
                    <a:pt x="1436" y="120"/>
                  </a:lnTo>
                  <a:lnTo>
                    <a:pt x="1429" y="123"/>
                  </a:lnTo>
                  <a:lnTo>
                    <a:pt x="1422" y="124"/>
                  </a:lnTo>
                  <a:lnTo>
                    <a:pt x="1413" y="126"/>
                  </a:lnTo>
                  <a:lnTo>
                    <a:pt x="1404" y="127"/>
                  </a:lnTo>
                  <a:lnTo>
                    <a:pt x="1390" y="126"/>
                  </a:lnTo>
                  <a:lnTo>
                    <a:pt x="1377" y="124"/>
                  </a:lnTo>
                  <a:lnTo>
                    <a:pt x="1365" y="123"/>
                  </a:lnTo>
                  <a:lnTo>
                    <a:pt x="1354" y="119"/>
                  </a:lnTo>
                  <a:lnTo>
                    <a:pt x="1332" y="111"/>
                  </a:lnTo>
                  <a:lnTo>
                    <a:pt x="1312" y="102"/>
                  </a:lnTo>
                  <a:lnTo>
                    <a:pt x="1273" y="78"/>
                  </a:lnTo>
                  <a:lnTo>
                    <a:pt x="1234" y="54"/>
                  </a:lnTo>
                  <a:lnTo>
                    <a:pt x="1225" y="47"/>
                  </a:lnTo>
                  <a:lnTo>
                    <a:pt x="1217" y="38"/>
                  </a:lnTo>
                  <a:lnTo>
                    <a:pt x="1211" y="30"/>
                  </a:lnTo>
                  <a:lnTo>
                    <a:pt x="1205" y="20"/>
                  </a:lnTo>
                  <a:lnTo>
                    <a:pt x="1197" y="12"/>
                  </a:lnTo>
                  <a:lnTo>
                    <a:pt x="1188" y="6"/>
                  </a:lnTo>
                  <a:lnTo>
                    <a:pt x="1181" y="3"/>
                  </a:lnTo>
                  <a:lnTo>
                    <a:pt x="1175" y="2"/>
                  </a:lnTo>
                  <a:lnTo>
                    <a:pt x="1165" y="0"/>
                  </a:lnTo>
                  <a:lnTo>
                    <a:pt x="1156" y="0"/>
                  </a:lnTo>
                  <a:lnTo>
                    <a:pt x="1143" y="2"/>
                  </a:lnTo>
                  <a:lnTo>
                    <a:pt x="1129" y="6"/>
                  </a:lnTo>
                  <a:lnTo>
                    <a:pt x="1116" y="10"/>
                  </a:lnTo>
                  <a:lnTo>
                    <a:pt x="1103" y="12"/>
                  </a:lnTo>
                  <a:lnTo>
                    <a:pt x="1105" y="16"/>
                  </a:lnTo>
                  <a:lnTo>
                    <a:pt x="1108" y="22"/>
                  </a:lnTo>
                  <a:lnTo>
                    <a:pt x="1109" y="27"/>
                  </a:lnTo>
                  <a:lnTo>
                    <a:pt x="1109" y="34"/>
                  </a:lnTo>
                  <a:lnTo>
                    <a:pt x="1107" y="44"/>
                  </a:lnTo>
                  <a:lnTo>
                    <a:pt x="1103" y="54"/>
                  </a:lnTo>
                  <a:lnTo>
                    <a:pt x="1077" y="55"/>
                  </a:lnTo>
                  <a:lnTo>
                    <a:pt x="1047" y="58"/>
                  </a:lnTo>
                  <a:lnTo>
                    <a:pt x="1013" y="62"/>
                  </a:lnTo>
                  <a:lnTo>
                    <a:pt x="979" y="68"/>
                  </a:lnTo>
                  <a:lnTo>
                    <a:pt x="944" y="75"/>
                  </a:lnTo>
                  <a:lnTo>
                    <a:pt x="911" y="84"/>
                  </a:lnTo>
                  <a:lnTo>
                    <a:pt x="895" y="90"/>
                  </a:lnTo>
                  <a:lnTo>
                    <a:pt x="881" y="96"/>
                  </a:lnTo>
                  <a:lnTo>
                    <a:pt x="867" y="102"/>
                  </a:lnTo>
                  <a:lnTo>
                    <a:pt x="855" y="108"/>
                  </a:lnTo>
                  <a:lnTo>
                    <a:pt x="851" y="111"/>
                  </a:lnTo>
                  <a:lnTo>
                    <a:pt x="848" y="115"/>
                  </a:lnTo>
                  <a:lnTo>
                    <a:pt x="845" y="120"/>
                  </a:lnTo>
                  <a:lnTo>
                    <a:pt x="844" y="126"/>
                  </a:lnTo>
                  <a:lnTo>
                    <a:pt x="841" y="139"/>
                  </a:lnTo>
                  <a:lnTo>
                    <a:pt x="841" y="155"/>
                  </a:lnTo>
                  <a:lnTo>
                    <a:pt x="840" y="170"/>
                  </a:lnTo>
                  <a:lnTo>
                    <a:pt x="839" y="184"/>
                  </a:lnTo>
                  <a:lnTo>
                    <a:pt x="839" y="190"/>
                  </a:lnTo>
                  <a:lnTo>
                    <a:pt x="836" y="196"/>
                  </a:lnTo>
                  <a:lnTo>
                    <a:pt x="835" y="200"/>
                  </a:lnTo>
                  <a:lnTo>
                    <a:pt x="831" y="204"/>
                  </a:lnTo>
                  <a:lnTo>
                    <a:pt x="819" y="212"/>
                  </a:lnTo>
                  <a:lnTo>
                    <a:pt x="804" y="219"/>
                  </a:lnTo>
                  <a:lnTo>
                    <a:pt x="796" y="222"/>
                  </a:lnTo>
                  <a:lnTo>
                    <a:pt x="789" y="227"/>
                  </a:lnTo>
                  <a:lnTo>
                    <a:pt x="783" y="234"/>
                  </a:lnTo>
                  <a:lnTo>
                    <a:pt x="777" y="240"/>
                  </a:lnTo>
                  <a:lnTo>
                    <a:pt x="757" y="290"/>
                  </a:lnTo>
                  <a:lnTo>
                    <a:pt x="735" y="339"/>
                  </a:lnTo>
                  <a:lnTo>
                    <a:pt x="723" y="363"/>
                  </a:lnTo>
                  <a:lnTo>
                    <a:pt x="709" y="385"/>
                  </a:lnTo>
                  <a:lnTo>
                    <a:pt x="695" y="408"/>
                  </a:lnTo>
                  <a:lnTo>
                    <a:pt x="679" y="429"/>
                  </a:lnTo>
                  <a:lnTo>
                    <a:pt x="661" y="449"/>
                  </a:lnTo>
                  <a:lnTo>
                    <a:pt x="643" y="468"/>
                  </a:lnTo>
                  <a:lnTo>
                    <a:pt x="632" y="476"/>
                  </a:lnTo>
                  <a:lnTo>
                    <a:pt x="621" y="484"/>
                  </a:lnTo>
                  <a:lnTo>
                    <a:pt x="611" y="491"/>
                  </a:lnTo>
                  <a:lnTo>
                    <a:pt x="600" y="497"/>
                  </a:lnTo>
                  <a:lnTo>
                    <a:pt x="588" y="503"/>
                  </a:lnTo>
                  <a:lnTo>
                    <a:pt x="576" y="508"/>
                  </a:lnTo>
                  <a:lnTo>
                    <a:pt x="564" y="513"/>
                  </a:lnTo>
                  <a:lnTo>
                    <a:pt x="551" y="517"/>
                  </a:lnTo>
                  <a:lnTo>
                    <a:pt x="537" y="520"/>
                  </a:lnTo>
                  <a:lnTo>
                    <a:pt x="523" y="523"/>
                  </a:lnTo>
                  <a:lnTo>
                    <a:pt x="509" y="524"/>
                  </a:lnTo>
                  <a:lnTo>
                    <a:pt x="493" y="524"/>
                  </a:lnTo>
                  <a:lnTo>
                    <a:pt x="483" y="524"/>
                  </a:lnTo>
                  <a:lnTo>
                    <a:pt x="472" y="523"/>
                  </a:lnTo>
                  <a:lnTo>
                    <a:pt x="460" y="520"/>
                  </a:lnTo>
                  <a:lnTo>
                    <a:pt x="451" y="517"/>
                  </a:lnTo>
                  <a:lnTo>
                    <a:pt x="440" y="513"/>
                  </a:lnTo>
                  <a:lnTo>
                    <a:pt x="431" y="508"/>
                  </a:lnTo>
                  <a:lnTo>
                    <a:pt x="423" y="501"/>
                  </a:lnTo>
                  <a:lnTo>
                    <a:pt x="416" y="493"/>
                  </a:lnTo>
                  <a:lnTo>
                    <a:pt x="314" y="493"/>
                  </a:lnTo>
                  <a:lnTo>
                    <a:pt x="303" y="481"/>
                  </a:lnTo>
                  <a:lnTo>
                    <a:pt x="287" y="461"/>
                  </a:lnTo>
                  <a:lnTo>
                    <a:pt x="272" y="441"/>
                  </a:lnTo>
                  <a:lnTo>
                    <a:pt x="266" y="433"/>
                  </a:lnTo>
                  <a:lnTo>
                    <a:pt x="248" y="433"/>
                  </a:lnTo>
                  <a:lnTo>
                    <a:pt x="232" y="432"/>
                  </a:lnTo>
                  <a:lnTo>
                    <a:pt x="226" y="432"/>
                  </a:lnTo>
                  <a:lnTo>
                    <a:pt x="219" y="433"/>
                  </a:lnTo>
                  <a:lnTo>
                    <a:pt x="212" y="436"/>
                  </a:lnTo>
                  <a:lnTo>
                    <a:pt x="206" y="440"/>
                  </a:lnTo>
                  <a:lnTo>
                    <a:pt x="202" y="444"/>
                  </a:lnTo>
                  <a:lnTo>
                    <a:pt x="199" y="451"/>
                  </a:lnTo>
                  <a:lnTo>
                    <a:pt x="198" y="457"/>
                  </a:lnTo>
                  <a:lnTo>
                    <a:pt x="198" y="465"/>
                  </a:lnTo>
                  <a:lnTo>
                    <a:pt x="198" y="481"/>
                  </a:lnTo>
                  <a:lnTo>
                    <a:pt x="199" y="500"/>
                  </a:lnTo>
                  <a:lnTo>
                    <a:pt x="196" y="508"/>
                  </a:lnTo>
                  <a:lnTo>
                    <a:pt x="194" y="516"/>
                  </a:lnTo>
                  <a:lnTo>
                    <a:pt x="188" y="524"/>
                  </a:lnTo>
                  <a:lnTo>
                    <a:pt x="182" y="533"/>
                  </a:lnTo>
                  <a:lnTo>
                    <a:pt x="174" y="541"/>
                  </a:lnTo>
                  <a:lnTo>
                    <a:pt x="164" y="549"/>
                  </a:lnTo>
                  <a:lnTo>
                    <a:pt x="155" y="556"/>
                  </a:lnTo>
                  <a:lnTo>
                    <a:pt x="144" y="563"/>
                  </a:lnTo>
                  <a:lnTo>
                    <a:pt x="132" y="568"/>
                  </a:lnTo>
                  <a:lnTo>
                    <a:pt x="120" y="572"/>
                  </a:lnTo>
                  <a:lnTo>
                    <a:pt x="108" y="575"/>
                  </a:lnTo>
                  <a:lnTo>
                    <a:pt x="96" y="577"/>
                  </a:lnTo>
                  <a:lnTo>
                    <a:pt x="84" y="577"/>
                  </a:lnTo>
                  <a:lnTo>
                    <a:pt x="72" y="575"/>
                  </a:lnTo>
                  <a:lnTo>
                    <a:pt x="60" y="572"/>
                  </a:lnTo>
                  <a:lnTo>
                    <a:pt x="48" y="565"/>
                  </a:lnTo>
                  <a:lnTo>
                    <a:pt x="0" y="565"/>
                  </a:lnTo>
                  <a:lnTo>
                    <a:pt x="0" y="596"/>
                  </a:lnTo>
                  <a:lnTo>
                    <a:pt x="10" y="615"/>
                  </a:lnTo>
                  <a:lnTo>
                    <a:pt x="18" y="635"/>
                  </a:lnTo>
                  <a:lnTo>
                    <a:pt x="22" y="647"/>
                  </a:lnTo>
                  <a:lnTo>
                    <a:pt x="24" y="660"/>
                  </a:lnTo>
                  <a:lnTo>
                    <a:pt x="28" y="676"/>
                  </a:lnTo>
                  <a:lnTo>
                    <a:pt x="30" y="692"/>
                  </a:lnTo>
                  <a:lnTo>
                    <a:pt x="34" y="705"/>
                  </a:lnTo>
                  <a:lnTo>
                    <a:pt x="39" y="717"/>
                  </a:lnTo>
                  <a:lnTo>
                    <a:pt x="47" y="729"/>
                  </a:lnTo>
                  <a:lnTo>
                    <a:pt x="55" y="739"/>
                  </a:lnTo>
                  <a:lnTo>
                    <a:pt x="75" y="759"/>
                  </a:lnTo>
                  <a:lnTo>
                    <a:pt x="98" y="777"/>
                  </a:lnTo>
                  <a:lnTo>
                    <a:pt x="110" y="785"/>
                  </a:lnTo>
                  <a:lnTo>
                    <a:pt x="120" y="795"/>
                  </a:lnTo>
                  <a:lnTo>
                    <a:pt x="130" y="804"/>
                  </a:lnTo>
                  <a:lnTo>
                    <a:pt x="139" y="815"/>
                  </a:lnTo>
                  <a:lnTo>
                    <a:pt x="146" y="825"/>
                  </a:lnTo>
                  <a:lnTo>
                    <a:pt x="152" y="836"/>
                  </a:lnTo>
                  <a:lnTo>
                    <a:pt x="155" y="848"/>
                  </a:lnTo>
                  <a:lnTo>
                    <a:pt x="156" y="861"/>
                  </a:lnTo>
                  <a:lnTo>
                    <a:pt x="127" y="861"/>
                  </a:lnTo>
                  <a:lnTo>
                    <a:pt x="118" y="864"/>
                  </a:lnTo>
                  <a:lnTo>
                    <a:pt x="111" y="869"/>
                  </a:lnTo>
                  <a:lnTo>
                    <a:pt x="104" y="875"/>
                  </a:lnTo>
                  <a:lnTo>
                    <a:pt x="99" y="881"/>
                  </a:lnTo>
                  <a:lnTo>
                    <a:pt x="95" y="889"/>
                  </a:lnTo>
                  <a:lnTo>
                    <a:pt x="92" y="897"/>
                  </a:lnTo>
                  <a:lnTo>
                    <a:pt x="91" y="906"/>
                  </a:lnTo>
                  <a:lnTo>
                    <a:pt x="91" y="916"/>
                  </a:lnTo>
                  <a:lnTo>
                    <a:pt x="92" y="928"/>
                  </a:lnTo>
                  <a:lnTo>
                    <a:pt x="95" y="940"/>
                  </a:lnTo>
                  <a:lnTo>
                    <a:pt x="100" y="950"/>
                  </a:lnTo>
                  <a:lnTo>
                    <a:pt x="107" y="961"/>
                  </a:lnTo>
                  <a:lnTo>
                    <a:pt x="122" y="978"/>
                  </a:lnTo>
                  <a:lnTo>
                    <a:pt x="132" y="993"/>
                  </a:lnTo>
                  <a:lnTo>
                    <a:pt x="132" y="1000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accent1">
                  <a:lumMod val="20000"/>
                  <a:lumOff val="8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95" b="0" i="0" u="none" strike="noStrike" kern="1200" cap="none" spc="0" normalizeH="0" baseline="0" noProof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5" name="Freeform 118"/>
            <p:cNvSpPr>
              <a:spLocks/>
            </p:cNvSpPr>
            <p:nvPr/>
          </p:nvSpPr>
          <p:spPr bwMode="auto">
            <a:xfrm>
              <a:off x="5305309" y="2280661"/>
              <a:ext cx="147620" cy="197376"/>
            </a:xfrm>
            <a:custGeom>
              <a:avLst/>
              <a:gdLst>
                <a:gd name="T0" fmla="*/ 112 w 2047"/>
                <a:gd name="T1" fmla="*/ 962 h 2740"/>
                <a:gd name="T2" fmla="*/ 43 w 2047"/>
                <a:gd name="T3" fmla="*/ 1030 h 2740"/>
                <a:gd name="T4" fmla="*/ 46 w 2047"/>
                <a:gd name="T5" fmla="*/ 1106 h 2740"/>
                <a:gd name="T6" fmla="*/ 19 w 2047"/>
                <a:gd name="T7" fmla="*/ 1211 h 2740"/>
                <a:gd name="T8" fmla="*/ 48 w 2047"/>
                <a:gd name="T9" fmla="*/ 1314 h 2740"/>
                <a:gd name="T10" fmla="*/ 103 w 2047"/>
                <a:gd name="T11" fmla="*/ 1414 h 2740"/>
                <a:gd name="T12" fmla="*/ 298 w 2047"/>
                <a:gd name="T13" fmla="*/ 1503 h 2740"/>
                <a:gd name="T14" fmla="*/ 372 w 2047"/>
                <a:gd name="T15" fmla="*/ 1632 h 2740"/>
                <a:gd name="T16" fmla="*/ 328 w 2047"/>
                <a:gd name="T17" fmla="*/ 1792 h 2740"/>
                <a:gd name="T18" fmla="*/ 222 w 2047"/>
                <a:gd name="T19" fmla="*/ 1971 h 2740"/>
                <a:gd name="T20" fmla="*/ 186 w 2047"/>
                <a:gd name="T21" fmla="*/ 2059 h 2740"/>
                <a:gd name="T22" fmla="*/ 236 w 2047"/>
                <a:gd name="T23" fmla="*/ 2205 h 2740"/>
                <a:gd name="T24" fmla="*/ 315 w 2047"/>
                <a:gd name="T25" fmla="*/ 2401 h 2740"/>
                <a:gd name="T26" fmla="*/ 416 w 2047"/>
                <a:gd name="T27" fmla="*/ 2319 h 2740"/>
                <a:gd name="T28" fmla="*/ 469 w 2047"/>
                <a:gd name="T29" fmla="*/ 2269 h 2740"/>
                <a:gd name="T30" fmla="*/ 515 w 2047"/>
                <a:gd name="T31" fmla="*/ 2248 h 2740"/>
                <a:gd name="T32" fmla="*/ 637 w 2047"/>
                <a:gd name="T33" fmla="*/ 2291 h 2740"/>
                <a:gd name="T34" fmla="*/ 747 w 2047"/>
                <a:gd name="T35" fmla="*/ 2307 h 2740"/>
                <a:gd name="T36" fmla="*/ 747 w 2047"/>
                <a:gd name="T37" fmla="*/ 2472 h 2740"/>
                <a:gd name="T38" fmla="*/ 740 w 2047"/>
                <a:gd name="T39" fmla="*/ 2600 h 2740"/>
                <a:gd name="T40" fmla="*/ 940 w 2047"/>
                <a:gd name="T41" fmla="*/ 2661 h 2740"/>
                <a:gd name="T42" fmla="*/ 1083 w 2047"/>
                <a:gd name="T43" fmla="*/ 2596 h 2740"/>
                <a:gd name="T44" fmla="*/ 1228 w 2047"/>
                <a:gd name="T45" fmla="*/ 2544 h 2740"/>
                <a:gd name="T46" fmla="*/ 1552 w 2047"/>
                <a:gd name="T47" fmla="*/ 2547 h 2740"/>
                <a:gd name="T48" fmla="*/ 1686 w 2047"/>
                <a:gd name="T49" fmla="*/ 2655 h 2740"/>
                <a:gd name="T50" fmla="*/ 1764 w 2047"/>
                <a:gd name="T51" fmla="*/ 2624 h 2740"/>
                <a:gd name="T52" fmla="*/ 1928 w 2047"/>
                <a:gd name="T53" fmla="*/ 2740 h 2740"/>
                <a:gd name="T54" fmla="*/ 1981 w 2047"/>
                <a:gd name="T55" fmla="*/ 2655 h 2740"/>
                <a:gd name="T56" fmla="*/ 1998 w 2047"/>
                <a:gd name="T57" fmla="*/ 2557 h 2740"/>
                <a:gd name="T58" fmla="*/ 1930 w 2047"/>
                <a:gd name="T59" fmla="*/ 2468 h 2740"/>
                <a:gd name="T60" fmla="*/ 1990 w 2047"/>
                <a:gd name="T61" fmla="*/ 2357 h 2740"/>
                <a:gd name="T62" fmla="*/ 1837 w 2047"/>
                <a:gd name="T63" fmla="*/ 2204 h 2740"/>
                <a:gd name="T64" fmla="*/ 1856 w 2047"/>
                <a:gd name="T65" fmla="*/ 2075 h 2740"/>
                <a:gd name="T66" fmla="*/ 1921 w 2047"/>
                <a:gd name="T67" fmla="*/ 1979 h 2740"/>
                <a:gd name="T68" fmla="*/ 1967 w 2047"/>
                <a:gd name="T69" fmla="*/ 1880 h 2740"/>
                <a:gd name="T70" fmla="*/ 1958 w 2047"/>
                <a:gd name="T71" fmla="*/ 1792 h 2740"/>
                <a:gd name="T72" fmla="*/ 1974 w 2047"/>
                <a:gd name="T73" fmla="*/ 1694 h 2740"/>
                <a:gd name="T74" fmla="*/ 1906 w 2047"/>
                <a:gd name="T75" fmla="*/ 1575 h 2740"/>
                <a:gd name="T76" fmla="*/ 1928 w 2047"/>
                <a:gd name="T77" fmla="*/ 1490 h 2740"/>
                <a:gd name="T78" fmla="*/ 1914 w 2047"/>
                <a:gd name="T79" fmla="*/ 1387 h 2740"/>
                <a:gd name="T80" fmla="*/ 2045 w 2047"/>
                <a:gd name="T81" fmla="*/ 1313 h 2740"/>
                <a:gd name="T82" fmla="*/ 1910 w 2047"/>
                <a:gd name="T83" fmla="*/ 1266 h 2740"/>
                <a:gd name="T84" fmla="*/ 1770 w 2047"/>
                <a:gd name="T85" fmla="*/ 1175 h 2740"/>
                <a:gd name="T86" fmla="*/ 1822 w 2047"/>
                <a:gd name="T87" fmla="*/ 1022 h 2740"/>
                <a:gd name="T88" fmla="*/ 1733 w 2047"/>
                <a:gd name="T89" fmla="*/ 866 h 2740"/>
                <a:gd name="T90" fmla="*/ 1718 w 2047"/>
                <a:gd name="T91" fmla="*/ 730 h 2740"/>
                <a:gd name="T92" fmla="*/ 1620 w 2047"/>
                <a:gd name="T93" fmla="*/ 662 h 2740"/>
                <a:gd name="T94" fmla="*/ 1710 w 2047"/>
                <a:gd name="T95" fmla="*/ 548 h 2740"/>
                <a:gd name="T96" fmla="*/ 1604 w 2047"/>
                <a:gd name="T97" fmla="*/ 123 h 2740"/>
                <a:gd name="T98" fmla="*/ 1493 w 2047"/>
                <a:gd name="T99" fmla="*/ 64 h 2740"/>
                <a:gd name="T100" fmla="*/ 1409 w 2047"/>
                <a:gd name="T101" fmla="*/ 48 h 2740"/>
                <a:gd name="T102" fmla="*/ 1342 w 2047"/>
                <a:gd name="T103" fmla="*/ 100 h 2740"/>
                <a:gd name="T104" fmla="*/ 1120 w 2047"/>
                <a:gd name="T105" fmla="*/ 60 h 2740"/>
                <a:gd name="T106" fmla="*/ 1031 w 2047"/>
                <a:gd name="T107" fmla="*/ 72 h 2740"/>
                <a:gd name="T108" fmla="*/ 941 w 2047"/>
                <a:gd name="T109" fmla="*/ 16 h 2740"/>
                <a:gd name="T110" fmla="*/ 880 w 2047"/>
                <a:gd name="T111" fmla="*/ 71 h 2740"/>
                <a:gd name="T112" fmla="*/ 741 w 2047"/>
                <a:gd name="T113" fmla="*/ 100 h 2740"/>
                <a:gd name="T114" fmla="*/ 552 w 2047"/>
                <a:gd name="T115" fmla="*/ 293 h 2740"/>
                <a:gd name="T116" fmla="*/ 440 w 2047"/>
                <a:gd name="T117" fmla="*/ 452 h 2740"/>
                <a:gd name="T118" fmla="*/ 323 w 2047"/>
                <a:gd name="T119" fmla="*/ 606 h 274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2047"/>
                <a:gd name="T181" fmla="*/ 0 h 2740"/>
                <a:gd name="T182" fmla="*/ 2047 w 2047"/>
                <a:gd name="T183" fmla="*/ 2740 h 274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2047" h="2740">
                  <a:moveTo>
                    <a:pt x="271" y="686"/>
                  </a:moveTo>
                  <a:lnTo>
                    <a:pt x="251" y="725"/>
                  </a:lnTo>
                  <a:lnTo>
                    <a:pt x="230" y="760"/>
                  </a:lnTo>
                  <a:lnTo>
                    <a:pt x="210" y="792"/>
                  </a:lnTo>
                  <a:lnTo>
                    <a:pt x="188" y="822"/>
                  </a:lnTo>
                  <a:lnTo>
                    <a:pt x="168" y="853"/>
                  </a:lnTo>
                  <a:lnTo>
                    <a:pt x="150" y="885"/>
                  </a:lnTo>
                  <a:lnTo>
                    <a:pt x="140" y="901"/>
                  </a:lnTo>
                  <a:lnTo>
                    <a:pt x="131" y="919"/>
                  </a:lnTo>
                  <a:lnTo>
                    <a:pt x="123" y="938"/>
                  </a:lnTo>
                  <a:lnTo>
                    <a:pt x="115" y="957"/>
                  </a:lnTo>
                  <a:lnTo>
                    <a:pt x="112" y="962"/>
                  </a:lnTo>
                  <a:lnTo>
                    <a:pt x="108" y="967"/>
                  </a:lnTo>
                  <a:lnTo>
                    <a:pt x="103" y="971"/>
                  </a:lnTo>
                  <a:lnTo>
                    <a:pt x="99" y="974"/>
                  </a:lnTo>
                  <a:lnTo>
                    <a:pt x="87" y="981"/>
                  </a:lnTo>
                  <a:lnTo>
                    <a:pt x="74" y="986"/>
                  </a:lnTo>
                  <a:lnTo>
                    <a:pt x="62" y="991"/>
                  </a:lnTo>
                  <a:lnTo>
                    <a:pt x="52" y="999"/>
                  </a:lnTo>
                  <a:lnTo>
                    <a:pt x="48" y="1005"/>
                  </a:lnTo>
                  <a:lnTo>
                    <a:pt x="46" y="1010"/>
                  </a:lnTo>
                  <a:lnTo>
                    <a:pt x="43" y="1015"/>
                  </a:lnTo>
                  <a:lnTo>
                    <a:pt x="43" y="1023"/>
                  </a:lnTo>
                  <a:lnTo>
                    <a:pt x="43" y="1030"/>
                  </a:lnTo>
                  <a:lnTo>
                    <a:pt x="46" y="1035"/>
                  </a:lnTo>
                  <a:lnTo>
                    <a:pt x="50" y="1041"/>
                  </a:lnTo>
                  <a:lnTo>
                    <a:pt x="55" y="1045"/>
                  </a:lnTo>
                  <a:lnTo>
                    <a:pt x="59" y="1050"/>
                  </a:lnTo>
                  <a:lnTo>
                    <a:pt x="63" y="1057"/>
                  </a:lnTo>
                  <a:lnTo>
                    <a:pt x="66" y="1063"/>
                  </a:lnTo>
                  <a:lnTo>
                    <a:pt x="67" y="1071"/>
                  </a:lnTo>
                  <a:lnTo>
                    <a:pt x="66" y="1078"/>
                  </a:lnTo>
                  <a:lnTo>
                    <a:pt x="64" y="1085"/>
                  </a:lnTo>
                  <a:lnTo>
                    <a:pt x="60" y="1090"/>
                  </a:lnTo>
                  <a:lnTo>
                    <a:pt x="56" y="1095"/>
                  </a:lnTo>
                  <a:lnTo>
                    <a:pt x="46" y="1106"/>
                  </a:lnTo>
                  <a:lnTo>
                    <a:pt x="34" y="1115"/>
                  </a:lnTo>
                  <a:lnTo>
                    <a:pt x="22" y="1127"/>
                  </a:lnTo>
                  <a:lnTo>
                    <a:pt x="11" y="1141"/>
                  </a:lnTo>
                  <a:lnTo>
                    <a:pt x="7" y="1147"/>
                  </a:lnTo>
                  <a:lnTo>
                    <a:pt x="3" y="1155"/>
                  </a:lnTo>
                  <a:lnTo>
                    <a:pt x="2" y="1165"/>
                  </a:lnTo>
                  <a:lnTo>
                    <a:pt x="0" y="1174"/>
                  </a:lnTo>
                  <a:lnTo>
                    <a:pt x="2" y="1182"/>
                  </a:lnTo>
                  <a:lnTo>
                    <a:pt x="3" y="1190"/>
                  </a:lnTo>
                  <a:lnTo>
                    <a:pt x="6" y="1197"/>
                  </a:lnTo>
                  <a:lnTo>
                    <a:pt x="10" y="1202"/>
                  </a:lnTo>
                  <a:lnTo>
                    <a:pt x="19" y="1211"/>
                  </a:lnTo>
                  <a:lnTo>
                    <a:pt x="31" y="1218"/>
                  </a:lnTo>
                  <a:lnTo>
                    <a:pt x="42" y="1226"/>
                  </a:lnTo>
                  <a:lnTo>
                    <a:pt x="51" y="1234"/>
                  </a:lnTo>
                  <a:lnTo>
                    <a:pt x="55" y="1239"/>
                  </a:lnTo>
                  <a:lnTo>
                    <a:pt x="58" y="1245"/>
                  </a:lnTo>
                  <a:lnTo>
                    <a:pt x="60" y="1251"/>
                  </a:lnTo>
                  <a:lnTo>
                    <a:pt x="60" y="1258"/>
                  </a:lnTo>
                  <a:lnTo>
                    <a:pt x="60" y="1271"/>
                  </a:lnTo>
                  <a:lnTo>
                    <a:pt x="58" y="1282"/>
                  </a:lnTo>
                  <a:lnTo>
                    <a:pt x="55" y="1293"/>
                  </a:lnTo>
                  <a:lnTo>
                    <a:pt x="51" y="1303"/>
                  </a:lnTo>
                  <a:lnTo>
                    <a:pt x="48" y="1314"/>
                  </a:lnTo>
                  <a:lnTo>
                    <a:pt x="46" y="1325"/>
                  </a:lnTo>
                  <a:lnTo>
                    <a:pt x="43" y="1335"/>
                  </a:lnTo>
                  <a:lnTo>
                    <a:pt x="43" y="1349"/>
                  </a:lnTo>
                  <a:lnTo>
                    <a:pt x="43" y="1358"/>
                  </a:lnTo>
                  <a:lnTo>
                    <a:pt x="46" y="1367"/>
                  </a:lnTo>
                  <a:lnTo>
                    <a:pt x="50" y="1375"/>
                  </a:lnTo>
                  <a:lnTo>
                    <a:pt x="55" y="1383"/>
                  </a:lnTo>
                  <a:lnTo>
                    <a:pt x="62" y="1390"/>
                  </a:lnTo>
                  <a:lnTo>
                    <a:pt x="68" y="1395"/>
                  </a:lnTo>
                  <a:lnTo>
                    <a:pt x="76" y="1401"/>
                  </a:lnTo>
                  <a:lnTo>
                    <a:pt x="86" y="1406"/>
                  </a:lnTo>
                  <a:lnTo>
                    <a:pt x="103" y="1414"/>
                  </a:lnTo>
                  <a:lnTo>
                    <a:pt x="122" y="1419"/>
                  </a:lnTo>
                  <a:lnTo>
                    <a:pt x="138" y="1425"/>
                  </a:lnTo>
                  <a:lnTo>
                    <a:pt x="151" y="1427"/>
                  </a:lnTo>
                  <a:lnTo>
                    <a:pt x="182" y="1437"/>
                  </a:lnTo>
                  <a:lnTo>
                    <a:pt x="211" y="1447"/>
                  </a:lnTo>
                  <a:lnTo>
                    <a:pt x="224" y="1454"/>
                  </a:lnTo>
                  <a:lnTo>
                    <a:pt x="238" y="1461"/>
                  </a:lnTo>
                  <a:lnTo>
                    <a:pt x="251" y="1469"/>
                  </a:lnTo>
                  <a:lnTo>
                    <a:pt x="263" y="1475"/>
                  </a:lnTo>
                  <a:lnTo>
                    <a:pt x="275" y="1485"/>
                  </a:lnTo>
                  <a:lnTo>
                    <a:pt x="287" y="1494"/>
                  </a:lnTo>
                  <a:lnTo>
                    <a:pt x="298" y="1503"/>
                  </a:lnTo>
                  <a:lnTo>
                    <a:pt x="307" y="1514"/>
                  </a:lnTo>
                  <a:lnTo>
                    <a:pt x="318" y="1526"/>
                  </a:lnTo>
                  <a:lnTo>
                    <a:pt x="327" y="1538"/>
                  </a:lnTo>
                  <a:lnTo>
                    <a:pt x="335" y="1551"/>
                  </a:lnTo>
                  <a:lnTo>
                    <a:pt x="344" y="1566"/>
                  </a:lnTo>
                  <a:lnTo>
                    <a:pt x="354" y="1580"/>
                  </a:lnTo>
                  <a:lnTo>
                    <a:pt x="363" y="1592"/>
                  </a:lnTo>
                  <a:lnTo>
                    <a:pt x="367" y="1598"/>
                  </a:lnTo>
                  <a:lnTo>
                    <a:pt x="371" y="1604"/>
                  </a:lnTo>
                  <a:lnTo>
                    <a:pt x="374" y="1611"/>
                  </a:lnTo>
                  <a:lnTo>
                    <a:pt x="374" y="1619"/>
                  </a:lnTo>
                  <a:lnTo>
                    <a:pt x="372" y="1632"/>
                  </a:lnTo>
                  <a:lnTo>
                    <a:pt x="368" y="1644"/>
                  </a:lnTo>
                  <a:lnTo>
                    <a:pt x="363" y="1656"/>
                  </a:lnTo>
                  <a:lnTo>
                    <a:pt x="358" y="1667"/>
                  </a:lnTo>
                  <a:lnTo>
                    <a:pt x="343" y="1688"/>
                  </a:lnTo>
                  <a:lnTo>
                    <a:pt x="332" y="1710"/>
                  </a:lnTo>
                  <a:lnTo>
                    <a:pt x="328" y="1722"/>
                  </a:lnTo>
                  <a:lnTo>
                    <a:pt x="327" y="1732"/>
                  </a:lnTo>
                  <a:lnTo>
                    <a:pt x="327" y="1744"/>
                  </a:lnTo>
                  <a:lnTo>
                    <a:pt x="328" y="1756"/>
                  </a:lnTo>
                  <a:lnTo>
                    <a:pt x="330" y="1768"/>
                  </a:lnTo>
                  <a:lnTo>
                    <a:pt x="330" y="1780"/>
                  </a:lnTo>
                  <a:lnTo>
                    <a:pt x="328" y="1792"/>
                  </a:lnTo>
                  <a:lnTo>
                    <a:pt x="326" y="1806"/>
                  </a:lnTo>
                  <a:lnTo>
                    <a:pt x="311" y="1835"/>
                  </a:lnTo>
                  <a:lnTo>
                    <a:pt x="288" y="1871"/>
                  </a:lnTo>
                  <a:lnTo>
                    <a:pt x="276" y="1890"/>
                  </a:lnTo>
                  <a:lnTo>
                    <a:pt x="266" y="1910"/>
                  </a:lnTo>
                  <a:lnTo>
                    <a:pt x="255" y="1928"/>
                  </a:lnTo>
                  <a:lnTo>
                    <a:pt x="247" y="1944"/>
                  </a:lnTo>
                  <a:lnTo>
                    <a:pt x="244" y="1951"/>
                  </a:lnTo>
                  <a:lnTo>
                    <a:pt x="242" y="1956"/>
                  </a:lnTo>
                  <a:lnTo>
                    <a:pt x="236" y="1960"/>
                  </a:lnTo>
                  <a:lnTo>
                    <a:pt x="232" y="1964"/>
                  </a:lnTo>
                  <a:lnTo>
                    <a:pt x="222" y="1971"/>
                  </a:lnTo>
                  <a:lnTo>
                    <a:pt x="210" y="1978"/>
                  </a:lnTo>
                  <a:lnTo>
                    <a:pt x="204" y="1982"/>
                  </a:lnTo>
                  <a:lnTo>
                    <a:pt x="199" y="1986"/>
                  </a:lnTo>
                  <a:lnTo>
                    <a:pt x="194" y="1990"/>
                  </a:lnTo>
                  <a:lnTo>
                    <a:pt x="190" y="1995"/>
                  </a:lnTo>
                  <a:lnTo>
                    <a:pt x="186" y="2002"/>
                  </a:lnTo>
                  <a:lnTo>
                    <a:pt x="183" y="2010"/>
                  </a:lnTo>
                  <a:lnTo>
                    <a:pt x="182" y="2019"/>
                  </a:lnTo>
                  <a:lnTo>
                    <a:pt x="182" y="2030"/>
                  </a:lnTo>
                  <a:lnTo>
                    <a:pt x="182" y="2040"/>
                  </a:lnTo>
                  <a:lnTo>
                    <a:pt x="183" y="2050"/>
                  </a:lnTo>
                  <a:lnTo>
                    <a:pt x="186" y="2059"/>
                  </a:lnTo>
                  <a:lnTo>
                    <a:pt x="188" y="2067"/>
                  </a:lnTo>
                  <a:lnTo>
                    <a:pt x="195" y="2081"/>
                  </a:lnTo>
                  <a:lnTo>
                    <a:pt x="203" y="2095"/>
                  </a:lnTo>
                  <a:lnTo>
                    <a:pt x="212" y="2107"/>
                  </a:lnTo>
                  <a:lnTo>
                    <a:pt x="222" y="2119"/>
                  </a:lnTo>
                  <a:lnTo>
                    <a:pt x="230" y="2131"/>
                  </a:lnTo>
                  <a:lnTo>
                    <a:pt x="235" y="2143"/>
                  </a:lnTo>
                  <a:lnTo>
                    <a:pt x="239" y="2155"/>
                  </a:lnTo>
                  <a:lnTo>
                    <a:pt x="240" y="2165"/>
                  </a:lnTo>
                  <a:lnTo>
                    <a:pt x="240" y="2175"/>
                  </a:lnTo>
                  <a:lnTo>
                    <a:pt x="240" y="2185"/>
                  </a:lnTo>
                  <a:lnTo>
                    <a:pt x="236" y="2205"/>
                  </a:lnTo>
                  <a:lnTo>
                    <a:pt x="235" y="2228"/>
                  </a:lnTo>
                  <a:lnTo>
                    <a:pt x="240" y="2252"/>
                  </a:lnTo>
                  <a:lnTo>
                    <a:pt x="246" y="2280"/>
                  </a:lnTo>
                  <a:lnTo>
                    <a:pt x="254" y="2309"/>
                  </a:lnTo>
                  <a:lnTo>
                    <a:pt x="263" y="2337"/>
                  </a:lnTo>
                  <a:lnTo>
                    <a:pt x="268" y="2351"/>
                  </a:lnTo>
                  <a:lnTo>
                    <a:pt x="274" y="2363"/>
                  </a:lnTo>
                  <a:lnTo>
                    <a:pt x="280" y="2373"/>
                  </a:lnTo>
                  <a:lnTo>
                    <a:pt x="288" y="2384"/>
                  </a:lnTo>
                  <a:lnTo>
                    <a:pt x="296" y="2391"/>
                  </a:lnTo>
                  <a:lnTo>
                    <a:pt x="304" y="2397"/>
                  </a:lnTo>
                  <a:lnTo>
                    <a:pt x="315" y="2401"/>
                  </a:lnTo>
                  <a:lnTo>
                    <a:pt x="326" y="2403"/>
                  </a:lnTo>
                  <a:lnTo>
                    <a:pt x="334" y="2401"/>
                  </a:lnTo>
                  <a:lnTo>
                    <a:pt x="342" y="2400"/>
                  </a:lnTo>
                  <a:lnTo>
                    <a:pt x="350" y="2397"/>
                  </a:lnTo>
                  <a:lnTo>
                    <a:pt x="356" y="2393"/>
                  </a:lnTo>
                  <a:lnTo>
                    <a:pt x="364" y="2388"/>
                  </a:lnTo>
                  <a:lnTo>
                    <a:pt x="371" y="2383"/>
                  </a:lnTo>
                  <a:lnTo>
                    <a:pt x="379" y="2376"/>
                  </a:lnTo>
                  <a:lnTo>
                    <a:pt x="386" y="2369"/>
                  </a:lnTo>
                  <a:lnTo>
                    <a:pt x="398" y="2353"/>
                  </a:lnTo>
                  <a:lnTo>
                    <a:pt x="408" y="2336"/>
                  </a:lnTo>
                  <a:lnTo>
                    <a:pt x="416" y="2319"/>
                  </a:lnTo>
                  <a:lnTo>
                    <a:pt x="421" y="2300"/>
                  </a:lnTo>
                  <a:lnTo>
                    <a:pt x="435" y="2303"/>
                  </a:lnTo>
                  <a:lnTo>
                    <a:pt x="441" y="2305"/>
                  </a:lnTo>
                  <a:lnTo>
                    <a:pt x="445" y="2305"/>
                  </a:lnTo>
                  <a:lnTo>
                    <a:pt x="452" y="2305"/>
                  </a:lnTo>
                  <a:lnTo>
                    <a:pt x="456" y="2303"/>
                  </a:lnTo>
                  <a:lnTo>
                    <a:pt x="460" y="2300"/>
                  </a:lnTo>
                  <a:lnTo>
                    <a:pt x="463" y="2297"/>
                  </a:lnTo>
                  <a:lnTo>
                    <a:pt x="465" y="2293"/>
                  </a:lnTo>
                  <a:lnTo>
                    <a:pt x="469" y="2284"/>
                  </a:lnTo>
                  <a:lnTo>
                    <a:pt x="469" y="2276"/>
                  </a:lnTo>
                  <a:lnTo>
                    <a:pt x="469" y="2269"/>
                  </a:lnTo>
                  <a:lnTo>
                    <a:pt x="467" y="2263"/>
                  </a:lnTo>
                  <a:lnTo>
                    <a:pt x="464" y="2257"/>
                  </a:lnTo>
                  <a:lnTo>
                    <a:pt x="461" y="2252"/>
                  </a:lnTo>
                  <a:lnTo>
                    <a:pt x="457" y="2245"/>
                  </a:lnTo>
                  <a:lnTo>
                    <a:pt x="455" y="2240"/>
                  </a:lnTo>
                  <a:lnTo>
                    <a:pt x="452" y="2235"/>
                  </a:lnTo>
                  <a:lnTo>
                    <a:pt x="452" y="2228"/>
                  </a:lnTo>
                  <a:lnTo>
                    <a:pt x="488" y="2228"/>
                  </a:lnTo>
                  <a:lnTo>
                    <a:pt x="496" y="2232"/>
                  </a:lnTo>
                  <a:lnTo>
                    <a:pt x="503" y="2236"/>
                  </a:lnTo>
                  <a:lnTo>
                    <a:pt x="508" y="2241"/>
                  </a:lnTo>
                  <a:lnTo>
                    <a:pt x="515" y="2248"/>
                  </a:lnTo>
                  <a:lnTo>
                    <a:pt x="524" y="2260"/>
                  </a:lnTo>
                  <a:lnTo>
                    <a:pt x="533" y="2273"/>
                  </a:lnTo>
                  <a:lnTo>
                    <a:pt x="544" y="2285"/>
                  </a:lnTo>
                  <a:lnTo>
                    <a:pt x="555" y="2296"/>
                  </a:lnTo>
                  <a:lnTo>
                    <a:pt x="561" y="2300"/>
                  </a:lnTo>
                  <a:lnTo>
                    <a:pt x="568" y="2303"/>
                  </a:lnTo>
                  <a:lnTo>
                    <a:pt x="576" y="2305"/>
                  </a:lnTo>
                  <a:lnTo>
                    <a:pt x="584" y="2305"/>
                  </a:lnTo>
                  <a:lnTo>
                    <a:pt x="601" y="2304"/>
                  </a:lnTo>
                  <a:lnTo>
                    <a:pt x="615" y="2301"/>
                  </a:lnTo>
                  <a:lnTo>
                    <a:pt x="627" y="2296"/>
                  </a:lnTo>
                  <a:lnTo>
                    <a:pt x="637" y="2291"/>
                  </a:lnTo>
                  <a:lnTo>
                    <a:pt x="648" y="2285"/>
                  </a:lnTo>
                  <a:lnTo>
                    <a:pt x="660" y="2280"/>
                  </a:lnTo>
                  <a:lnTo>
                    <a:pt x="672" y="2277"/>
                  </a:lnTo>
                  <a:lnTo>
                    <a:pt x="687" y="2276"/>
                  </a:lnTo>
                  <a:lnTo>
                    <a:pt x="696" y="2276"/>
                  </a:lnTo>
                  <a:lnTo>
                    <a:pt x="705" y="2277"/>
                  </a:lnTo>
                  <a:lnTo>
                    <a:pt x="715" y="2280"/>
                  </a:lnTo>
                  <a:lnTo>
                    <a:pt x="721" y="2284"/>
                  </a:lnTo>
                  <a:lnTo>
                    <a:pt x="729" y="2288"/>
                  </a:lnTo>
                  <a:lnTo>
                    <a:pt x="736" y="2293"/>
                  </a:lnTo>
                  <a:lnTo>
                    <a:pt x="741" y="2300"/>
                  </a:lnTo>
                  <a:lnTo>
                    <a:pt x="747" y="2307"/>
                  </a:lnTo>
                  <a:lnTo>
                    <a:pt x="751" y="2313"/>
                  </a:lnTo>
                  <a:lnTo>
                    <a:pt x="755" y="2321"/>
                  </a:lnTo>
                  <a:lnTo>
                    <a:pt x="757" y="2331"/>
                  </a:lnTo>
                  <a:lnTo>
                    <a:pt x="760" y="2339"/>
                  </a:lnTo>
                  <a:lnTo>
                    <a:pt x="764" y="2359"/>
                  </a:lnTo>
                  <a:lnTo>
                    <a:pt x="765" y="2379"/>
                  </a:lnTo>
                  <a:lnTo>
                    <a:pt x="764" y="2393"/>
                  </a:lnTo>
                  <a:lnTo>
                    <a:pt x="764" y="2407"/>
                  </a:lnTo>
                  <a:lnTo>
                    <a:pt x="761" y="2420"/>
                  </a:lnTo>
                  <a:lnTo>
                    <a:pt x="760" y="2432"/>
                  </a:lnTo>
                  <a:lnTo>
                    <a:pt x="753" y="2452"/>
                  </a:lnTo>
                  <a:lnTo>
                    <a:pt x="747" y="2472"/>
                  </a:lnTo>
                  <a:lnTo>
                    <a:pt x="740" y="2489"/>
                  </a:lnTo>
                  <a:lnTo>
                    <a:pt x="735" y="2507"/>
                  </a:lnTo>
                  <a:lnTo>
                    <a:pt x="732" y="2516"/>
                  </a:lnTo>
                  <a:lnTo>
                    <a:pt x="731" y="2525"/>
                  </a:lnTo>
                  <a:lnTo>
                    <a:pt x="729" y="2536"/>
                  </a:lnTo>
                  <a:lnTo>
                    <a:pt x="729" y="2547"/>
                  </a:lnTo>
                  <a:lnTo>
                    <a:pt x="729" y="2557"/>
                  </a:lnTo>
                  <a:lnTo>
                    <a:pt x="731" y="2567"/>
                  </a:lnTo>
                  <a:lnTo>
                    <a:pt x="732" y="2576"/>
                  </a:lnTo>
                  <a:lnTo>
                    <a:pt x="733" y="2584"/>
                  </a:lnTo>
                  <a:lnTo>
                    <a:pt x="736" y="2592"/>
                  </a:lnTo>
                  <a:lnTo>
                    <a:pt x="740" y="2600"/>
                  </a:lnTo>
                  <a:lnTo>
                    <a:pt x="743" y="2607"/>
                  </a:lnTo>
                  <a:lnTo>
                    <a:pt x="748" y="2613"/>
                  </a:lnTo>
                  <a:lnTo>
                    <a:pt x="757" y="2624"/>
                  </a:lnTo>
                  <a:lnTo>
                    <a:pt x="768" y="2633"/>
                  </a:lnTo>
                  <a:lnTo>
                    <a:pt x="781" y="2641"/>
                  </a:lnTo>
                  <a:lnTo>
                    <a:pt x="796" y="2647"/>
                  </a:lnTo>
                  <a:lnTo>
                    <a:pt x="812" y="2652"/>
                  </a:lnTo>
                  <a:lnTo>
                    <a:pt x="828" y="2655"/>
                  </a:lnTo>
                  <a:lnTo>
                    <a:pt x="845" y="2657"/>
                  </a:lnTo>
                  <a:lnTo>
                    <a:pt x="864" y="2660"/>
                  </a:lnTo>
                  <a:lnTo>
                    <a:pt x="901" y="2661"/>
                  </a:lnTo>
                  <a:lnTo>
                    <a:pt x="940" y="2661"/>
                  </a:lnTo>
                  <a:lnTo>
                    <a:pt x="949" y="2661"/>
                  </a:lnTo>
                  <a:lnTo>
                    <a:pt x="959" y="2660"/>
                  </a:lnTo>
                  <a:lnTo>
                    <a:pt x="967" y="2659"/>
                  </a:lnTo>
                  <a:lnTo>
                    <a:pt x="973" y="2656"/>
                  </a:lnTo>
                  <a:lnTo>
                    <a:pt x="985" y="2651"/>
                  </a:lnTo>
                  <a:lnTo>
                    <a:pt x="996" y="2644"/>
                  </a:lnTo>
                  <a:lnTo>
                    <a:pt x="1013" y="2628"/>
                  </a:lnTo>
                  <a:lnTo>
                    <a:pt x="1031" y="2613"/>
                  </a:lnTo>
                  <a:lnTo>
                    <a:pt x="1044" y="2605"/>
                  </a:lnTo>
                  <a:lnTo>
                    <a:pt x="1056" y="2601"/>
                  </a:lnTo>
                  <a:lnTo>
                    <a:pt x="1069" y="2599"/>
                  </a:lnTo>
                  <a:lnTo>
                    <a:pt x="1083" y="2596"/>
                  </a:lnTo>
                  <a:lnTo>
                    <a:pt x="1097" y="2596"/>
                  </a:lnTo>
                  <a:lnTo>
                    <a:pt x="1112" y="2595"/>
                  </a:lnTo>
                  <a:lnTo>
                    <a:pt x="1127" y="2592"/>
                  </a:lnTo>
                  <a:lnTo>
                    <a:pt x="1144" y="2589"/>
                  </a:lnTo>
                  <a:lnTo>
                    <a:pt x="1156" y="2587"/>
                  </a:lnTo>
                  <a:lnTo>
                    <a:pt x="1167" y="2584"/>
                  </a:lnTo>
                  <a:lnTo>
                    <a:pt x="1177" y="2580"/>
                  </a:lnTo>
                  <a:lnTo>
                    <a:pt x="1188" y="2575"/>
                  </a:lnTo>
                  <a:lnTo>
                    <a:pt x="1198" y="2568"/>
                  </a:lnTo>
                  <a:lnTo>
                    <a:pt x="1209" y="2561"/>
                  </a:lnTo>
                  <a:lnTo>
                    <a:pt x="1218" y="2553"/>
                  </a:lnTo>
                  <a:lnTo>
                    <a:pt x="1228" y="2544"/>
                  </a:lnTo>
                  <a:lnTo>
                    <a:pt x="1246" y="2527"/>
                  </a:lnTo>
                  <a:lnTo>
                    <a:pt x="1262" y="2507"/>
                  </a:lnTo>
                  <a:lnTo>
                    <a:pt x="1277" y="2487"/>
                  </a:lnTo>
                  <a:lnTo>
                    <a:pt x="1289" y="2468"/>
                  </a:lnTo>
                  <a:lnTo>
                    <a:pt x="1310" y="2480"/>
                  </a:lnTo>
                  <a:lnTo>
                    <a:pt x="1333" y="2491"/>
                  </a:lnTo>
                  <a:lnTo>
                    <a:pt x="1357" y="2500"/>
                  </a:lnTo>
                  <a:lnTo>
                    <a:pt x="1381" y="2509"/>
                  </a:lnTo>
                  <a:lnTo>
                    <a:pt x="1429" y="2528"/>
                  </a:lnTo>
                  <a:lnTo>
                    <a:pt x="1469" y="2547"/>
                  </a:lnTo>
                  <a:lnTo>
                    <a:pt x="1496" y="2547"/>
                  </a:lnTo>
                  <a:lnTo>
                    <a:pt x="1552" y="2547"/>
                  </a:lnTo>
                  <a:lnTo>
                    <a:pt x="1609" y="2547"/>
                  </a:lnTo>
                  <a:lnTo>
                    <a:pt x="1638" y="2547"/>
                  </a:lnTo>
                  <a:lnTo>
                    <a:pt x="1644" y="2548"/>
                  </a:lnTo>
                  <a:lnTo>
                    <a:pt x="1648" y="2551"/>
                  </a:lnTo>
                  <a:lnTo>
                    <a:pt x="1652" y="2555"/>
                  </a:lnTo>
                  <a:lnTo>
                    <a:pt x="1656" y="2560"/>
                  </a:lnTo>
                  <a:lnTo>
                    <a:pt x="1662" y="2573"/>
                  </a:lnTo>
                  <a:lnTo>
                    <a:pt x="1666" y="2589"/>
                  </a:lnTo>
                  <a:lnTo>
                    <a:pt x="1672" y="2608"/>
                  </a:lnTo>
                  <a:lnTo>
                    <a:pt x="1676" y="2625"/>
                  </a:lnTo>
                  <a:lnTo>
                    <a:pt x="1681" y="2641"/>
                  </a:lnTo>
                  <a:lnTo>
                    <a:pt x="1686" y="2655"/>
                  </a:lnTo>
                  <a:lnTo>
                    <a:pt x="1692" y="2647"/>
                  </a:lnTo>
                  <a:lnTo>
                    <a:pt x="1698" y="2640"/>
                  </a:lnTo>
                  <a:lnTo>
                    <a:pt x="1706" y="2633"/>
                  </a:lnTo>
                  <a:lnTo>
                    <a:pt x="1716" y="2628"/>
                  </a:lnTo>
                  <a:lnTo>
                    <a:pt x="1724" y="2624"/>
                  </a:lnTo>
                  <a:lnTo>
                    <a:pt x="1734" y="2621"/>
                  </a:lnTo>
                  <a:lnTo>
                    <a:pt x="1744" y="2620"/>
                  </a:lnTo>
                  <a:lnTo>
                    <a:pt x="1753" y="2619"/>
                  </a:lnTo>
                  <a:lnTo>
                    <a:pt x="1756" y="2620"/>
                  </a:lnTo>
                  <a:lnTo>
                    <a:pt x="1758" y="2620"/>
                  </a:lnTo>
                  <a:lnTo>
                    <a:pt x="1761" y="2621"/>
                  </a:lnTo>
                  <a:lnTo>
                    <a:pt x="1764" y="2624"/>
                  </a:lnTo>
                  <a:lnTo>
                    <a:pt x="1766" y="2629"/>
                  </a:lnTo>
                  <a:lnTo>
                    <a:pt x="1770" y="2636"/>
                  </a:lnTo>
                  <a:lnTo>
                    <a:pt x="1776" y="2652"/>
                  </a:lnTo>
                  <a:lnTo>
                    <a:pt x="1782" y="2666"/>
                  </a:lnTo>
                  <a:lnTo>
                    <a:pt x="1802" y="2678"/>
                  </a:lnTo>
                  <a:lnTo>
                    <a:pt x="1846" y="2704"/>
                  </a:lnTo>
                  <a:lnTo>
                    <a:pt x="1872" y="2717"/>
                  </a:lnTo>
                  <a:lnTo>
                    <a:pt x="1894" y="2728"/>
                  </a:lnTo>
                  <a:lnTo>
                    <a:pt x="1905" y="2733"/>
                  </a:lnTo>
                  <a:lnTo>
                    <a:pt x="1914" y="2736"/>
                  </a:lnTo>
                  <a:lnTo>
                    <a:pt x="1922" y="2738"/>
                  </a:lnTo>
                  <a:lnTo>
                    <a:pt x="1928" y="2740"/>
                  </a:lnTo>
                  <a:lnTo>
                    <a:pt x="1942" y="2738"/>
                  </a:lnTo>
                  <a:lnTo>
                    <a:pt x="1953" y="2736"/>
                  </a:lnTo>
                  <a:lnTo>
                    <a:pt x="1963" y="2730"/>
                  </a:lnTo>
                  <a:lnTo>
                    <a:pt x="1970" y="2725"/>
                  </a:lnTo>
                  <a:lnTo>
                    <a:pt x="1975" y="2718"/>
                  </a:lnTo>
                  <a:lnTo>
                    <a:pt x="1979" y="2712"/>
                  </a:lnTo>
                  <a:lnTo>
                    <a:pt x="1981" y="2704"/>
                  </a:lnTo>
                  <a:lnTo>
                    <a:pt x="1981" y="2697"/>
                  </a:lnTo>
                  <a:lnTo>
                    <a:pt x="1981" y="2693"/>
                  </a:lnTo>
                  <a:lnTo>
                    <a:pt x="1981" y="2682"/>
                  </a:lnTo>
                  <a:lnTo>
                    <a:pt x="1981" y="2669"/>
                  </a:lnTo>
                  <a:lnTo>
                    <a:pt x="1981" y="2655"/>
                  </a:lnTo>
                  <a:lnTo>
                    <a:pt x="1982" y="2647"/>
                  </a:lnTo>
                  <a:lnTo>
                    <a:pt x="1985" y="2639"/>
                  </a:lnTo>
                  <a:lnTo>
                    <a:pt x="1989" y="2632"/>
                  </a:lnTo>
                  <a:lnTo>
                    <a:pt x="1993" y="2625"/>
                  </a:lnTo>
                  <a:lnTo>
                    <a:pt x="1998" y="2620"/>
                  </a:lnTo>
                  <a:lnTo>
                    <a:pt x="2002" y="2613"/>
                  </a:lnTo>
                  <a:lnTo>
                    <a:pt x="2005" y="2608"/>
                  </a:lnTo>
                  <a:lnTo>
                    <a:pt x="2006" y="2601"/>
                  </a:lnTo>
                  <a:lnTo>
                    <a:pt x="2006" y="2591"/>
                  </a:lnTo>
                  <a:lnTo>
                    <a:pt x="2006" y="2571"/>
                  </a:lnTo>
                  <a:lnTo>
                    <a:pt x="2002" y="2564"/>
                  </a:lnTo>
                  <a:lnTo>
                    <a:pt x="1998" y="2557"/>
                  </a:lnTo>
                  <a:lnTo>
                    <a:pt x="1994" y="2552"/>
                  </a:lnTo>
                  <a:lnTo>
                    <a:pt x="1989" y="2545"/>
                  </a:lnTo>
                  <a:lnTo>
                    <a:pt x="1975" y="2535"/>
                  </a:lnTo>
                  <a:lnTo>
                    <a:pt x="1962" y="2524"/>
                  </a:lnTo>
                  <a:lnTo>
                    <a:pt x="1949" y="2515"/>
                  </a:lnTo>
                  <a:lnTo>
                    <a:pt x="1938" y="2505"/>
                  </a:lnTo>
                  <a:lnTo>
                    <a:pt x="1933" y="2500"/>
                  </a:lnTo>
                  <a:lnTo>
                    <a:pt x="1930" y="2496"/>
                  </a:lnTo>
                  <a:lnTo>
                    <a:pt x="1928" y="2491"/>
                  </a:lnTo>
                  <a:lnTo>
                    <a:pt x="1928" y="2487"/>
                  </a:lnTo>
                  <a:lnTo>
                    <a:pt x="1928" y="2477"/>
                  </a:lnTo>
                  <a:lnTo>
                    <a:pt x="1930" y="2468"/>
                  </a:lnTo>
                  <a:lnTo>
                    <a:pt x="1933" y="2460"/>
                  </a:lnTo>
                  <a:lnTo>
                    <a:pt x="1938" y="2453"/>
                  </a:lnTo>
                  <a:lnTo>
                    <a:pt x="1949" y="2441"/>
                  </a:lnTo>
                  <a:lnTo>
                    <a:pt x="1961" y="2431"/>
                  </a:lnTo>
                  <a:lnTo>
                    <a:pt x="1973" y="2419"/>
                  </a:lnTo>
                  <a:lnTo>
                    <a:pt x="1983" y="2408"/>
                  </a:lnTo>
                  <a:lnTo>
                    <a:pt x="1987" y="2401"/>
                  </a:lnTo>
                  <a:lnTo>
                    <a:pt x="1990" y="2395"/>
                  </a:lnTo>
                  <a:lnTo>
                    <a:pt x="1993" y="2387"/>
                  </a:lnTo>
                  <a:lnTo>
                    <a:pt x="1993" y="2379"/>
                  </a:lnTo>
                  <a:lnTo>
                    <a:pt x="1993" y="2368"/>
                  </a:lnTo>
                  <a:lnTo>
                    <a:pt x="1990" y="2357"/>
                  </a:lnTo>
                  <a:lnTo>
                    <a:pt x="1987" y="2349"/>
                  </a:lnTo>
                  <a:lnTo>
                    <a:pt x="1983" y="2340"/>
                  </a:lnTo>
                  <a:lnTo>
                    <a:pt x="1975" y="2325"/>
                  </a:lnTo>
                  <a:lnTo>
                    <a:pt x="1969" y="2312"/>
                  </a:lnTo>
                  <a:lnTo>
                    <a:pt x="1861" y="2312"/>
                  </a:lnTo>
                  <a:lnTo>
                    <a:pt x="1854" y="2303"/>
                  </a:lnTo>
                  <a:lnTo>
                    <a:pt x="1850" y="2291"/>
                  </a:lnTo>
                  <a:lnTo>
                    <a:pt x="1845" y="2276"/>
                  </a:lnTo>
                  <a:lnTo>
                    <a:pt x="1842" y="2260"/>
                  </a:lnTo>
                  <a:lnTo>
                    <a:pt x="1840" y="2241"/>
                  </a:lnTo>
                  <a:lnTo>
                    <a:pt x="1838" y="2223"/>
                  </a:lnTo>
                  <a:lnTo>
                    <a:pt x="1837" y="2204"/>
                  </a:lnTo>
                  <a:lnTo>
                    <a:pt x="1837" y="2185"/>
                  </a:lnTo>
                  <a:lnTo>
                    <a:pt x="1838" y="2165"/>
                  </a:lnTo>
                  <a:lnTo>
                    <a:pt x="1841" y="2149"/>
                  </a:lnTo>
                  <a:lnTo>
                    <a:pt x="1845" y="2137"/>
                  </a:lnTo>
                  <a:lnTo>
                    <a:pt x="1850" y="2127"/>
                  </a:lnTo>
                  <a:lnTo>
                    <a:pt x="1854" y="2116"/>
                  </a:lnTo>
                  <a:lnTo>
                    <a:pt x="1860" y="2105"/>
                  </a:lnTo>
                  <a:lnTo>
                    <a:pt x="1864" y="2093"/>
                  </a:lnTo>
                  <a:lnTo>
                    <a:pt x="1868" y="2078"/>
                  </a:lnTo>
                  <a:lnTo>
                    <a:pt x="1862" y="2076"/>
                  </a:lnTo>
                  <a:lnTo>
                    <a:pt x="1860" y="2076"/>
                  </a:lnTo>
                  <a:lnTo>
                    <a:pt x="1856" y="2075"/>
                  </a:lnTo>
                  <a:lnTo>
                    <a:pt x="1853" y="2072"/>
                  </a:lnTo>
                  <a:lnTo>
                    <a:pt x="1848" y="2064"/>
                  </a:lnTo>
                  <a:lnTo>
                    <a:pt x="1844" y="2054"/>
                  </a:lnTo>
                  <a:lnTo>
                    <a:pt x="1856" y="2046"/>
                  </a:lnTo>
                  <a:lnTo>
                    <a:pt x="1865" y="2039"/>
                  </a:lnTo>
                  <a:lnTo>
                    <a:pt x="1872" y="2031"/>
                  </a:lnTo>
                  <a:lnTo>
                    <a:pt x="1880" y="2022"/>
                  </a:lnTo>
                  <a:lnTo>
                    <a:pt x="1886" y="2014"/>
                  </a:lnTo>
                  <a:lnTo>
                    <a:pt x="1894" y="2004"/>
                  </a:lnTo>
                  <a:lnTo>
                    <a:pt x="1904" y="1996"/>
                  </a:lnTo>
                  <a:lnTo>
                    <a:pt x="1916" y="1987"/>
                  </a:lnTo>
                  <a:lnTo>
                    <a:pt x="1921" y="1979"/>
                  </a:lnTo>
                  <a:lnTo>
                    <a:pt x="1929" y="1970"/>
                  </a:lnTo>
                  <a:lnTo>
                    <a:pt x="1933" y="1966"/>
                  </a:lnTo>
                  <a:lnTo>
                    <a:pt x="1937" y="1960"/>
                  </a:lnTo>
                  <a:lnTo>
                    <a:pt x="1938" y="1952"/>
                  </a:lnTo>
                  <a:lnTo>
                    <a:pt x="1939" y="1944"/>
                  </a:lnTo>
                  <a:lnTo>
                    <a:pt x="1939" y="1938"/>
                  </a:lnTo>
                  <a:lnTo>
                    <a:pt x="1941" y="1930"/>
                  </a:lnTo>
                  <a:lnTo>
                    <a:pt x="1943" y="1923"/>
                  </a:lnTo>
                  <a:lnTo>
                    <a:pt x="1946" y="1916"/>
                  </a:lnTo>
                  <a:lnTo>
                    <a:pt x="1953" y="1904"/>
                  </a:lnTo>
                  <a:lnTo>
                    <a:pt x="1961" y="1892"/>
                  </a:lnTo>
                  <a:lnTo>
                    <a:pt x="1967" y="1880"/>
                  </a:lnTo>
                  <a:lnTo>
                    <a:pt x="1975" y="1867"/>
                  </a:lnTo>
                  <a:lnTo>
                    <a:pt x="1978" y="1860"/>
                  </a:lnTo>
                  <a:lnTo>
                    <a:pt x="1979" y="1854"/>
                  </a:lnTo>
                  <a:lnTo>
                    <a:pt x="1981" y="1844"/>
                  </a:lnTo>
                  <a:lnTo>
                    <a:pt x="1981" y="1836"/>
                  </a:lnTo>
                  <a:lnTo>
                    <a:pt x="1981" y="1830"/>
                  </a:lnTo>
                  <a:lnTo>
                    <a:pt x="1978" y="1824"/>
                  </a:lnTo>
                  <a:lnTo>
                    <a:pt x="1974" y="1819"/>
                  </a:lnTo>
                  <a:lnTo>
                    <a:pt x="1969" y="1814"/>
                  </a:lnTo>
                  <a:lnTo>
                    <a:pt x="1965" y="1808"/>
                  </a:lnTo>
                  <a:lnTo>
                    <a:pt x="1961" y="1800"/>
                  </a:lnTo>
                  <a:lnTo>
                    <a:pt x="1958" y="1792"/>
                  </a:lnTo>
                  <a:lnTo>
                    <a:pt x="1957" y="1782"/>
                  </a:lnTo>
                  <a:lnTo>
                    <a:pt x="1958" y="1775"/>
                  </a:lnTo>
                  <a:lnTo>
                    <a:pt x="1961" y="1768"/>
                  </a:lnTo>
                  <a:lnTo>
                    <a:pt x="1965" y="1762"/>
                  </a:lnTo>
                  <a:lnTo>
                    <a:pt x="1969" y="1754"/>
                  </a:lnTo>
                  <a:lnTo>
                    <a:pt x="1974" y="1747"/>
                  </a:lnTo>
                  <a:lnTo>
                    <a:pt x="1978" y="1739"/>
                  </a:lnTo>
                  <a:lnTo>
                    <a:pt x="1981" y="1731"/>
                  </a:lnTo>
                  <a:lnTo>
                    <a:pt x="1981" y="1722"/>
                  </a:lnTo>
                  <a:lnTo>
                    <a:pt x="1981" y="1711"/>
                  </a:lnTo>
                  <a:lnTo>
                    <a:pt x="1978" y="1702"/>
                  </a:lnTo>
                  <a:lnTo>
                    <a:pt x="1974" y="1694"/>
                  </a:lnTo>
                  <a:lnTo>
                    <a:pt x="1969" y="1686"/>
                  </a:lnTo>
                  <a:lnTo>
                    <a:pt x="1957" y="1672"/>
                  </a:lnTo>
                  <a:lnTo>
                    <a:pt x="1942" y="1660"/>
                  </a:lnTo>
                  <a:lnTo>
                    <a:pt x="1928" y="1648"/>
                  </a:lnTo>
                  <a:lnTo>
                    <a:pt x="1916" y="1635"/>
                  </a:lnTo>
                  <a:lnTo>
                    <a:pt x="1910" y="1627"/>
                  </a:lnTo>
                  <a:lnTo>
                    <a:pt x="1906" y="1618"/>
                  </a:lnTo>
                  <a:lnTo>
                    <a:pt x="1904" y="1607"/>
                  </a:lnTo>
                  <a:lnTo>
                    <a:pt x="1904" y="1595"/>
                  </a:lnTo>
                  <a:lnTo>
                    <a:pt x="1904" y="1588"/>
                  </a:lnTo>
                  <a:lnTo>
                    <a:pt x="1905" y="1580"/>
                  </a:lnTo>
                  <a:lnTo>
                    <a:pt x="1906" y="1575"/>
                  </a:lnTo>
                  <a:lnTo>
                    <a:pt x="1909" y="1568"/>
                  </a:lnTo>
                  <a:lnTo>
                    <a:pt x="1914" y="1559"/>
                  </a:lnTo>
                  <a:lnTo>
                    <a:pt x="1921" y="1550"/>
                  </a:lnTo>
                  <a:lnTo>
                    <a:pt x="1928" y="1542"/>
                  </a:lnTo>
                  <a:lnTo>
                    <a:pt x="1934" y="1534"/>
                  </a:lnTo>
                  <a:lnTo>
                    <a:pt x="1938" y="1526"/>
                  </a:lnTo>
                  <a:lnTo>
                    <a:pt x="1939" y="1516"/>
                  </a:lnTo>
                  <a:lnTo>
                    <a:pt x="1939" y="1511"/>
                  </a:lnTo>
                  <a:lnTo>
                    <a:pt x="1938" y="1507"/>
                  </a:lnTo>
                  <a:lnTo>
                    <a:pt x="1936" y="1502"/>
                  </a:lnTo>
                  <a:lnTo>
                    <a:pt x="1934" y="1498"/>
                  </a:lnTo>
                  <a:lnTo>
                    <a:pt x="1928" y="1490"/>
                  </a:lnTo>
                  <a:lnTo>
                    <a:pt x="1921" y="1481"/>
                  </a:lnTo>
                  <a:lnTo>
                    <a:pt x="1914" y="1471"/>
                  </a:lnTo>
                  <a:lnTo>
                    <a:pt x="1909" y="1459"/>
                  </a:lnTo>
                  <a:lnTo>
                    <a:pt x="1906" y="1453"/>
                  </a:lnTo>
                  <a:lnTo>
                    <a:pt x="1905" y="1445"/>
                  </a:lnTo>
                  <a:lnTo>
                    <a:pt x="1904" y="1437"/>
                  </a:lnTo>
                  <a:lnTo>
                    <a:pt x="1904" y="1427"/>
                  </a:lnTo>
                  <a:lnTo>
                    <a:pt x="1904" y="1419"/>
                  </a:lnTo>
                  <a:lnTo>
                    <a:pt x="1905" y="1411"/>
                  </a:lnTo>
                  <a:lnTo>
                    <a:pt x="1906" y="1405"/>
                  </a:lnTo>
                  <a:lnTo>
                    <a:pt x="1909" y="1398"/>
                  </a:lnTo>
                  <a:lnTo>
                    <a:pt x="1914" y="1387"/>
                  </a:lnTo>
                  <a:lnTo>
                    <a:pt x="1922" y="1379"/>
                  </a:lnTo>
                  <a:lnTo>
                    <a:pt x="1932" y="1373"/>
                  </a:lnTo>
                  <a:lnTo>
                    <a:pt x="1942" y="1366"/>
                  </a:lnTo>
                  <a:lnTo>
                    <a:pt x="1954" y="1362"/>
                  </a:lnTo>
                  <a:lnTo>
                    <a:pt x="1966" y="1358"/>
                  </a:lnTo>
                  <a:lnTo>
                    <a:pt x="1991" y="1350"/>
                  </a:lnTo>
                  <a:lnTo>
                    <a:pt x="2015" y="1341"/>
                  </a:lnTo>
                  <a:lnTo>
                    <a:pt x="2025" y="1334"/>
                  </a:lnTo>
                  <a:lnTo>
                    <a:pt x="2034" y="1327"/>
                  </a:lnTo>
                  <a:lnTo>
                    <a:pt x="2038" y="1322"/>
                  </a:lnTo>
                  <a:lnTo>
                    <a:pt x="2042" y="1318"/>
                  </a:lnTo>
                  <a:lnTo>
                    <a:pt x="2045" y="1313"/>
                  </a:lnTo>
                  <a:lnTo>
                    <a:pt x="2047" y="1306"/>
                  </a:lnTo>
                  <a:lnTo>
                    <a:pt x="2047" y="1282"/>
                  </a:lnTo>
                  <a:lnTo>
                    <a:pt x="2039" y="1282"/>
                  </a:lnTo>
                  <a:lnTo>
                    <a:pt x="2035" y="1282"/>
                  </a:lnTo>
                  <a:lnTo>
                    <a:pt x="2014" y="1285"/>
                  </a:lnTo>
                  <a:lnTo>
                    <a:pt x="1993" y="1287"/>
                  </a:lnTo>
                  <a:lnTo>
                    <a:pt x="1983" y="1287"/>
                  </a:lnTo>
                  <a:lnTo>
                    <a:pt x="1973" y="1287"/>
                  </a:lnTo>
                  <a:lnTo>
                    <a:pt x="1962" y="1286"/>
                  </a:lnTo>
                  <a:lnTo>
                    <a:pt x="1951" y="1282"/>
                  </a:lnTo>
                  <a:lnTo>
                    <a:pt x="1928" y="1274"/>
                  </a:lnTo>
                  <a:lnTo>
                    <a:pt x="1910" y="1266"/>
                  </a:lnTo>
                  <a:lnTo>
                    <a:pt x="1904" y="1263"/>
                  </a:lnTo>
                  <a:lnTo>
                    <a:pt x="1896" y="1261"/>
                  </a:lnTo>
                  <a:lnTo>
                    <a:pt x="1888" y="1259"/>
                  </a:lnTo>
                  <a:lnTo>
                    <a:pt x="1880" y="1258"/>
                  </a:lnTo>
                  <a:lnTo>
                    <a:pt x="1852" y="1259"/>
                  </a:lnTo>
                  <a:lnTo>
                    <a:pt x="1825" y="1263"/>
                  </a:lnTo>
                  <a:lnTo>
                    <a:pt x="1812" y="1263"/>
                  </a:lnTo>
                  <a:lnTo>
                    <a:pt x="1798" y="1263"/>
                  </a:lnTo>
                  <a:lnTo>
                    <a:pt x="1784" y="1262"/>
                  </a:lnTo>
                  <a:lnTo>
                    <a:pt x="1770" y="1258"/>
                  </a:lnTo>
                  <a:lnTo>
                    <a:pt x="1770" y="1203"/>
                  </a:lnTo>
                  <a:lnTo>
                    <a:pt x="1770" y="1175"/>
                  </a:lnTo>
                  <a:lnTo>
                    <a:pt x="1770" y="1155"/>
                  </a:lnTo>
                  <a:lnTo>
                    <a:pt x="1770" y="1119"/>
                  </a:lnTo>
                  <a:lnTo>
                    <a:pt x="1772" y="1110"/>
                  </a:lnTo>
                  <a:lnTo>
                    <a:pt x="1773" y="1101"/>
                  </a:lnTo>
                  <a:lnTo>
                    <a:pt x="1776" y="1093"/>
                  </a:lnTo>
                  <a:lnTo>
                    <a:pt x="1780" y="1085"/>
                  </a:lnTo>
                  <a:lnTo>
                    <a:pt x="1788" y="1070"/>
                  </a:lnTo>
                  <a:lnTo>
                    <a:pt x="1798" y="1057"/>
                  </a:lnTo>
                  <a:lnTo>
                    <a:pt x="1808" y="1045"/>
                  </a:lnTo>
                  <a:lnTo>
                    <a:pt x="1817" y="1033"/>
                  </a:lnTo>
                  <a:lnTo>
                    <a:pt x="1820" y="1027"/>
                  </a:lnTo>
                  <a:lnTo>
                    <a:pt x="1822" y="1022"/>
                  </a:lnTo>
                  <a:lnTo>
                    <a:pt x="1825" y="1017"/>
                  </a:lnTo>
                  <a:lnTo>
                    <a:pt x="1825" y="1011"/>
                  </a:lnTo>
                  <a:lnTo>
                    <a:pt x="1824" y="997"/>
                  </a:lnTo>
                  <a:lnTo>
                    <a:pt x="1821" y="983"/>
                  </a:lnTo>
                  <a:lnTo>
                    <a:pt x="1816" y="970"/>
                  </a:lnTo>
                  <a:lnTo>
                    <a:pt x="1809" y="958"/>
                  </a:lnTo>
                  <a:lnTo>
                    <a:pt x="1801" y="946"/>
                  </a:lnTo>
                  <a:lnTo>
                    <a:pt x="1792" y="934"/>
                  </a:lnTo>
                  <a:lnTo>
                    <a:pt x="1782" y="923"/>
                  </a:lnTo>
                  <a:lnTo>
                    <a:pt x="1772" y="911"/>
                  </a:lnTo>
                  <a:lnTo>
                    <a:pt x="1752" y="889"/>
                  </a:lnTo>
                  <a:lnTo>
                    <a:pt x="1733" y="866"/>
                  </a:lnTo>
                  <a:lnTo>
                    <a:pt x="1725" y="853"/>
                  </a:lnTo>
                  <a:lnTo>
                    <a:pt x="1718" y="841"/>
                  </a:lnTo>
                  <a:lnTo>
                    <a:pt x="1714" y="828"/>
                  </a:lnTo>
                  <a:lnTo>
                    <a:pt x="1710" y="813"/>
                  </a:lnTo>
                  <a:lnTo>
                    <a:pt x="1709" y="805"/>
                  </a:lnTo>
                  <a:lnTo>
                    <a:pt x="1708" y="797"/>
                  </a:lnTo>
                  <a:lnTo>
                    <a:pt x="1708" y="790"/>
                  </a:lnTo>
                  <a:lnTo>
                    <a:pt x="1708" y="784"/>
                  </a:lnTo>
                  <a:lnTo>
                    <a:pt x="1710" y="769"/>
                  </a:lnTo>
                  <a:lnTo>
                    <a:pt x="1713" y="757"/>
                  </a:lnTo>
                  <a:lnTo>
                    <a:pt x="1717" y="744"/>
                  </a:lnTo>
                  <a:lnTo>
                    <a:pt x="1718" y="730"/>
                  </a:lnTo>
                  <a:lnTo>
                    <a:pt x="1720" y="724"/>
                  </a:lnTo>
                  <a:lnTo>
                    <a:pt x="1720" y="718"/>
                  </a:lnTo>
                  <a:lnTo>
                    <a:pt x="1718" y="712"/>
                  </a:lnTo>
                  <a:lnTo>
                    <a:pt x="1717" y="705"/>
                  </a:lnTo>
                  <a:lnTo>
                    <a:pt x="1714" y="700"/>
                  </a:lnTo>
                  <a:lnTo>
                    <a:pt x="1712" y="694"/>
                  </a:lnTo>
                  <a:lnTo>
                    <a:pt x="1709" y="690"/>
                  </a:lnTo>
                  <a:lnTo>
                    <a:pt x="1704" y="686"/>
                  </a:lnTo>
                  <a:lnTo>
                    <a:pt x="1693" y="680"/>
                  </a:lnTo>
                  <a:lnTo>
                    <a:pt x="1680" y="674"/>
                  </a:lnTo>
                  <a:lnTo>
                    <a:pt x="1649" y="668"/>
                  </a:lnTo>
                  <a:lnTo>
                    <a:pt x="1620" y="662"/>
                  </a:lnTo>
                  <a:lnTo>
                    <a:pt x="1624" y="652"/>
                  </a:lnTo>
                  <a:lnTo>
                    <a:pt x="1628" y="642"/>
                  </a:lnTo>
                  <a:lnTo>
                    <a:pt x="1633" y="634"/>
                  </a:lnTo>
                  <a:lnTo>
                    <a:pt x="1640" y="628"/>
                  </a:lnTo>
                  <a:lnTo>
                    <a:pt x="1654" y="616"/>
                  </a:lnTo>
                  <a:lnTo>
                    <a:pt x="1670" y="605"/>
                  </a:lnTo>
                  <a:lnTo>
                    <a:pt x="1685" y="594"/>
                  </a:lnTo>
                  <a:lnTo>
                    <a:pt x="1698" y="582"/>
                  </a:lnTo>
                  <a:lnTo>
                    <a:pt x="1704" y="576"/>
                  </a:lnTo>
                  <a:lnTo>
                    <a:pt x="1708" y="568"/>
                  </a:lnTo>
                  <a:lnTo>
                    <a:pt x="1709" y="558"/>
                  </a:lnTo>
                  <a:lnTo>
                    <a:pt x="1710" y="548"/>
                  </a:lnTo>
                  <a:lnTo>
                    <a:pt x="1709" y="509"/>
                  </a:lnTo>
                  <a:lnTo>
                    <a:pt x="1706" y="472"/>
                  </a:lnTo>
                  <a:lnTo>
                    <a:pt x="1702" y="434"/>
                  </a:lnTo>
                  <a:lnTo>
                    <a:pt x="1697" y="398"/>
                  </a:lnTo>
                  <a:lnTo>
                    <a:pt x="1689" y="361"/>
                  </a:lnTo>
                  <a:lnTo>
                    <a:pt x="1681" y="325"/>
                  </a:lnTo>
                  <a:lnTo>
                    <a:pt x="1670" y="291"/>
                  </a:lnTo>
                  <a:lnTo>
                    <a:pt x="1660" y="256"/>
                  </a:lnTo>
                  <a:lnTo>
                    <a:pt x="1646" y="221"/>
                  </a:lnTo>
                  <a:lnTo>
                    <a:pt x="1633" y="188"/>
                  </a:lnTo>
                  <a:lnTo>
                    <a:pt x="1620" y="155"/>
                  </a:lnTo>
                  <a:lnTo>
                    <a:pt x="1604" y="123"/>
                  </a:lnTo>
                  <a:lnTo>
                    <a:pt x="1588" y="91"/>
                  </a:lnTo>
                  <a:lnTo>
                    <a:pt x="1570" y="60"/>
                  </a:lnTo>
                  <a:lnTo>
                    <a:pt x="1553" y="29"/>
                  </a:lnTo>
                  <a:lnTo>
                    <a:pt x="1536" y="0"/>
                  </a:lnTo>
                  <a:lnTo>
                    <a:pt x="1529" y="4"/>
                  </a:lnTo>
                  <a:lnTo>
                    <a:pt x="1524" y="8"/>
                  </a:lnTo>
                  <a:lnTo>
                    <a:pt x="1520" y="13"/>
                  </a:lnTo>
                  <a:lnTo>
                    <a:pt x="1516" y="19"/>
                  </a:lnTo>
                  <a:lnTo>
                    <a:pt x="1510" y="31"/>
                  </a:lnTo>
                  <a:lnTo>
                    <a:pt x="1505" y="43"/>
                  </a:lnTo>
                  <a:lnTo>
                    <a:pt x="1500" y="55"/>
                  </a:lnTo>
                  <a:lnTo>
                    <a:pt x="1493" y="64"/>
                  </a:lnTo>
                  <a:lnTo>
                    <a:pt x="1488" y="67"/>
                  </a:lnTo>
                  <a:lnTo>
                    <a:pt x="1484" y="69"/>
                  </a:lnTo>
                  <a:lnTo>
                    <a:pt x="1477" y="72"/>
                  </a:lnTo>
                  <a:lnTo>
                    <a:pt x="1469" y="72"/>
                  </a:lnTo>
                  <a:lnTo>
                    <a:pt x="1462" y="71"/>
                  </a:lnTo>
                  <a:lnTo>
                    <a:pt x="1456" y="68"/>
                  </a:lnTo>
                  <a:lnTo>
                    <a:pt x="1449" y="64"/>
                  </a:lnTo>
                  <a:lnTo>
                    <a:pt x="1442" y="60"/>
                  </a:lnTo>
                  <a:lnTo>
                    <a:pt x="1434" y="56"/>
                  </a:lnTo>
                  <a:lnTo>
                    <a:pt x="1426" y="52"/>
                  </a:lnTo>
                  <a:lnTo>
                    <a:pt x="1418" y="49"/>
                  </a:lnTo>
                  <a:lnTo>
                    <a:pt x="1409" y="48"/>
                  </a:lnTo>
                  <a:lnTo>
                    <a:pt x="1402" y="49"/>
                  </a:lnTo>
                  <a:lnTo>
                    <a:pt x="1397" y="53"/>
                  </a:lnTo>
                  <a:lnTo>
                    <a:pt x="1392" y="60"/>
                  </a:lnTo>
                  <a:lnTo>
                    <a:pt x="1386" y="67"/>
                  </a:lnTo>
                  <a:lnTo>
                    <a:pt x="1381" y="75"/>
                  </a:lnTo>
                  <a:lnTo>
                    <a:pt x="1376" y="81"/>
                  </a:lnTo>
                  <a:lnTo>
                    <a:pt x="1372" y="87"/>
                  </a:lnTo>
                  <a:lnTo>
                    <a:pt x="1368" y="91"/>
                  </a:lnTo>
                  <a:lnTo>
                    <a:pt x="1361" y="95"/>
                  </a:lnTo>
                  <a:lnTo>
                    <a:pt x="1354" y="97"/>
                  </a:lnTo>
                  <a:lnTo>
                    <a:pt x="1348" y="99"/>
                  </a:lnTo>
                  <a:lnTo>
                    <a:pt x="1342" y="100"/>
                  </a:lnTo>
                  <a:lnTo>
                    <a:pt x="1330" y="101"/>
                  </a:lnTo>
                  <a:lnTo>
                    <a:pt x="1320" y="99"/>
                  </a:lnTo>
                  <a:lnTo>
                    <a:pt x="1298" y="93"/>
                  </a:lnTo>
                  <a:lnTo>
                    <a:pt x="1277" y="91"/>
                  </a:lnTo>
                  <a:lnTo>
                    <a:pt x="1250" y="89"/>
                  </a:lnTo>
                  <a:lnTo>
                    <a:pt x="1229" y="85"/>
                  </a:lnTo>
                  <a:lnTo>
                    <a:pt x="1210" y="81"/>
                  </a:lnTo>
                  <a:lnTo>
                    <a:pt x="1194" y="75"/>
                  </a:lnTo>
                  <a:lnTo>
                    <a:pt x="1178" y="69"/>
                  </a:lnTo>
                  <a:lnTo>
                    <a:pt x="1161" y="65"/>
                  </a:lnTo>
                  <a:lnTo>
                    <a:pt x="1143" y="61"/>
                  </a:lnTo>
                  <a:lnTo>
                    <a:pt x="1120" y="60"/>
                  </a:lnTo>
                  <a:lnTo>
                    <a:pt x="1108" y="61"/>
                  </a:lnTo>
                  <a:lnTo>
                    <a:pt x="1099" y="64"/>
                  </a:lnTo>
                  <a:lnTo>
                    <a:pt x="1089" y="68"/>
                  </a:lnTo>
                  <a:lnTo>
                    <a:pt x="1083" y="72"/>
                  </a:lnTo>
                  <a:lnTo>
                    <a:pt x="1075" y="76"/>
                  </a:lnTo>
                  <a:lnTo>
                    <a:pt x="1067" y="80"/>
                  </a:lnTo>
                  <a:lnTo>
                    <a:pt x="1059" y="83"/>
                  </a:lnTo>
                  <a:lnTo>
                    <a:pt x="1048" y="84"/>
                  </a:lnTo>
                  <a:lnTo>
                    <a:pt x="1043" y="84"/>
                  </a:lnTo>
                  <a:lnTo>
                    <a:pt x="1039" y="81"/>
                  </a:lnTo>
                  <a:lnTo>
                    <a:pt x="1033" y="77"/>
                  </a:lnTo>
                  <a:lnTo>
                    <a:pt x="1031" y="72"/>
                  </a:lnTo>
                  <a:lnTo>
                    <a:pt x="1023" y="60"/>
                  </a:lnTo>
                  <a:lnTo>
                    <a:pt x="1016" y="45"/>
                  </a:lnTo>
                  <a:lnTo>
                    <a:pt x="1009" y="31"/>
                  </a:lnTo>
                  <a:lnTo>
                    <a:pt x="1001" y="19"/>
                  </a:lnTo>
                  <a:lnTo>
                    <a:pt x="996" y="13"/>
                  </a:lnTo>
                  <a:lnTo>
                    <a:pt x="989" y="9"/>
                  </a:lnTo>
                  <a:lnTo>
                    <a:pt x="984" y="7"/>
                  </a:lnTo>
                  <a:lnTo>
                    <a:pt x="976" y="5"/>
                  </a:lnTo>
                  <a:lnTo>
                    <a:pt x="965" y="7"/>
                  </a:lnTo>
                  <a:lnTo>
                    <a:pt x="956" y="9"/>
                  </a:lnTo>
                  <a:lnTo>
                    <a:pt x="948" y="12"/>
                  </a:lnTo>
                  <a:lnTo>
                    <a:pt x="941" y="16"/>
                  </a:lnTo>
                  <a:lnTo>
                    <a:pt x="936" y="21"/>
                  </a:lnTo>
                  <a:lnTo>
                    <a:pt x="931" y="27"/>
                  </a:lnTo>
                  <a:lnTo>
                    <a:pt x="927" y="33"/>
                  </a:lnTo>
                  <a:lnTo>
                    <a:pt x="923" y="39"/>
                  </a:lnTo>
                  <a:lnTo>
                    <a:pt x="916" y="51"/>
                  </a:lnTo>
                  <a:lnTo>
                    <a:pt x="909" y="61"/>
                  </a:lnTo>
                  <a:lnTo>
                    <a:pt x="905" y="67"/>
                  </a:lnTo>
                  <a:lnTo>
                    <a:pt x="901" y="69"/>
                  </a:lnTo>
                  <a:lnTo>
                    <a:pt x="897" y="72"/>
                  </a:lnTo>
                  <a:lnTo>
                    <a:pt x="892" y="72"/>
                  </a:lnTo>
                  <a:lnTo>
                    <a:pt x="885" y="72"/>
                  </a:lnTo>
                  <a:lnTo>
                    <a:pt x="880" y="71"/>
                  </a:lnTo>
                  <a:lnTo>
                    <a:pt x="875" y="68"/>
                  </a:lnTo>
                  <a:lnTo>
                    <a:pt x="871" y="67"/>
                  </a:lnTo>
                  <a:lnTo>
                    <a:pt x="865" y="64"/>
                  </a:lnTo>
                  <a:lnTo>
                    <a:pt x="861" y="63"/>
                  </a:lnTo>
                  <a:lnTo>
                    <a:pt x="856" y="60"/>
                  </a:lnTo>
                  <a:lnTo>
                    <a:pt x="849" y="60"/>
                  </a:lnTo>
                  <a:lnTo>
                    <a:pt x="829" y="61"/>
                  </a:lnTo>
                  <a:lnTo>
                    <a:pt x="811" y="65"/>
                  </a:lnTo>
                  <a:lnTo>
                    <a:pt x="792" y="72"/>
                  </a:lnTo>
                  <a:lnTo>
                    <a:pt x="775" y="80"/>
                  </a:lnTo>
                  <a:lnTo>
                    <a:pt x="757" y="89"/>
                  </a:lnTo>
                  <a:lnTo>
                    <a:pt x="741" y="100"/>
                  </a:lnTo>
                  <a:lnTo>
                    <a:pt x="725" y="112"/>
                  </a:lnTo>
                  <a:lnTo>
                    <a:pt x="709" y="125"/>
                  </a:lnTo>
                  <a:lnTo>
                    <a:pt x="680" y="151"/>
                  </a:lnTo>
                  <a:lnTo>
                    <a:pt x="651" y="177"/>
                  </a:lnTo>
                  <a:lnTo>
                    <a:pt x="637" y="189"/>
                  </a:lnTo>
                  <a:lnTo>
                    <a:pt x="624" y="200"/>
                  </a:lnTo>
                  <a:lnTo>
                    <a:pt x="609" y="209"/>
                  </a:lnTo>
                  <a:lnTo>
                    <a:pt x="596" y="217"/>
                  </a:lnTo>
                  <a:lnTo>
                    <a:pt x="589" y="225"/>
                  </a:lnTo>
                  <a:lnTo>
                    <a:pt x="579" y="243"/>
                  </a:lnTo>
                  <a:lnTo>
                    <a:pt x="567" y="265"/>
                  </a:lnTo>
                  <a:lnTo>
                    <a:pt x="552" y="293"/>
                  </a:lnTo>
                  <a:lnTo>
                    <a:pt x="527" y="345"/>
                  </a:lnTo>
                  <a:lnTo>
                    <a:pt x="512" y="373"/>
                  </a:lnTo>
                  <a:lnTo>
                    <a:pt x="505" y="398"/>
                  </a:lnTo>
                  <a:lnTo>
                    <a:pt x="501" y="424"/>
                  </a:lnTo>
                  <a:lnTo>
                    <a:pt x="497" y="434"/>
                  </a:lnTo>
                  <a:lnTo>
                    <a:pt x="492" y="444"/>
                  </a:lnTo>
                  <a:lnTo>
                    <a:pt x="489" y="446"/>
                  </a:lnTo>
                  <a:lnTo>
                    <a:pt x="485" y="449"/>
                  </a:lnTo>
                  <a:lnTo>
                    <a:pt x="481" y="450"/>
                  </a:lnTo>
                  <a:lnTo>
                    <a:pt x="476" y="452"/>
                  </a:lnTo>
                  <a:lnTo>
                    <a:pt x="456" y="452"/>
                  </a:lnTo>
                  <a:lnTo>
                    <a:pt x="440" y="452"/>
                  </a:lnTo>
                  <a:lnTo>
                    <a:pt x="435" y="452"/>
                  </a:lnTo>
                  <a:lnTo>
                    <a:pt x="429" y="453"/>
                  </a:lnTo>
                  <a:lnTo>
                    <a:pt x="424" y="454"/>
                  </a:lnTo>
                  <a:lnTo>
                    <a:pt x="419" y="457"/>
                  </a:lnTo>
                  <a:lnTo>
                    <a:pt x="408" y="464"/>
                  </a:lnTo>
                  <a:lnTo>
                    <a:pt x="399" y="474"/>
                  </a:lnTo>
                  <a:lnTo>
                    <a:pt x="390" y="485"/>
                  </a:lnTo>
                  <a:lnTo>
                    <a:pt x="380" y="498"/>
                  </a:lnTo>
                  <a:lnTo>
                    <a:pt x="372" y="514"/>
                  </a:lnTo>
                  <a:lnTo>
                    <a:pt x="363" y="530"/>
                  </a:lnTo>
                  <a:lnTo>
                    <a:pt x="343" y="566"/>
                  </a:lnTo>
                  <a:lnTo>
                    <a:pt x="323" y="606"/>
                  </a:lnTo>
                  <a:lnTo>
                    <a:pt x="311" y="626"/>
                  </a:lnTo>
                  <a:lnTo>
                    <a:pt x="299" y="646"/>
                  </a:lnTo>
                  <a:lnTo>
                    <a:pt x="286" y="666"/>
                  </a:lnTo>
                  <a:lnTo>
                    <a:pt x="271" y="686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accent1">
                  <a:lumMod val="20000"/>
                  <a:lumOff val="8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95" b="0" i="0" u="none" strike="noStrike" kern="1200" cap="none" spc="0" normalizeH="0" baseline="0" noProof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6" name="Freeform 82"/>
            <p:cNvSpPr>
              <a:spLocks/>
            </p:cNvSpPr>
            <p:nvPr/>
          </p:nvSpPr>
          <p:spPr bwMode="auto">
            <a:xfrm>
              <a:off x="5206503" y="2202606"/>
              <a:ext cx="9668" cy="7074"/>
            </a:xfrm>
            <a:custGeom>
              <a:avLst/>
              <a:gdLst>
                <a:gd name="T0" fmla="*/ 114 w 132"/>
                <a:gd name="T1" fmla="*/ 29 h 96"/>
                <a:gd name="T2" fmla="*/ 114 w 132"/>
                <a:gd name="T3" fmla="*/ 0 h 96"/>
                <a:gd name="T4" fmla="*/ 92 w 132"/>
                <a:gd name="T5" fmla="*/ 0 h 96"/>
                <a:gd name="T6" fmla="*/ 78 w 132"/>
                <a:gd name="T7" fmla="*/ 0 h 96"/>
                <a:gd name="T8" fmla="*/ 66 w 132"/>
                <a:gd name="T9" fmla="*/ 0 h 96"/>
                <a:gd name="T10" fmla="*/ 53 w 132"/>
                <a:gd name="T11" fmla="*/ 4 h 96"/>
                <a:gd name="T12" fmla="*/ 40 w 132"/>
                <a:gd name="T13" fmla="*/ 9 h 96"/>
                <a:gd name="T14" fmla="*/ 28 w 132"/>
                <a:gd name="T15" fmla="*/ 17 h 96"/>
                <a:gd name="T16" fmla="*/ 21 w 132"/>
                <a:gd name="T17" fmla="*/ 21 h 96"/>
                <a:gd name="T18" fmla="*/ 17 w 132"/>
                <a:gd name="T19" fmla="*/ 26 h 96"/>
                <a:gd name="T20" fmla="*/ 12 w 132"/>
                <a:gd name="T21" fmla="*/ 32 h 96"/>
                <a:gd name="T22" fmla="*/ 8 w 132"/>
                <a:gd name="T23" fmla="*/ 37 h 96"/>
                <a:gd name="T24" fmla="*/ 4 w 132"/>
                <a:gd name="T25" fmla="*/ 44 h 96"/>
                <a:gd name="T26" fmla="*/ 1 w 132"/>
                <a:gd name="T27" fmla="*/ 50 h 96"/>
                <a:gd name="T28" fmla="*/ 0 w 132"/>
                <a:gd name="T29" fmla="*/ 58 h 96"/>
                <a:gd name="T30" fmla="*/ 0 w 132"/>
                <a:gd name="T31" fmla="*/ 65 h 96"/>
                <a:gd name="T32" fmla="*/ 1 w 132"/>
                <a:gd name="T33" fmla="*/ 72 h 96"/>
                <a:gd name="T34" fmla="*/ 5 w 132"/>
                <a:gd name="T35" fmla="*/ 78 h 96"/>
                <a:gd name="T36" fmla="*/ 10 w 132"/>
                <a:gd name="T37" fmla="*/ 82 h 96"/>
                <a:gd name="T38" fmla="*/ 16 w 132"/>
                <a:gd name="T39" fmla="*/ 88 h 96"/>
                <a:gd name="T40" fmla="*/ 24 w 132"/>
                <a:gd name="T41" fmla="*/ 90 h 96"/>
                <a:gd name="T42" fmla="*/ 30 w 132"/>
                <a:gd name="T43" fmla="*/ 93 h 96"/>
                <a:gd name="T44" fmla="*/ 37 w 132"/>
                <a:gd name="T45" fmla="*/ 96 h 96"/>
                <a:gd name="T46" fmla="*/ 42 w 132"/>
                <a:gd name="T47" fmla="*/ 96 h 96"/>
                <a:gd name="T48" fmla="*/ 66 w 132"/>
                <a:gd name="T49" fmla="*/ 94 h 96"/>
                <a:gd name="T50" fmla="*/ 86 w 132"/>
                <a:gd name="T51" fmla="*/ 92 h 96"/>
                <a:gd name="T52" fmla="*/ 97 w 132"/>
                <a:gd name="T53" fmla="*/ 90 h 96"/>
                <a:gd name="T54" fmla="*/ 108 w 132"/>
                <a:gd name="T55" fmla="*/ 90 h 96"/>
                <a:gd name="T56" fmla="*/ 120 w 132"/>
                <a:gd name="T57" fmla="*/ 92 h 96"/>
                <a:gd name="T58" fmla="*/ 132 w 132"/>
                <a:gd name="T59" fmla="*/ 96 h 96"/>
                <a:gd name="T60" fmla="*/ 132 w 132"/>
                <a:gd name="T61" fmla="*/ 65 h 96"/>
                <a:gd name="T62" fmla="*/ 125 w 132"/>
                <a:gd name="T63" fmla="*/ 65 h 96"/>
                <a:gd name="T64" fmla="*/ 120 w 132"/>
                <a:gd name="T65" fmla="*/ 64 h 96"/>
                <a:gd name="T66" fmla="*/ 114 w 132"/>
                <a:gd name="T67" fmla="*/ 61 h 96"/>
                <a:gd name="T68" fmla="*/ 109 w 132"/>
                <a:gd name="T69" fmla="*/ 60 h 96"/>
                <a:gd name="T70" fmla="*/ 101 w 132"/>
                <a:gd name="T71" fmla="*/ 56 h 96"/>
                <a:gd name="T72" fmla="*/ 96 w 132"/>
                <a:gd name="T73" fmla="*/ 53 h 96"/>
                <a:gd name="T74" fmla="*/ 104 w 132"/>
                <a:gd name="T75" fmla="*/ 48 h 96"/>
                <a:gd name="T76" fmla="*/ 109 w 132"/>
                <a:gd name="T77" fmla="*/ 41 h 96"/>
                <a:gd name="T78" fmla="*/ 113 w 132"/>
                <a:gd name="T79" fmla="*/ 34 h 96"/>
                <a:gd name="T80" fmla="*/ 114 w 132"/>
                <a:gd name="T81" fmla="*/ 29 h 9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32"/>
                <a:gd name="T124" fmla="*/ 0 h 96"/>
                <a:gd name="T125" fmla="*/ 132 w 132"/>
                <a:gd name="T126" fmla="*/ 96 h 9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32" h="96">
                  <a:moveTo>
                    <a:pt x="114" y="29"/>
                  </a:moveTo>
                  <a:lnTo>
                    <a:pt x="114" y="0"/>
                  </a:lnTo>
                  <a:lnTo>
                    <a:pt x="92" y="0"/>
                  </a:lnTo>
                  <a:lnTo>
                    <a:pt x="78" y="0"/>
                  </a:lnTo>
                  <a:lnTo>
                    <a:pt x="66" y="0"/>
                  </a:lnTo>
                  <a:lnTo>
                    <a:pt x="53" y="4"/>
                  </a:lnTo>
                  <a:lnTo>
                    <a:pt x="40" y="9"/>
                  </a:lnTo>
                  <a:lnTo>
                    <a:pt x="28" y="17"/>
                  </a:lnTo>
                  <a:lnTo>
                    <a:pt x="21" y="21"/>
                  </a:lnTo>
                  <a:lnTo>
                    <a:pt x="17" y="26"/>
                  </a:lnTo>
                  <a:lnTo>
                    <a:pt x="12" y="32"/>
                  </a:lnTo>
                  <a:lnTo>
                    <a:pt x="8" y="37"/>
                  </a:lnTo>
                  <a:lnTo>
                    <a:pt x="4" y="44"/>
                  </a:lnTo>
                  <a:lnTo>
                    <a:pt x="1" y="50"/>
                  </a:lnTo>
                  <a:lnTo>
                    <a:pt x="0" y="58"/>
                  </a:lnTo>
                  <a:lnTo>
                    <a:pt x="0" y="65"/>
                  </a:lnTo>
                  <a:lnTo>
                    <a:pt x="1" y="72"/>
                  </a:lnTo>
                  <a:lnTo>
                    <a:pt x="5" y="78"/>
                  </a:lnTo>
                  <a:lnTo>
                    <a:pt x="10" y="82"/>
                  </a:lnTo>
                  <a:lnTo>
                    <a:pt x="16" y="88"/>
                  </a:lnTo>
                  <a:lnTo>
                    <a:pt x="24" y="90"/>
                  </a:lnTo>
                  <a:lnTo>
                    <a:pt x="30" y="93"/>
                  </a:lnTo>
                  <a:lnTo>
                    <a:pt x="37" y="96"/>
                  </a:lnTo>
                  <a:lnTo>
                    <a:pt x="42" y="96"/>
                  </a:lnTo>
                  <a:lnTo>
                    <a:pt x="66" y="94"/>
                  </a:lnTo>
                  <a:lnTo>
                    <a:pt x="86" y="92"/>
                  </a:lnTo>
                  <a:lnTo>
                    <a:pt x="97" y="90"/>
                  </a:lnTo>
                  <a:lnTo>
                    <a:pt x="108" y="90"/>
                  </a:lnTo>
                  <a:lnTo>
                    <a:pt x="120" y="92"/>
                  </a:lnTo>
                  <a:lnTo>
                    <a:pt x="132" y="96"/>
                  </a:lnTo>
                  <a:lnTo>
                    <a:pt x="132" y="65"/>
                  </a:lnTo>
                  <a:lnTo>
                    <a:pt x="125" y="65"/>
                  </a:lnTo>
                  <a:lnTo>
                    <a:pt x="120" y="64"/>
                  </a:lnTo>
                  <a:lnTo>
                    <a:pt x="114" y="61"/>
                  </a:lnTo>
                  <a:lnTo>
                    <a:pt x="109" y="60"/>
                  </a:lnTo>
                  <a:lnTo>
                    <a:pt x="101" y="56"/>
                  </a:lnTo>
                  <a:lnTo>
                    <a:pt x="96" y="53"/>
                  </a:lnTo>
                  <a:lnTo>
                    <a:pt x="104" y="48"/>
                  </a:lnTo>
                  <a:lnTo>
                    <a:pt x="109" y="41"/>
                  </a:lnTo>
                  <a:lnTo>
                    <a:pt x="113" y="34"/>
                  </a:lnTo>
                  <a:lnTo>
                    <a:pt x="114" y="29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accent1">
                  <a:lumMod val="20000"/>
                  <a:lumOff val="8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95" b="0" i="0" u="none" strike="noStrike" kern="1200" cap="none" spc="0" normalizeH="0" baseline="0" noProof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7" name="Freeform 83"/>
            <p:cNvSpPr>
              <a:spLocks/>
            </p:cNvSpPr>
            <p:nvPr/>
          </p:nvSpPr>
          <p:spPr bwMode="auto">
            <a:xfrm>
              <a:off x="5228198" y="2213925"/>
              <a:ext cx="4245" cy="3066"/>
            </a:xfrm>
            <a:custGeom>
              <a:avLst/>
              <a:gdLst>
                <a:gd name="T0" fmla="*/ 0 w 60"/>
                <a:gd name="T1" fmla="*/ 0 h 44"/>
                <a:gd name="T2" fmla="*/ 0 w 60"/>
                <a:gd name="T3" fmla="*/ 36 h 44"/>
                <a:gd name="T4" fmla="*/ 5 w 60"/>
                <a:gd name="T5" fmla="*/ 40 h 44"/>
                <a:gd name="T6" fmla="*/ 12 w 60"/>
                <a:gd name="T7" fmla="*/ 42 h 44"/>
                <a:gd name="T8" fmla="*/ 21 w 60"/>
                <a:gd name="T9" fmla="*/ 44 h 44"/>
                <a:gd name="T10" fmla="*/ 29 w 60"/>
                <a:gd name="T11" fmla="*/ 42 h 44"/>
                <a:gd name="T12" fmla="*/ 38 w 60"/>
                <a:gd name="T13" fmla="*/ 40 h 44"/>
                <a:gd name="T14" fmla="*/ 46 w 60"/>
                <a:gd name="T15" fmla="*/ 36 h 44"/>
                <a:gd name="T16" fmla="*/ 50 w 60"/>
                <a:gd name="T17" fmla="*/ 32 h 44"/>
                <a:gd name="T18" fmla="*/ 54 w 60"/>
                <a:gd name="T19" fmla="*/ 28 h 44"/>
                <a:gd name="T20" fmla="*/ 57 w 60"/>
                <a:gd name="T21" fmla="*/ 24 h 44"/>
                <a:gd name="T22" fmla="*/ 60 w 60"/>
                <a:gd name="T23" fmla="*/ 18 h 44"/>
                <a:gd name="T24" fmla="*/ 49 w 60"/>
                <a:gd name="T25" fmla="*/ 17 h 44"/>
                <a:gd name="T26" fmla="*/ 41 w 60"/>
                <a:gd name="T27" fmla="*/ 16 h 44"/>
                <a:gd name="T28" fmla="*/ 34 w 60"/>
                <a:gd name="T29" fmla="*/ 14 h 44"/>
                <a:gd name="T30" fmla="*/ 28 w 60"/>
                <a:gd name="T31" fmla="*/ 12 h 44"/>
                <a:gd name="T32" fmla="*/ 14 w 60"/>
                <a:gd name="T33" fmla="*/ 5 h 44"/>
                <a:gd name="T34" fmla="*/ 0 w 60"/>
                <a:gd name="T35" fmla="*/ 0 h 4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60"/>
                <a:gd name="T55" fmla="*/ 0 h 44"/>
                <a:gd name="T56" fmla="*/ 60 w 60"/>
                <a:gd name="T57" fmla="*/ 44 h 44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60" h="44">
                  <a:moveTo>
                    <a:pt x="0" y="0"/>
                  </a:moveTo>
                  <a:lnTo>
                    <a:pt x="0" y="36"/>
                  </a:lnTo>
                  <a:lnTo>
                    <a:pt x="5" y="40"/>
                  </a:lnTo>
                  <a:lnTo>
                    <a:pt x="12" y="42"/>
                  </a:lnTo>
                  <a:lnTo>
                    <a:pt x="21" y="44"/>
                  </a:lnTo>
                  <a:lnTo>
                    <a:pt x="29" y="42"/>
                  </a:lnTo>
                  <a:lnTo>
                    <a:pt x="38" y="40"/>
                  </a:lnTo>
                  <a:lnTo>
                    <a:pt x="46" y="36"/>
                  </a:lnTo>
                  <a:lnTo>
                    <a:pt x="50" y="32"/>
                  </a:lnTo>
                  <a:lnTo>
                    <a:pt x="54" y="28"/>
                  </a:lnTo>
                  <a:lnTo>
                    <a:pt x="57" y="24"/>
                  </a:lnTo>
                  <a:lnTo>
                    <a:pt x="60" y="18"/>
                  </a:lnTo>
                  <a:lnTo>
                    <a:pt x="49" y="17"/>
                  </a:lnTo>
                  <a:lnTo>
                    <a:pt x="41" y="16"/>
                  </a:lnTo>
                  <a:lnTo>
                    <a:pt x="34" y="14"/>
                  </a:lnTo>
                  <a:lnTo>
                    <a:pt x="28" y="12"/>
                  </a:lnTo>
                  <a:lnTo>
                    <a:pt x="14" y="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accent1">
                  <a:lumMod val="20000"/>
                  <a:lumOff val="8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95" b="0" i="0" u="none" strike="noStrike" kern="1200" cap="none" spc="0" normalizeH="0" baseline="0" noProof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8" name="Freeform 84"/>
            <p:cNvSpPr>
              <a:spLocks/>
            </p:cNvSpPr>
            <p:nvPr/>
          </p:nvSpPr>
          <p:spPr bwMode="auto">
            <a:xfrm>
              <a:off x="5239988" y="2227839"/>
              <a:ext cx="8725" cy="5659"/>
            </a:xfrm>
            <a:custGeom>
              <a:avLst/>
              <a:gdLst>
                <a:gd name="T0" fmla="*/ 66 w 120"/>
                <a:gd name="T1" fmla="*/ 0 h 77"/>
                <a:gd name="T2" fmla="*/ 64 w 120"/>
                <a:gd name="T3" fmla="*/ 5 h 77"/>
                <a:gd name="T4" fmla="*/ 62 w 120"/>
                <a:gd name="T5" fmla="*/ 9 h 77"/>
                <a:gd name="T6" fmla="*/ 58 w 120"/>
                <a:gd name="T7" fmla="*/ 13 h 77"/>
                <a:gd name="T8" fmla="*/ 54 w 120"/>
                <a:gd name="T9" fmla="*/ 16 h 77"/>
                <a:gd name="T10" fmla="*/ 43 w 120"/>
                <a:gd name="T11" fmla="*/ 22 h 77"/>
                <a:gd name="T12" fmla="*/ 31 w 120"/>
                <a:gd name="T13" fmla="*/ 26 h 77"/>
                <a:gd name="T14" fmla="*/ 19 w 120"/>
                <a:gd name="T15" fmla="*/ 32 h 77"/>
                <a:gd name="T16" fmla="*/ 10 w 120"/>
                <a:gd name="T17" fmla="*/ 37 h 77"/>
                <a:gd name="T18" fmla="*/ 6 w 120"/>
                <a:gd name="T19" fmla="*/ 40 h 77"/>
                <a:gd name="T20" fmla="*/ 3 w 120"/>
                <a:gd name="T21" fmla="*/ 44 h 77"/>
                <a:gd name="T22" fmla="*/ 0 w 120"/>
                <a:gd name="T23" fmla="*/ 48 h 77"/>
                <a:gd name="T24" fmla="*/ 0 w 120"/>
                <a:gd name="T25" fmla="*/ 53 h 77"/>
                <a:gd name="T26" fmla="*/ 0 w 120"/>
                <a:gd name="T27" fmla="*/ 60 h 77"/>
                <a:gd name="T28" fmla="*/ 3 w 120"/>
                <a:gd name="T29" fmla="*/ 65 h 77"/>
                <a:gd name="T30" fmla="*/ 7 w 120"/>
                <a:gd name="T31" fmla="*/ 69 h 77"/>
                <a:gd name="T32" fmla="*/ 11 w 120"/>
                <a:gd name="T33" fmla="*/ 72 h 77"/>
                <a:gd name="T34" fmla="*/ 15 w 120"/>
                <a:gd name="T35" fmla="*/ 74 h 77"/>
                <a:gd name="T36" fmla="*/ 20 w 120"/>
                <a:gd name="T37" fmla="*/ 77 h 77"/>
                <a:gd name="T38" fmla="*/ 26 w 120"/>
                <a:gd name="T39" fmla="*/ 77 h 77"/>
                <a:gd name="T40" fmla="*/ 30 w 120"/>
                <a:gd name="T41" fmla="*/ 77 h 77"/>
                <a:gd name="T42" fmla="*/ 39 w 120"/>
                <a:gd name="T43" fmla="*/ 76 h 77"/>
                <a:gd name="T44" fmla="*/ 52 w 120"/>
                <a:gd name="T45" fmla="*/ 72 h 77"/>
                <a:gd name="T46" fmla="*/ 67 w 120"/>
                <a:gd name="T47" fmla="*/ 65 h 77"/>
                <a:gd name="T48" fmla="*/ 82 w 120"/>
                <a:gd name="T49" fmla="*/ 57 h 77"/>
                <a:gd name="T50" fmla="*/ 96 w 120"/>
                <a:gd name="T51" fmla="*/ 49 h 77"/>
                <a:gd name="T52" fmla="*/ 108 w 120"/>
                <a:gd name="T53" fmla="*/ 40 h 77"/>
                <a:gd name="T54" fmla="*/ 114 w 120"/>
                <a:gd name="T55" fmla="*/ 36 h 77"/>
                <a:gd name="T56" fmla="*/ 118 w 120"/>
                <a:gd name="T57" fmla="*/ 30 h 77"/>
                <a:gd name="T58" fmla="*/ 120 w 120"/>
                <a:gd name="T59" fmla="*/ 26 h 77"/>
                <a:gd name="T60" fmla="*/ 120 w 120"/>
                <a:gd name="T61" fmla="*/ 24 h 77"/>
                <a:gd name="T62" fmla="*/ 119 w 120"/>
                <a:gd name="T63" fmla="*/ 18 h 77"/>
                <a:gd name="T64" fmla="*/ 115 w 120"/>
                <a:gd name="T65" fmla="*/ 14 h 77"/>
                <a:gd name="T66" fmla="*/ 108 w 120"/>
                <a:gd name="T67" fmla="*/ 10 h 77"/>
                <a:gd name="T68" fmla="*/ 100 w 120"/>
                <a:gd name="T69" fmla="*/ 6 h 77"/>
                <a:gd name="T70" fmla="*/ 91 w 120"/>
                <a:gd name="T71" fmla="*/ 4 h 77"/>
                <a:gd name="T72" fmla="*/ 83 w 120"/>
                <a:gd name="T73" fmla="*/ 1 h 77"/>
                <a:gd name="T74" fmla="*/ 74 w 120"/>
                <a:gd name="T75" fmla="*/ 0 h 77"/>
                <a:gd name="T76" fmla="*/ 66 w 120"/>
                <a:gd name="T77" fmla="*/ 0 h 77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120"/>
                <a:gd name="T118" fmla="*/ 0 h 77"/>
                <a:gd name="T119" fmla="*/ 120 w 120"/>
                <a:gd name="T120" fmla="*/ 77 h 77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120" h="77">
                  <a:moveTo>
                    <a:pt x="66" y="0"/>
                  </a:moveTo>
                  <a:lnTo>
                    <a:pt x="64" y="5"/>
                  </a:lnTo>
                  <a:lnTo>
                    <a:pt x="62" y="9"/>
                  </a:lnTo>
                  <a:lnTo>
                    <a:pt x="58" y="13"/>
                  </a:lnTo>
                  <a:lnTo>
                    <a:pt x="54" y="16"/>
                  </a:lnTo>
                  <a:lnTo>
                    <a:pt x="43" y="22"/>
                  </a:lnTo>
                  <a:lnTo>
                    <a:pt x="31" y="26"/>
                  </a:lnTo>
                  <a:lnTo>
                    <a:pt x="19" y="32"/>
                  </a:lnTo>
                  <a:lnTo>
                    <a:pt x="10" y="37"/>
                  </a:lnTo>
                  <a:lnTo>
                    <a:pt x="6" y="40"/>
                  </a:lnTo>
                  <a:lnTo>
                    <a:pt x="3" y="44"/>
                  </a:lnTo>
                  <a:lnTo>
                    <a:pt x="0" y="48"/>
                  </a:lnTo>
                  <a:lnTo>
                    <a:pt x="0" y="53"/>
                  </a:lnTo>
                  <a:lnTo>
                    <a:pt x="0" y="60"/>
                  </a:lnTo>
                  <a:lnTo>
                    <a:pt x="3" y="65"/>
                  </a:lnTo>
                  <a:lnTo>
                    <a:pt x="7" y="69"/>
                  </a:lnTo>
                  <a:lnTo>
                    <a:pt x="11" y="72"/>
                  </a:lnTo>
                  <a:lnTo>
                    <a:pt x="15" y="74"/>
                  </a:lnTo>
                  <a:lnTo>
                    <a:pt x="20" y="77"/>
                  </a:lnTo>
                  <a:lnTo>
                    <a:pt x="26" y="77"/>
                  </a:lnTo>
                  <a:lnTo>
                    <a:pt x="30" y="77"/>
                  </a:lnTo>
                  <a:lnTo>
                    <a:pt x="39" y="76"/>
                  </a:lnTo>
                  <a:lnTo>
                    <a:pt x="52" y="72"/>
                  </a:lnTo>
                  <a:lnTo>
                    <a:pt x="67" y="65"/>
                  </a:lnTo>
                  <a:lnTo>
                    <a:pt x="82" y="57"/>
                  </a:lnTo>
                  <a:lnTo>
                    <a:pt x="96" y="49"/>
                  </a:lnTo>
                  <a:lnTo>
                    <a:pt x="108" y="40"/>
                  </a:lnTo>
                  <a:lnTo>
                    <a:pt x="114" y="36"/>
                  </a:lnTo>
                  <a:lnTo>
                    <a:pt x="118" y="30"/>
                  </a:lnTo>
                  <a:lnTo>
                    <a:pt x="120" y="26"/>
                  </a:lnTo>
                  <a:lnTo>
                    <a:pt x="120" y="24"/>
                  </a:lnTo>
                  <a:lnTo>
                    <a:pt x="119" y="18"/>
                  </a:lnTo>
                  <a:lnTo>
                    <a:pt x="115" y="14"/>
                  </a:lnTo>
                  <a:lnTo>
                    <a:pt x="108" y="10"/>
                  </a:lnTo>
                  <a:lnTo>
                    <a:pt x="100" y="6"/>
                  </a:lnTo>
                  <a:lnTo>
                    <a:pt x="91" y="4"/>
                  </a:lnTo>
                  <a:lnTo>
                    <a:pt x="83" y="1"/>
                  </a:lnTo>
                  <a:lnTo>
                    <a:pt x="74" y="0"/>
                  </a:lnTo>
                  <a:lnTo>
                    <a:pt x="66" y="0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accent1">
                  <a:lumMod val="20000"/>
                  <a:lumOff val="8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95" b="0" i="0" u="none" strike="noStrike" kern="1200" cap="none" spc="0" normalizeH="0" baseline="0" noProof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9" name="Freeform 92"/>
            <p:cNvSpPr>
              <a:spLocks/>
            </p:cNvSpPr>
            <p:nvPr/>
          </p:nvSpPr>
          <p:spPr bwMode="auto">
            <a:xfrm>
              <a:off x="5251779" y="2220056"/>
              <a:ext cx="6131" cy="6839"/>
            </a:xfrm>
            <a:custGeom>
              <a:avLst/>
              <a:gdLst>
                <a:gd name="T0" fmla="*/ 72 w 84"/>
                <a:gd name="T1" fmla="*/ 42 h 97"/>
                <a:gd name="T2" fmla="*/ 67 w 84"/>
                <a:gd name="T3" fmla="*/ 41 h 97"/>
                <a:gd name="T4" fmla="*/ 63 w 84"/>
                <a:gd name="T5" fmla="*/ 38 h 97"/>
                <a:gd name="T6" fmla="*/ 60 w 84"/>
                <a:gd name="T7" fmla="*/ 34 h 97"/>
                <a:gd name="T8" fmla="*/ 59 w 84"/>
                <a:gd name="T9" fmla="*/ 27 h 97"/>
                <a:gd name="T10" fmla="*/ 59 w 84"/>
                <a:gd name="T11" fmla="*/ 14 h 97"/>
                <a:gd name="T12" fmla="*/ 60 w 84"/>
                <a:gd name="T13" fmla="*/ 0 h 97"/>
                <a:gd name="T14" fmla="*/ 52 w 84"/>
                <a:gd name="T15" fmla="*/ 3 h 97"/>
                <a:gd name="T16" fmla="*/ 43 w 84"/>
                <a:gd name="T17" fmla="*/ 7 h 97"/>
                <a:gd name="T18" fmla="*/ 33 w 84"/>
                <a:gd name="T19" fmla="*/ 13 h 97"/>
                <a:gd name="T20" fmla="*/ 23 w 84"/>
                <a:gd name="T21" fmla="*/ 21 h 97"/>
                <a:gd name="T22" fmla="*/ 13 w 84"/>
                <a:gd name="T23" fmla="*/ 27 h 97"/>
                <a:gd name="T24" fmla="*/ 7 w 84"/>
                <a:gd name="T25" fmla="*/ 37 h 97"/>
                <a:gd name="T26" fmla="*/ 4 w 84"/>
                <a:gd name="T27" fmla="*/ 41 h 97"/>
                <a:gd name="T28" fmla="*/ 1 w 84"/>
                <a:gd name="T29" fmla="*/ 45 h 97"/>
                <a:gd name="T30" fmla="*/ 0 w 84"/>
                <a:gd name="T31" fmla="*/ 50 h 97"/>
                <a:gd name="T32" fmla="*/ 0 w 84"/>
                <a:gd name="T33" fmla="*/ 54 h 97"/>
                <a:gd name="T34" fmla="*/ 0 w 84"/>
                <a:gd name="T35" fmla="*/ 61 h 97"/>
                <a:gd name="T36" fmla="*/ 1 w 84"/>
                <a:gd name="T37" fmla="*/ 66 h 97"/>
                <a:gd name="T38" fmla="*/ 4 w 84"/>
                <a:gd name="T39" fmla="*/ 71 h 97"/>
                <a:gd name="T40" fmla="*/ 8 w 84"/>
                <a:gd name="T41" fmla="*/ 75 h 97"/>
                <a:gd name="T42" fmla="*/ 12 w 84"/>
                <a:gd name="T43" fmla="*/ 79 h 97"/>
                <a:gd name="T44" fmla="*/ 17 w 84"/>
                <a:gd name="T45" fmla="*/ 83 h 97"/>
                <a:gd name="T46" fmla="*/ 23 w 84"/>
                <a:gd name="T47" fmla="*/ 86 h 97"/>
                <a:gd name="T48" fmla="*/ 28 w 84"/>
                <a:gd name="T49" fmla="*/ 89 h 97"/>
                <a:gd name="T50" fmla="*/ 41 w 84"/>
                <a:gd name="T51" fmla="*/ 93 h 97"/>
                <a:gd name="T52" fmla="*/ 56 w 84"/>
                <a:gd name="T53" fmla="*/ 95 h 97"/>
                <a:gd name="T54" fmla="*/ 71 w 84"/>
                <a:gd name="T55" fmla="*/ 95 h 97"/>
                <a:gd name="T56" fmla="*/ 84 w 84"/>
                <a:gd name="T57" fmla="*/ 97 h 97"/>
                <a:gd name="T58" fmla="*/ 84 w 84"/>
                <a:gd name="T59" fmla="*/ 61 h 97"/>
                <a:gd name="T60" fmla="*/ 79 w 84"/>
                <a:gd name="T61" fmla="*/ 51 h 97"/>
                <a:gd name="T62" fmla="*/ 72 w 84"/>
                <a:gd name="T63" fmla="*/ 42 h 97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84"/>
                <a:gd name="T97" fmla="*/ 0 h 97"/>
                <a:gd name="T98" fmla="*/ 84 w 84"/>
                <a:gd name="T99" fmla="*/ 97 h 97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84" h="97">
                  <a:moveTo>
                    <a:pt x="72" y="42"/>
                  </a:moveTo>
                  <a:lnTo>
                    <a:pt x="67" y="41"/>
                  </a:lnTo>
                  <a:lnTo>
                    <a:pt x="63" y="38"/>
                  </a:lnTo>
                  <a:lnTo>
                    <a:pt x="60" y="34"/>
                  </a:lnTo>
                  <a:lnTo>
                    <a:pt x="59" y="27"/>
                  </a:lnTo>
                  <a:lnTo>
                    <a:pt x="59" y="14"/>
                  </a:lnTo>
                  <a:lnTo>
                    <a:pt x="60" y="0"/>
                  </a:lnTo>
                  <a:lnTo>
                    <a:pt x="52" y="3"/>
                  </a:lnTo>
                  <a:lnTo>
                    <a:pt x="43" y="7"/>
                  </a:lnTo>
                  <a:lnTo>
                    <a:pt x="33" y="13"/>
                  </a:lnTo>
                  <a:lnTo>
                    <a:pt x="23" y="21"/>
                  </a:lnTo>
                  <a:lnTo>
                    <a:pt x="13" y="27"/>
                  </a:lnTo>
                  <a:lnTo>
                    <a:pt x="7" y="37"/>
                  </a:lnTo>
                  <a:lnTo>
                    <a:pt x="4" y="41"/>
                  </a:lnTo>
                  <a:lnTo>
                    <a:pt x="1" y="45"/>
                  </a:lnTo>
                  <a:lnTo>
                    <a:pt x="0" y="50"/>
                  </a:lnTo>
                  <a:lnTo>
                    <a:pt x="0" y="54"/>
                  </a:lnTo>
                  <a:lnTo>
                    <a:pt x="0" y="61"/>
                  </a:lnTo>
                  <a:lnTo>
                    <a:pt x="1" y="66"/>
                  </a:lnTo>
                  <a:lnTo>
                    <a:pt x="4" y="71"/>
                  </a:lnTo>
                  <a:lnTo>
                    <a:pt x="8" y="75"/>
                  </a:lnTo>
                  <a:lnTo>
                    <a:pt x="12" y="79"/>
                  </a:lnTo>
                  <a:lnTo>
                    <a:pt x="17" y="83"/>
                  </a:lnTo>
                  <a:lnTo>
                    <a:pt x="23" y="86"/>
                  </a:lnTo>
                  <a:lnTo>
                    <a:pt x="28" y="89"/>
                  </a:lnTo>
                  <a:lnTo>
                    <a:pt x="41" y="93"/>
                  </a:lnTo>
                  <a:lnTo>
                    <a:pt x="56" y="95"/>
                  </a:lnTo>
                  <a:lnTo>
                    <a:pt x="71" y="95"/>
                  </a:lnTo>
                  <a:lnTo>
                    <a:pt x="84" y="97"/>
                  </a:lnTo>
                  <a:lnTo>
                    <a:pt x="84" y="61"/>
                  </a:lnTo>
                  <a:lnTo>
                    <a:pt x="79" y="51"/>
                  </a:lnTo>
                  <a:lnTo>
                    <a:pt x="72" y="42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accent1">
                  <a:lumMod val="20000"/>
                  <a:lumOff val="8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95" b="0" i="0" u="none" strike="noStrike" kern="1200" cap="none" spc="0" normalizeH="0" baseline="0" noProof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0" name="Freeform 5"/>
            <p:cNvSpPr>
              <a:spLocks/>
            </p:cNvSpPr>
            <p:nvPr/>
          </p:nvSpPr>
          <p:spPr bwMode="auto">
            <a:xfrm>
              <a:off x="5313798" y="2061354"/>
              <a:ext cx="4952" cy="4009"/>
            </a:xfrm>
            <a:custGeom>
              <a:avLst/>
              <a:gdLst>
                <a:gd name="T0" fmla="*/ 36 w 67"/>
                <a:gd name="T1" fmla="*/ 0 h 53"/>
                <a:gd name="T2" fmla="*/ 23 w 67"/>
                <a:gd name="T3" fmla="*/ 0 h 53"/>
                <a:gd name="T4" fmla="*/ 11 w 67"/>
                <a:gd name="T5" fmla="*/ 1 h 53"/>
                <a:gd name="T6" fmla="*/ 7 w 67"/>
                <a:gd name="T7" fmla="*/ 4 h 53"/>
                <a:gd name="T8" fmla="*/ 3 w 67"/>
                <a:gd name="T9" fmla="*/ 6 h 53"/>
                <a:gd name="T10" fmla="*/ 0 w 67"/>
                <a:gd name="T11" fmla="*/ 12 h 53"/>
                <a:gd name="T12" fmla="*/ 0 w 67"/>
                <a:gd name="T13" fmla="*/ 17 h 53"/>
                <a:gd name="T14" fmla="*/ 0 w 67"/>
                <a:gd name="T15" fmla="*/ 26 h 53"/>
                <a:gd name="T16" fmla="*/ 3 w 67"/>
                <a:gd name="T17" fmla="*/ 33 h 53"/>
                <a:gd name="T18" fmla="*/ 5 w 67"/>
                <a:gd name="T19" fmla="*/ 40 h 53"/>
                <a:gd name="T20" fmla="*/ 9 w 67"/>
                <a:gd name="T21" fmla="*/ 45 h 53"/>
                <a:gd name="T22" fmla="*/ 13 w 67"/>
                <a:gd name="T23" fmla="*/ 49 h 53"/>
                <a:gd name="T24" fmla="*/ 20 w 67"/>
                <a:gd name="T25" fmla="*/ 52 h 53"/>
                <a:gd name="T26" fmla="*/ 28 w 67"/>
                <a:gd name="T27" fmla="*/ 53 h 53"/>
                <a:gd name="T28" fmla="*/ 36 w 67"/>
                <a:gd name="T29" fmla="*/ 53 h 53"/>
                <a:gd name="T30" fmla="*/ 41 w 67"/>
                <a:gd name="T31" fmla="*/ 53 h 53"/>
                <a:gd name="T32" fmla="*/ 47 w 67"/>
                <a:gd name="T33" fmla="*/ 50 h 53"/>
                <a:gd name="T34" fmla="*/ 51 w 67"/>
                <a:gd name="T35" fmla="*/ 48 h 53"/>
                <a:gd name="T36" fmla="*/ 53 w 67"/>
                <a:gd name="T37" fmla="*/ 44 h 53"/>
                <a:gd name="T38" fmla="*/ 59 w 67"/>
                <a:gd name="T39" fmla="*/ 36 h 53"/>
                <a:gd name="T40" fmla="*/ 67 w 67"/>
                <a:gd name="T41" fmla="*/ 29 h 53"/>
                <a:gd name="T42" fmla="*/ 47 w 67"/>
                <a:gd name="T43" fmla="*/ 10 h 53"/>
                <a:gd name="T44" fmla="*/ 36 w 67"/>
                <a:gd name="T45" fmla="*/ 0 h 53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67"/>
                <a:gd name="T70" fmla="*/ 0 h 53"/>
                <a:gd name="T71" fmla="*/ 67 w 67"/>
                <a:gd name="T72" fmla="*/ 53 h 53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67" h="53">
                  <a:moveTo>
                    <a:pt x="36" y="0"/>
                  </a:moveTo>
                  <a:lnTo>
                    <a:pt x="23" y="0"/>
                  </a:lnTo>
                  <a:lnTo>
                    <a:pt x="11" y="1"/>
                  </a:lnTo>
                  <a:lnTo>
                    <a:pt x="7" y="4"/>
                  </a:lnTo>
                  <a:lnTo>
                    <a:pt x="3" y="6"/>
                  </a:lnTo>
                  <a:lnTo>
                    <a:pt x="0" y="12"/>
                  </a:lnTo>
                  <a:lnTo>
                    <a:pt x="0" y="17"/>
                  </a:lnTo>
                  <a:lnTo>
                    <a:pt x="0" y="26"/>
                  </a:lnTo>
                  <a:lnTo>
                    <a:pt x="3" y="33"/>
                  </a:lnTo>
                  <a:lnTo>
                    <a:pt x="5" y="40"/>
                  </a:lnTo>
                  <a:lnTo>
                    <a:pt x="9" y="45"/>
                  </a:lnTo>
                  <a:lnTo>
                    <a:pt x="13" y="49"/>
                  </a:lnTo>
                  <a:lnTo>
                    <a:pt x="20" y="52"/>
                  </a:lnTo>
                  <a:lnTo>
                    <a:pt x="28" y="53"/>
                  </a:lnTo>
                  <a:lnTo>
                    <a:pt x="36" y="53"/>
                  </a:lnTo>
                  <a:lnTo>
                    <a:pt x="41" y="53"/>
                  </a:lnTo>
                  <a:lnTo>
                    <a:pt x="47" y="50"/>
                  </a:lnTo>
                  <a:lnTo>
                    <a:pt x="51" y="48"/>
                  </a:lnTo>
                  <a:lnTo>
                    <a:pt x="53" y="44"/>
                  </a:lnTo>
                  <a:lnTo>
                    <a:pt x="59" y="36"/>
                  </a:lnTo>
                  <a:lnTo>
                    <a:pt x="67" y="29"/>
                  </a:lnTo>
                  <a:lnTo>
                    <a:pt x="47" y="10"/>
                  </a:lnTo>
                  <a:lnTo>
                    <a:pt x="36" y="0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accent1">
                  <a:lumMod val="20000"/>
                  <a:lumOff val="8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95" b="0" i="0" u="none" strike="noStrike" kern="1200" cap="none" spc="0" normalizeH="0" baseline="0" noProof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1" name="Freeform 6"/>
            <p:cNvSpPr>
              <a:spLocks/>
            </p:cNvSpPr>
            <p:nvPr/>
          </p:nvSpPr>
          <p:spPr bwMode="auto">
            <a:xfrm>
              <a:off x="5317807" y="2085407"/>
              <a:ext cx="8961" cy="8489"/>
            </a:xfrm>
            <a:custGeom>
              <a:avLst/>
              <a:gdLst>
                <a:gd name="T0" fmla="*/ 34 w 123"/>
                <a:gd name="T1" fmla="*/ 0 h 115"/>
                <a:gd name="T2" fmla="*/ 26 w 123"/>
                <a:gd name="T3" fmla="*/ 0 h 115"/>
                <a:gd name="T4" fmla="*/ 20 w 123"/>
                <a:gd name="T5" fmla="*/ 1 h 115"/>
                <a:gd name="T6" fmla="*/ 16 w 123"/>
                <a:gd name="T7" fmla="*/ 4 h 115"/>
                <a:gd name="T8" fmla="*/ 14 w 123"/>
                <a:gd name="T9" fmla="*/ 5 h 115"/>
                <a:gd name="T10" fmla="*/ 11 w 123"/>
                <a:gd name="T11" fmla="*/ 8 h 115"/>
                <a:gd name="T12" fmla="*/ 10 w 123"/>
                <a:gd name="T13" fmla="*/ 9 h 115"/>
                <a:gd name="T14" fmla="*/ 7 w 123"/>
                <a:gd name="T15" fmla="*/ 11 h 115"/>
                <a:gd name="T16" fmla="*/ 3 w 123"/>
                <a:gd name="T17" fmla="*/ 12 h 115"/>
                <a:gd name="T18" fmla="*/ 0 w 123"/>
                <a:gd name="T19" fmla="*/ 23 h 115"/>
                <a:gd name="T20" fmla="*/ 0 w 123"/>
                <a:gd name="T21" fmla="*/ 32 h 115"/>
                <a:gd name="T22" fmla="*/ 2 w 123"/>
                <a:gd name="T23" fmla="*/ 40 h 115"/>
                <a:gd name="T24" fmla="*/ 3 w 123"/>
                <a:gd name="T25" fmla="*/ 48 h 115"/>
                <a:gd name="T26" fmla="*/ 4 w 123"/>
                <a:gd name="T27" fmla="*/ 55 h 115"/>
                <a:gd name="T28" fmla="*/ 7 w 123"/>
                <a:gd name="T29" fmla="*/ 63 h 115"/>
                <a:gd name="T30" fmla="*/ 11 w 123"/>
                <a:gd name="T31" fmla="*/ 69 h 115"/>
                <a:gd name="T32" fmla="*/ 16 w 123"/>
                <a:gd name="T33" fmla="*/ 76 h 115"/>
                <a:gd name="T34" fmla="*/ 24 w 123"/>
                <a:gd name="T35" fmla="*/ 81 h 115"/>
                <a:gd name="T36" fmla="*/ 34 w 123"/>
                <a:gd name="T37" fmla="*/ 85 h 115"/>
                <a:gd name="T38" fmla="*/ 44 w 123"/>
                <a:gd name="T39" fmla="*/ 89 h 115"/>
                <a:gd name="T40" fmla="*/ 58 w 123"/>
                <a:gd name="T41" fmla="*/ 91 h 115"/>
                <a:gd name="T42" fmla="*/ 58 w 123"/>
                <a:gd name="T43" fmla="*/ 96 h 115"/>
                <a:gd name="T44" fmla="*/ 59 w 123"/>
                <a:gd name="T45" fmla="*/ 101 h 115"/>
                <a:gd name="T46" fmla="*/ 62 w 123"/>
                <a:gd name="T47" fmla="*/ 105 h 115"/>
                <a:gd name="T48" fmla="*/ 64 w 123"/>
                <a:gd name="T49" fmla="*/ 109 h 115"/>
                <a:gd name="T50" fmla="*/ 68 w 123"/>
                <a:gd name="T51" fmla="*/ 111 h 115"/>
                <a:gd name="T52" fmla="*/ 72 w 123"/>
                <a:gd name="T53" fmla="*/ 113 h 115"/>
                <a:gd name="T54" fmla="*/ 76 w 123"/>
                <a:gd name="T55" fmla="*/ 113 h 115"/>
                <a:gd name="T56" fmla="*/ 82 w 123"/>
                <a:gd name="T57" fmla="*/ 115 h 115"/>
                <a:gd name="T58" fmla="*/ 87 w 123"/>
                <a:gd name="T59" fmla="*/ 112 h 115"/>
                <a:gd name="T60" fmla="*/ 94 w 123"/>
                <a:gd name="T61" fmla="*/ 105 h 115"/>
                <a:gd name="T62" fmla="*/ 100 w 123"/>
                <a:gd name="T63" fmla="*/ 95 h 115"/>
                <a:gd name="T64" fmla="*/ 107 w 123"/>
                <a:gd name="T65" fmla="*/ 84 h 115"/>
                <a:gd name="T66" fmla="*/ 119 w 123"/>
                <a:gd name="T67" fmla="*/ 63 h 115"/>
                <a:gd name="T68" fmla="*/ 123 w 123"/>
                <a:gd name="T69" fmla="*/ 53 h 115"/>
                <a:gd name="T70" fmla="*/ 123 w 123"/>
                <a:gd name="T71" fmla="*/ 48 h 115"/>
                <a:gd name="T72" fmla="*/ 120 w 123"/>
                <a:gd name="T73" fmla="*/ 41 h 115"/>
                <a:gd name="T74" fmla="*/ 118 w 123"/>
                <a:gd name="T75" fmla="*/ 36 h 115"/>
                <a:gd name="T76" fmla="*/ 112 w 123"/>
                <a:gd name="T77" fmla="*/ 31 h 115"/>
                <a:gd name="T78" fmla="*/ 107 w 123"/>
                <a:gd name="T79" fmla="*/ 25 h 115"/>
                <a:gd name="T80" fmla="*/ 102 w 123"/>
                <a:gd name="T81" fmla="*/ 21 h 115"/>
                <a:gd name="T82" fmla="*/ 95 w 123"/>
                <a:gd name="T83" fmla="*/ 17 h 115"/>
                <a:gd name="T84" fmla="*/ 87 w 123"/>
                <a:gd name="T85" fmla="*/ 13 h 115"/>
                <a:gd name="T86" fmla="*/ 72 w 123"/>
                <a:gd name="T87" fmla="*/ 7 h 115"/>
                <a:gd name="T88" fmla="*/ 58 w 123"/>
                <a:gd name="T89" fmla="*/ 3 h 115"/>
                <a:gd name="T90" fmla="*/ 44 w 123"/>
                <a:gd name="T91" fmla="*/ 0 h 115"/>
                <a:gd name="T92" fmla="*/ 34 w 123"/>
                <a:gd name="T93" fmla="*/ 0 h 115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123"/>
                <a:gd name="T142" fmla="*/ 0 h 115"/>
                <a:gd name="T143" fmla="*/ 123 w 123"/>
                <a:gd name="T144" fmla="*/ 115 h 115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123" h="115">
                  <a:moveTo>
                    <a:pt x="34" y="0"/>
                  </a:moveTo>
                  <a:lnTo>
                    <a:pt x="26" y="0"/>
                  </a:lnTo>
                  <a:lnTo>
                    <a:pt x="20" y="1"/>
                  </a:lnTo>
                  <a:lnTo>
                    <a:pt x="16" y="4"/>
                  </a:lnTo>
                  <a:lnTo>
                    <a:pt x="14" y="5"/>
                  </a:lnTo>
                  <a:lnTo>
                    <a:pt x="11" y="8"/>
                  </a:lnTo>
                  <a:lnTo>
                    <a:pt x="10" y="9"/>
                  </a:lnTo>
                  <a:lnTo>
                    <a:pt x="7" y="11"/>
                  </a:lnTo>
                  <a:lnTo>
                    <a:pt x="3" y="12"/>
                  </a:lnTo>
                  <a:lnTo>
                    <a:pt x="0" y="23"/>
                  </a:lnTo>
                  <a:lnTo>
                    <a:pt x="0" y="32"/>
                  </a:lnTo>
                  <a:lnTo>
                    <a:pt x="2" y="40"/>
                  </a:lnTo>
                  <a:lnTo>
                    <a:pt x="3" y="48"/>
                  </a:lnTo>
                  <a:lnTo>
                    <a:pt x="4" y="55"/>
                  </a:lnTo>
                  <a:lnTo>
                    <a:pt x="7" y="63"/>
                  </a:lnTo>
                  <a:lnTo>
                    <a:pt x="11" y="69"/>
                  </a:lnTo>
                  <a:lnTo>
                    <a:pt x="16" y="76"/>
                  </a:lnTo>
                  <a:lnTo>
                    <a:pt x="24" y="81"/>
                  </a:lnTo>
                  <a:lnTo>
                    <a:pt x="34" y="85"/>
                  </a:lnTo>
                  <a:lnTo>
                    <a:pt x="44" y="89"/>
                  </a:lnTo>
                  <a:lnTo>
                    <a:pt x="58" y="91"/>
                  </a:lnTo>
                  <a:lnTo>
                    <a:pt x="58" y="96"/>
                  </a:lnTo>
                  <a:lnTo>
                    <a:pt x="59" y="101"/>
                  </a:lnTo>
                  <a:lnTo>
                    <a:pt x="62" y="105"/>
                  </a:lnTo>
                  <a:lnTo>
                    <a:pt x="64" y="109"/>
                  </a:lnTo>
                  <a:lnTo>
                    <a:pt x="68" y="111"/>
                  </a:lnTo>
                  <a:lnTo>
                    <a:pt x="72" y="113"/>
                  </a:lnTo>
                  <a:lnTo>
                    <a:pt x="76" y="113"/>
                  </a:lnTo>
                  <a:lnTo>
                    <a:pt x="82" y="115"/>
                  </a:lnTo>
                  <a:lnTo>
                    <a:pt x="87" y="112"/>
                  </a:lnTo>
                  <a:lnTo>
                    <a:pt x="94" y="105"/>
                  </a:lnTo>
                  <a:lnTo>
                    <a:pt x="100" y="95"/>
                  </a:lnTo>
                  <a:lnTo>
                    <a:pt x="107" y="84"/>
                  </a:lnTo>
                  <a:lnTo>
                    <a:pt x="119" y="63"/>
                  </a:lnTo>
                  <a:lnTo>
                    <a:pt x="123" y="53"/>
                  </a:lnTo>
                  <a:lnTo>
                    <a:pt x="123" y="48"/>
                  </a:lnTo>
                  <a:lnTo>
                    <a:pt x="120" y="41"/>
                  </a:lnTo>
                  <a:lnTo>
                    <a:pt x="118" y="36"/>
                  </a:lnTo>
                  <a:lnTo>
                    <a:pt x="112" y="31"/>
                  </a:lnTo>
                  <a:lnTo>
                    <a:pt x="107" y="25"/>
                  </a:lnTo>
                  <a:lnTo>
                    <a:pt x="102" y="21"/>
                  </a:lnTo>
                  <a:lnTo>
                    <a:pt x="95" y="17"/>
                  </a:lnTo>
                  <a:lnTo>
                    <a:pt x="87" y="13"/>
                  </a:lnTo>
                  <a:lnTo>
                    <a:pt x="72" y="7"/>
                  </a:lnTo>
                  <a:lnTo>
                    <a:pt x="58" y="3"/>
                  </a:lnTo>
                  <a:lnTo>
                    <a:pt x="44" y="0"/>
                  </a:lnTo>
                  <a:lnTo>
                    <a:pt x="34" y="0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accent1">
                  <a:lumMod val="20000"/>
                  <a:lumOff val="8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95" b="0" i="0" u="none" strike="noStrike" kern="1200" cap="none" spc="0" normalizeH="0" baseline="0" noProof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2" name="Freeform 7"/>
            <p:cNvSpPr>
              <a:spLocks/>
            </p:cNvSpPr>
            <p:nvPr/>
          </p:nvSpPr>
          <p:spPr bwMode="auto">
            <a:xfrm>
              <a:off x="5318751" y="2060174"/>
              <a:ext cx="20752" cy="26176"/>
            </a:xfrm>
            <a:custGeom>
              <a:avLst/>
              <a:gdLst>
                <a:gd name="T0" fmla="*/ 231 w 287"/>
                <a:gd name="T1" fmla="*/ 87 h 368"/>
                <a:gd name="T2" fmla="*/ 217 w 287"/>
                <a:gd name="T3" fmla="*/ 63 h 368"/>
                <a:gd name="T4" fmla="*/ 193 w 287"/>
                <a:gd name="T5" fmla="*/ 15 h 368"/>
                <a:gd name="T6" fmla="*/ 180 w 287"/>
                <a:gd name="T7" fmla="*/ 1 h 368"/>
                <a:gd name="T8" fmla="*/ 164 w 287"/>
                <a:gd name="T9" fmla="*/ 3 h 368"/>
                <a:gd name="T10" fmla="*/ 156 w 287"/>
                <a:gd name="T11" fmla="*/ 19 h 368"/>
                <a:gd name="T12" fmla="*/ 137 w 287"/>
                <a:gd name="T13" fmla="*/ 40 h 368"/>
                <a:gd name="T14" fmla="*/ 105 w 287"/>
                <a:gd name="T15" fmla="*/ 61 h 368"/>
                <a:gd name="T16" fmla="*/ 73 w 287"/>
                <a:gd name="T17" fmla="*/ 79 h 368"/>
                <a:gd name="T18" fmla="*/ 52 w 287"/>
                <a:gd name="T19" fmla="*/ 101 h 368"/>
                <a:gd name="T20" fmla="*/ 48 w 287"/>
                <a:gd name="T21" fmla="*/ 115 h 368"/>
                <a:gd name="T22" fmla="*/ 57 w 287"/>
                <a:gd name="T23" fmla="*/ 136 h 368"/>
                <a:gd name="T24" fmla="*/ 73 w 287"/>
                <a:gd name="T25" fmla="*/ 148 h 368"/>
                <a:gd name="T26" fmla="*/ 76 w 287"/>
                <a:gd name="T27" fmla="*/ 168 h 368"/>
                <a:gd name="T28" fmla="*/ 61 w 287"/>
                <a:gd name="T29" fmla="*/ 204 h 368"/>
                <a:gd name="T30" fmla="*/ 40 w 287"/>
                <a:gd name="T31" fmla="*/ 225 h 368"/>
                <a:gd name="T32" fmla="*/ 24 w 287"/>
                <a:gd name="T33" fmla="*/ 229 h 368"/>
                <a:gd name="T34" fmla="*/ 14 w 287"/>
                <a:gd name="T35" fmla="*/ 257 h 368"/>
                <a:gd name="T36" fmla="*/ 0 w 287"/>
                <a:gd name="T37" fmla="*/ 271 h 368"/>
                <a:gd name="T38" fmla="*/ 2 w 287"/>
                <a:gd name="T39" fmla="*/ 283 h 368"/>
                <a:gd name="T40" fmla="*/ 18 w 287"/>
                <a:gd name="T41" fmla="*/ 293 h 368"/>
                <a:gd name="T42" fmla="*/ 56 w 287"/>
                <a:gd name="T43" fmla="*/ 309 h 368"/>
                <a:gd name="T44" fmla="*/ 73 w 287"/>
                <a:gd name="T45" fmla="*/ 341 h 368"/>
                <a:gd name="T46" fmla="*/ 90 w 287"/>
                <a:gd name="T47" fmla="*/ 363 h 368"/>
                <a:gd name="T48" fmla="*/ 108 w 287"/>
                <a:gd name="T49" fmla="*/ 368 h 368"/>
                <a:gd name="T50" fmla="*/ 130 w 287"/>
                <a:gd name="T51" fmla="*/ 364 h 368"/>
                <a:gd name="T52" fmla="*/ 157 w 287"/>
                <a:gd name="T53" fmla="*/ 345 h 368"/>
                <a:gd name="T54" fmla="*/ 180 w 287"/>
                <a:gd name="T55" fmla="*/ 323 h 368"/>
                <a:gd name="T56" fmla="*/ 198 w 287"/>
                <a:gd name="T57" fmla="*/ 313 h 368"/>
                <a:gd name="T58" fmla="*/ 259 w 287"/>
                <a:gd name="T59" fmla="*/ 297 h 368"/>
                <a:gd name="T60" fmla="*/ 277 w 287"/>
                <a:gd name="T61" fmla="*/ 287 h 368"/>
                <a:gd name="T62" fmla="*/ 287 w 287"/>
                <a:gd name="T63" fmla="*/ 272 h 368"/>
                <a:gd name="T64" fmla="*/ 286 w 287"/>
                <a:gd name="T65" fmla="*/ 257 h 368"/>
                <a:gd name="T66" fmla="*/ 274 w 287"/>
                <a:gd name="T67" fmla="*/ 244 h 368"/>
                <a:gd name="T68" fmla="*/ 253 w 287"/>
                <a:gd name="T69" fmla="*/ 224 h 368"/>
                <a:gd name="T70" fmla="*/ 246 w 287"/>
                <a:gd name="T71" fmla="*/ 211 h 368"/>
                <a:gd name="T72" fmla="*/ 247 w 287"/>
                <a:gd name="T73" fmla="*/ 197 h 368"/>
                <a:gd name="T74" fmla="*/ 259 w 287"/>
                <a:gd name="T75" fmla="*/ 183 h 368"/>
                <a:gd name="T76" fmla="*/ 281 w 287"/>
                <a:gd name="T77" fmla="*/ 161 h 368"/>
                <a:gd name="T78" fmla="*/ 287 w 287"/>
                <a:gd name="T79" fmla="*/ 145 h 368"/>
                <a:gd name="T80" fmla="*/ 283 w 287"/>
                <a:gd name="T81" fmla="*/ 119 h 368"/>
                <a:gd name="T82" fmla="*/ 266 w 287"/>
                <a:gd name="T83" fmla="*/ 97 h 368"/>
                <a:gd name="T84" fmla="*/ 239 w 287"/>
                <a:gd name="T85" fmla="*/ 91 h 368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287"/>
                <a:gd name="T130" fmla="*/ 0 h 368"/>
                <a:gd name="T131" fmla="*/ 287 w 287"/>
                <a:gd name="T132" fmla="*/ 368 h 368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287" h="368">
                  <a:moveTo>
                    <a:pt x="239" y="91"/>
                  </a:moveTo>
                  <a:lnTo>
                    <a:pt x="235" y="89"/>
                  </a:lnTo>
                  <a:lnTo>
                    <a:pt x="231" y="87"/>
                  </a:lnTo>
                  <a:lnTo>
                    <a:pt x="228" y="83"/>
                  </a:lnTo>
                  <a:lnTo>
                    <a:pt x="224" y="76"/>
                  </a:lnTo>
                  <a:lnTo>
                    <a:pt x="217" y="63"/>
                  </a:lnTo>
                  <a:lnTo>
                    <a:pt x="209" y="45"/>
                  </a:lnTo>
                  <a:lnTo>
                    <a:pt x="201" y="29"/>
                  </a:lnTo>
                  <a:lnTo>
                    <a:pt x="193" y="15"/>
                  </a:lnTo>
                  <a:lnTo>
                    <a:pt x="189" y="8"/>
                  </a:lnTo>
                  <a:lnTo>
                    <a:pt x="184" y="4"/>
                  </a:lnTo>
                  <a:lnTo>
                    <a:pt x="180" y="1"/>
                  </a:lnTo>
                  <a:lnTo>
                    <a:pt x="174" y="0"/>
                  </a:lnTo>
                  <a:lnTo>
                    <a:pt x="168" y="1"/>
                  </a:lnTo>
                  <a:lnTo>
                    <a:pt x="164" y="3"/>
                  </a:lnTo>
                  <a:lnTo>
                    <a:pt x="160" y="7"/>
                  </a:lnTo>
                  <a:lnTo>
                    <a:pt x="158" y="11"/>
                  </a:lnTo>
                  <a:lnTo>
                    <a:pt x="156" y="19"/>
                  </a:lnTo>
                  <a:lnTo>
                    <a:pt x="156" y="24"/>
                  </a:lnTo>
                  <a:lnTo>
                    <a:pt x="150" y="29"/>
                  </a:lnTo>
                  <a:lnTo>
                    <a:pt x="137" y="40"/>
                  </a:lnTo>
                  <a:lnTo>
                    <a:pt x="122" y="52"/>
                  </a:lnTo>
                  <a:lnTo>
                    <a:pt x="113" y="60"/>
                  </a:lnTo>
                  <a:lnTo>
                    <a:pt x="105" y="61"/>
                  </a:lnTo>
                  <a:lnTo>
                    <a:pt x="96" y="65"/>
                  </a:lnTo>
                  <a:lnTo>
                    <a:pt x="85" y="71"/>
                  </a:lnTo>
                  <a:lnTo>
                    <a:pt x="73" y="79"/>
                  </a:lnTo>
                  <a:lnTo>
                    <a:pt x="64" y="87"/>
                  </a:lnTo>
                  <a:lnTo>
                    <a:pt x="56" y="96"/>
                  </a:lnTo>
                  <a:lnTo>
                    <a:pt x="52" y="101"/>
                  </a:lnTo>
                  <a:lnTo>
                    <a:pt x="49" y="105"/>
                  </a:lnTo>
                  <a:lnTo>
                    <a:pt x="48" y="111"/>
                  </a:lnTo>
                  <a:lnTo>
                    <a:pt x="48" y="115"/>
                  </a:lnTo>
                  <a:lnTo>
                    <a:pt x="49" y="123"/>
                  </a:lnTo>
                  <a:lnTo>
                    <a:pt x="52" y="129"/>
                  </a:lnTo>
                  <a:lnTo>
                    <a:pt x="57" y="136"/>
                  </a:lnTo>
                  <a:lnTo>
                    <a:pt x="62" y="140"/>
                  </a:lnTo>
                  <a:lnTo>
                    <a:pt x="68" y="144"/>
                  </a:lnTo>
                  <a:lnTo>
                    <a:pt x="73" y="148"/>
                  </a:lnTo>
                  <a:lnTo>
                    <a:pt x="76" y="152"/>
                  </a:lnTo>
                  <a:lnTo>
                    <a:pt x="77" y="157"/>
                  </a:lnTo>
                  <a:lnTo>
                    <a:pt x="76" y="168"/>
                  </a:lnTo>
                  <a:lnTo>
                    <a:pt x="73" y="181"/>
                  </a:lnTo>
                  <a:lnTo>
                    <a:pt x="68" y="193"/>
                  </a:lnTo>
                  <a:lnTo>
                    <a:pt x="61" y="204"/>
                  </a:lnTo>
                  <a:lnTo>
                    <a:pt x="53" y="215"/>
                  </a:lnTo>
                  <a:lnTo>
                    <a:pt x="45" y="223"/>
                  </a:lnTo>
                  <a:lnTo>
                    <a:pt x="40" y="225"/>
                  </a:lnTo>
                  <a:lnTo>
                    <a:pt x="34" y="227"/>
                  </a:lnTo>
                  <a:lnTo>
                    <a:pt x="29" y="229"/>
                  </a:lnTo>
                  <a:lnTo>
                    <a:pt x="24" y="229"/>
                  </a:lnTo>
                  <a:lnTo>
                    <a:pt x="24" y="244"/>
                  </a:lnTo>
                  <a:lnTo>
                    <a:pt x="24" y="253"/>
                  </a:lnTo>
                  <a:lnTo>
                    <a:pt x="14" y="257"/>
                  </a:lnTo>
                  <a:lnTo>
                    <a:pt x="6" y="263"/>
                  </a:lnTo>
                  <a:lnTo>
                    <a:pt x="1" y="267"/>
                  </a:lnTo>
                  <a:lnTo>
                    <a:pt x="0" y="271"/>
                  </a:lnTo>
                  <a:lnTo>
                    <a:pt x="0" y="276"/>
                  </a:lnTo>
                  <a:lnTo>
                    <a:pt x="1" y="279"/>
                  </a:lnTo>
                  <a:lnTo>
                    <a:pt x="2" y="283"/>
                  </a:lnTo>
                  <a:lnTo>
                    <a:pt x="5" y="285"/>
                  </a:lnTo>
                  <a:lnTo>
                    <a:pt x="12" y="289"/>
                  </a:lnTo>
                  <a:lnTo>
                    <a:pt x="18" y="293"/>
                  </a:lnTo>
                  <a:lnTo>
                    <a:pt x="34" y="297"/>
                  </a:lnTo>
                  <a:lnTo>
                    <a:pt x="48" y="301"/>
                  </a:lnTo>
                  <a:lnTo>
                    <a:pt x="56" y="309"/>
                  </a:lnTo>
                  <a:lnTo>
                    <a:pt x="62" y="320"/>
                  </a:lnTo>
                  <a:lnTo>
                    <a:pt x="68" y="331"/>
                  </a:lnTo>
                  <a:lnTo>
                    <a:pt x="73" y="341"/>
                  </a:lnTo>
                  <a:lnTo>
                    <a:pt x="78" y="352"/>
                  </a:lnTo>
                  <a:lnTo>
                    <a:pt x="86" y="360"/>
                  </a:lnTo>
                  <a:lnTo>
                    <a:pt x="90" y="363"/>
                  </a:lnTo>
                  <a:lnTo>
                    <a:pt x="96" y="365"/>
                  </a:lnTo>
                  <a:lnTo>
                    <a:pt x="101" y="367"/>
                  </a:lnTo>
                  <a:lnTo>
                    <a:pt x="108" y="368"/>
                  </a:lnTo>
                  <a:lnTo>
                    <a:pt x="116" y="367"/>
                  </a:lnTo>
                  <a:lnTo>
                    <a:pt x="124" y="365"/>
                  </a:lnTo>
                  <a:lnTo>
                    <a:pt x="130" y="364"/>
                  </a:lnTo>
                  <a:lnTo>
                    <a:pt x="137" y="361"/>
                  </a:lnTo>
                  <a:lnTo>
                    <a:pt x="148" y="353"/>
                  </a:lnTo>
                  <a:lnTo>
                    <a:pt x="157" y="345"/>
                  </a:lnTo>
                  <a:lnTo>
                    <a:pt x="166" y="336"/>
                  </a:lnTo>
                  <a:lnTo>
                    <a:pt x="176" y="327"/>
                  </a:lnTo>
                  <a:lnTo>
                    <a:pt x="180" y="323"/>
                  </a:lnTo>
                  <a:lnTo>
                    <a:pt x="185" y="319"/>
                  </a:lnTo>
                  <a:lnTo>
                    <a:pt x="192" y="316"/>
                  </a:lnTo>
                  <a:lnTo>
                    <a:pt x="198" y="313"/>
                  </a:lnTo>
                  <a:lnTo>
                    <a:pt x="222" y="308"/>
                  </a:lnTo>
                  <a:lnTo>
                    <a:pt x="251" y="301"/>
                  </a:lnTo>
                  <a:lnTo>
                    <a:pt x="259" y="297"/>
                  </a:lnTo>
                  <a:lnTo>
                    <a:pt x="266" y="295"/>
                  </a:lnTo>
                  <a:lnTo>
                    <a:pt x="271" y="291"/>
                  </a:lnTo>
                  <a:lnTo>
                    <a:pt x="277" y="287"/>
                  </a:lnTo>
                  <a:lnTo>
                    <a:pt x="282" y="283"/>
                  </a:lnTo>
                  <a:lnTo>
                    <a:pt x="285" y="277"/>
                  </a:lnTo>
                  <a:lnTo>
                    <a:pt x="287" y="272"/>
                  </a:lnTo>
                  <a:lnTo>
                    <a:pt x="287" y="265"/>
                  </a:lnTo>
                  <a:lnTo>
                    <a:pt x="287" y="261"/>
                  </a:lnTo>
                  <a:lnTo>
                    <a:pt x="286" y="257"/>
                  </a:lnTo>
                  <a:lnTo>
                    <a:pt x="283" y="253"/>
                  </a:lnTo>
                  <a:lnTo>
                    <a:pt x="281" y="249"/>
                  </a:lnTo>
                  <a:lnTo>
                    <a:pt x="274" y="244"/>
                  </a:lnTo>
                  <a:lnTo>
                    <a:pt x="267" y="237"/>
                  </a:lnTo>
                  <a:lnTo>
                    <a:pt x="259" y="231"/>
                  </a:lnTo>
                  <a:lnTo>
                    <a:pt x="253" y="224"/>
                  </a:lnTo>
                  <a:lnTo>
                    <a:pt x="250" y="220"/>
                  </a:lnTo>
                  <a:lnTo>
                    <a:pt x="247" y="215"/>
                  </a:lnTo>
                  <a:lnTo>
                    <a:pt x="246" y="211"/>
                  </a:lnTo>
                  <a:lnTo>
                    <a:pt x="246" y="205"/>
                  </a:lnTo>
                  <a:lnTo>
                    <a:pt x="246" y="201"/>
                  </a:lnTo>
                  <a:lnTo>
                    <a:pt x="247" y="197"/>
                  </a:lnTo>
                  <a:lnTo>
                    <a:pt x="250" y="193"/>
                  </a:lnTo>
                  <a:lnTo>
                    <a:pt x="253" y="189"/>
                  </a:lnTo>
                  <a:lnTo>
                    <a:pt x="259" y="183"/>
                  </a:lnTo>
                  <a:lnTo>
                    <a:pt x="267" y="176"/>
                  </a:lnTo>
                  <a:lnTo>
                    <a:pt x="274" y="169"/>
                  </a:lnTo>
                  <a:lnTo>
                    <a:pt x="281" y="161"/>
                  </a:lnTo>
                  <a:lnTo>
                    <a:pt x="283" y="156"/>
                  </a:lnTo>
                  <a:lnTo>
                    <a:pt x="286" y="151"/>
                  </a:lnTo>
                  <a:lnTo>
                    <a:pt x="287" y="145"/>
                  </a:lnTo>
                  <a:lnTo>
                    <a:pt x="287" y="139"/>
                  </a:lnTo>
                  <a:lnTo>
                    <a:pt x="287" y="128"/>
                  </a:lnTo>
                  <a:lnTo>
                    <a:pt x="283" y="119"/>
                  </a:lnTo>
                  <a:lnTo>
                    <a:pt x="279" y="111"/>
                  </a:lnTo>
                  <a:lnTo>
                    <a:pt x="273" y="104"/>
                  </a:lnTo>
                  <a:lnTo>
                    <a:pt x="266" y="97"/>
                  </a:lnTo>
                  <a:lnTo>
                    <a:pt x="258" y="93"/>
                  </a:lnTo>
                  <a:lnTo>
                    <a:pt x="249" y="92"/>
                  </a:lnTo>
                  <a:lnTo>
                    <a:pt x="239" y="91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accent1">
                  <a:lumMod val="20000"/>
                  <a:lumOff val="8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95" b="0" i="0" u="none" strike="noStrike" kern="1200" cap="none" spc="0" normalizeH="0" baseline="0" noProof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3" name="Freeform 8"/>
            <p:cNvSpPr>
              <a:spLocks/>
            </p:cNvSpPr>
            <p:nvPr/>
          </p:nvSpPr>
          <p:spPr bwMode="auto">
            <a:xfrm>
              <a:off x="5325589" y="2082813"/>
              <a:ext cx="24289" cy="27119"/>
            </a:xfrm>
            <a:custGeom>
              <a:avLst/>
              <a:gdLst>
                <a:gd name="T0" fmla="*/ 165 w 337"/>
                <a:gd name="T1" fmla="*/ 6 h 374"/>
                <a:gd name="T2" fmla="*/ 104 w 337"/>
                <a:gd name="T3" fmla="*/ 32 h 374"/>
                <a:gd name="T4" fmla="*/ 76 w 337"/>
                <a:gd name="T5" fmla="*/ 46 h 374"/>
                <a:gd name="T6" fmla="*/ 64 w 337"/>
                <a:gd name="T7" fmla="*/ 56 h 374"/>
                <a:gd name="T8" fmla="*/ 57 w 337"/>
                <a:gd name="T9" fmla="*/ 81 h 374"/>
                <a:gd name="T10" fmla="*/ 56 w 337"/>
                <a:gd name="T11" fmla="*/ 102 h 374"/>
                <a:gd name="T12" fmla="*/ 52 w 337"/>
                <a:gd name="T13" fmla="*/ 114 h 374"/>
                <a:gd name="T14" fmla="*/ 44 w 337"/>
                <a:gd name="T15" fmla="*/ 128 h 374"/>
                <a:gd name="T16" fmla="*/ 30 w 337"/>
                <a:gd name="T17" fmla="*/ 141 h 374"/>
                <a:gd name="T18" fmla="*/ 13 w 337"/>
                <a:gd name="T19" fmla="*/ 154 h 374"/>
                <a:gd name="T20" fmla="*/ 4 w 337"/>
                <a:gd name="T21" fmla="*/ 165 h 374"/>
                <a:gd name="T22" fmla="*/ 0 w 337"/>
                <a:gd name="T23" fmla="*/ 171 h 374"/>
                <a:gd name="T24" fmla="*/ 0 w 337"/>
                <a:gd name="T25" fmla="*/ 181 h 374"/>
                <a:gd name="T26" fmla="*/ 5 w 337"/>
                <a:gd name="T27" fmla="*/ 189 h 374"/>
                <a:gd name="T28" fmla="*/ 18 w 337"/>
                <a:gd name="T29" fmla="*/ 199 h 374"/>
                <a:gd name="T30" fmla="*/ 41 w 337"/>
                <a:gd name="T31" fmla="*/ 213 h 374"/>
                <a:gd name="T32" fmla="*/ 54 w 337"/>
                <a:gd name="T33" fmla="*/ 225 h 374"/>
                <a:gd name="T34" fmla="*/ 60 w 337"/>
                <a:gd name="T35" fmla="*/ 235 h 374"/>
                <a:gd name="T36" fmla="*/ 61 w 337"/>
                <a:gd name="T37" fmla="*/ 254 h 374"/>
                <a:gd name="T38" fmla="*/ 66 w 337"/>
                <a:gd name="T39" fmla="*/ 278 h 374"/>
                <a:gd name="T40" fmla="*/ 80 w 337"/>
                <a:gd name="T41" fmla="*/ 297 h 374"/>
                <a:gd name="T42" fmla="*/ 92 w 337"/>
                <a:gd name="T43" fmla="*/ 305 h 374"/>
                <a:gd name="T44" fmla="*/ 102 w 337"/>
                <a:gd name="T45" fmla="*/ 307 h 374"/>
                <a:gd name="T46" fmla="*/ 118 w 337"/>
                <a:gd name="T47" fmla="*/ 309 h 374"/>
                <a:gd name="T48" fmla="*/ 139 w 337"/>
                <a:gd name="T49" fmla="*/ 314 h 374"/>
                <a:gd name="T50" fmla="*/ 166 w 337"/>
                <a:gd name="T51" fmla="*/ 329 h 374"/>
                <a:gd name="T52" fmla="*/ 202 w 337"/>
                <a:gd name="T53" fmla="*/ 353 h 374"/>
                <a:gd name="T54" fmla="*/ 230 w 337"/>
                <a:gd name="T55" fmla="*/ 367 h 374"/>
                <a:gd name="T56" fmla="*/ 253 w 337"/>
                <a:gd name="T57" fmla="*/ 373 h 374"/>
                <a:gd name="T58" fmla="*/ 279 w 337"/>
                <a:gd name="T59" fmla="*/ 373 h 374"/>
                <a:gd name="T60" fmla="*/ 306 w 337"/>
                <a:gd name="T61" fmla="*/ 366 h 374"/>
                <a:gd name="T62" fmla="*/ 321 w 337"/>
                <a:gd name="T63" fmla="*/ 355 h 374"/>
                <a:gd name="T64" fmla="*/ 329 w 337"/>
                <a:gd name="T65" fmla="*/ 346 h 374"/>
                <a:gd name="T66" fmla="*/ 334 w 337"/>
                <a:gd name="T67" fmla="*/ 335 h 374"/>
                <a:gd name="T68" fmla="*/ 337 w 337"/>
                <a:gd name="T69" fmla="*/ 321 h 374"/>
                <a:gd name="T70" fmla="*/ 335 w 337"/>
                <a:gd name="T71" fmla="*/ 301 h 374"/>
                <a:gd name="T72" fmla="*/ 327 w 337"/>
                <a:gd name="T73" fmla="*/ 282 h 374"/>
                <a:gd name="T74" fmla="*/ 315 w 337"/>
                <a:gd name="T75" fmla="*/ 267 h 374"/>
                <a:gd name="T76" fmla="*/ 307 w 337"/>
                <a:gd name="T77" fmla="*/ 251 h 374"/>
                <a:gd name="T78" fmla="*/ 313 w 337"/>
                <a:gd name="T79" fmla="*/ 223 h 374"/>
                <a:gd name="T80" fmla="*/ 318 w 337"/>
                <a:gd name="T81" fmla="*/ 167 h 374"/>
                <a:gd name="T82" fmla="*/ 318 w 337"/>
                <a:gd name="T83" fmla="*/ 114 h 374"/>
                <a:gd name="T84" fmla="*/ 318 w 337"/>
                <a:gd name="T85" fmla="*/ 77 h 374"/>
                <a:gd name="T86" fmla="*/ 311 w 337"/>
                <a:gd name="T87" fmla="*/ 52 h 374"/>
                <a:gd name="T88" fmla="*/ 299 w 337"/>
                <a:gd name="T89" fmla="*/ 32 h 374"/>
                <a:gd name="T90" fmla="*/ 286 w 337"/>
                <a:gd name="T91" fmla="*/ 22 h 374"/>
                <a:gd name="T92" fmla="*/ 275 w 337"/>
                <a:gd name="T93" fmla="*/ 20 h 374"/>
                <a:gd name="T94" fmla="*/ 265 w 337"/>
                <a:gd name="T95" fmla="*/ 20 h 374"/>
                <a:gd name="T96" fmla="*/ 258 w 337"/>
                <a:gd name="T97" fmla="*/ 25 h 374"/>
                <a:gd name="T98" fmla="*/ 258 w 337"/>
                <a:gd name="T99" fmla="*/ 38 h 374"/>
                <a:gd name="T100" fmla="*/ 249 w 337"/>
                <a:gd name="T101" fmla="*/ 72 h 374"/>
                <a:gd name="T102" fmla="*/ 230 w 337"/>
                <a:gd name="T103" fmla="*/ 101 h 374"/>
                <a:gd name="T104" fmla="*/ 217 w 337"/>
                <a:gd name="T105" fmla="*/ 116 h 374"/>
                <a:gd name="T106" fmla="*/ 206 w 337"/>
                <a:gd name="T107" fmla="*/ 113 h 374"/>
                <a:gd name="T108" fmla="*/ 199 w 337"/>
                <a:gd name="T109" fmla="*/ 98 h 374"/>
                <a:gd name="T110" fmla="*/ 199 w 337"/>
                <a:gd name="T111" fmla="*/ 82 h 374"/>
                <a:gd name="T112" fmla="*/ 206 w 337"/>
                <a:gd name="T113" fmla="*/ 66 h 374"/>
                <a:gd name="T114" fmla="*/ 214 w 337"/>
                <a:gd name="T115" fmla="*/ 50 h 374"/>
                <a:gd name="T116" fmla="*/ 221 w 337"/>
                <a:gd name="T117" fmla="*/ 33 h 374"/>
                <a:gd name="T118" fmla="*/ 222 w 337"/>
                <a:gd name="T119" fmla="*/ 14 h 374"/>
                <a:gd name="T120" fmla="*/ 217 w 337"/>
                <a:gd name="T121" fmla="*/ 4 h 374"/>
                <a:gd name="T122" fmla="*/ 202 w 337"/>
                <a:gd name="T123" fmla="*/ 0 h 37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37"/>
                <a:gd name="T187" fmla="*/ 0 h 374"/>
                <a:gd name="T188" fmla="*/ 337 w 337"/>
                <a:gd name="T189" fmla="*/ 374 h 37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37" h="374">
                  <a:moveTo>
                    <a:pt x="186" y="1"/>
                  </a:moveTo>
                  <a:lnTo>
                    <a:pt x="165" y="6"/>
                  </a:lnTo>
                  <a:lnTo>
                    <a:pt x="125" y="21"/>
                  </a:lnTo>
                  <a:lnTo>
                    <a:pt x="104" y="32"/>
                  </a:lnTo>
                  <a:lnTo>
                    <a:pt x="84" y="41"/>
                  </a:lnTo>
                  <a:lnTo>
                    <a:pt x="76" y="46"/>
                  </a:lnTo>
                  <a:lnTo>
                    <a:pt x="69" y="52"/>
                  </a:lnTo>
                  <a:lnTo>
                    <a:pt x="64" y="56"/>
                  </a:lnTo>
                  <a:lnTo>
                    <a:pt x="60" y="61"/>
                  </a:lnTo>
                  <a:lnTo>
                    <a:pt x="57" y="81"/>
                  </a:lnTo>
                  <a:lnTo>
                    <a:pt x="56" y="96"/>
                  </a:lnTo>
                  <a:lnTo>
                    <a:pt x="56" y="102"/>
                  </a:lnTo>
                  <a:lnTo>
                    <a:pt x="54" y="108"/>
                  </a:lnTo>
                  <a:lnTo>
                    <a:pt x="52" y="114"/>
                  </a:lnTo>
                  <a:lnTo>
                    <a:pt x="48" y="121"/>
                  </a:lnTo>
                  <a:lnTo>
                    <a:pt x="44" y="128"/>
                  </a:lnTo>
                  <a:lnTo>
                    <a:pt x="37" y="134"/>
                  </a:lnTo>
                  <a:lnTo>
                    <a:pt x="30" y="141"/>
                  </a:lnTo>
                  <a:lnTo>
                    <a:pt x="21" y="148"/>
                  </a:lnTo>
                  <a:lnTo>
                    <a:pt x="13" y="154"/>
                  </a:lnTo>
                  <a:lnTo>
                    <a:pt x="6" y="162"/>
                  </a:lnTo>
                  <a:lnTo>
                    <a:pt x="4" y="165"/>
                  </a:lnTo>
                  <a:lnTo>
                    <a:pt x="1" y="169"/>
                  </a:lnTo>
                  <a:lnTo>
                    <a:pt x="0" y="171"/>
                  </a:lnTo>
                  <a:lnTo>
                    <a:pt x="0" y="175"/>
                  </a:lnTo>
                  <a:lnTo>
                    <a:pt x="0" y="181"/>
                  </a:lnTo>
                  <a:lnTo>
                    <a:pt x="2" y="185"/>
                  </a:lnTo>
                  <a:lnTo>
                    <a:pt x="5" y="189"/>
                  </a:lnTo>
                  <a:lnTo>
                    <a:pt x="9" y="193"/>
                  </a:lnTo>
                  <a:lnTo>
                    <a:pt x="18" y="199"/>
                  </a:lnTo>
                  <a:lnTo>
                    <a:pt x="29" y="206"/>
                  </a:lnTo>
                  <a:lnTo>
                    <a:pt x="41" y="213"/>
                  </a:lnTo>
                  <a:lnTo>
                    <a:pt x="50" y="219"/>
                  </a:lnTo>
                  <a:lnTo>
                    <a:pt x="54" y="225"/>
                  </a:lnTo>
                  <a:lnTo>
                    <a:pt x="57" y="229"/>
                  </a:lnTo>
                  <a:lnTo>
                    <a:pt x="60" y="235"/>
                  </a:lnTo>
                  <a:lnTo>
                    <a:pt x="60" y="241"/>
                  </a:lnTo>
                  <a:lnTo>
                    <a:pt x="61" y="254"/>
                  </a:lnTo>
                  <a:lnTo>
                    <a:pt x="62" y="267"/>
                  </a:lnTo>
                  <a:lnTo>
                    <a:pt x="66" y="278"/>
                  </a:lnTo>
                  <a:lnTo>
                    <a:pt x="73" y="287"/>
                  </a:lnTo>
                  <a:lnTo>
                    <a:pt x="80" y="297"/>
                  </a:lnTo>
                  <a:lnTo>
                    <a:pt x="88" y="302"/>
                  </a:lnTo>
                  <a:lnTo>
                    <a:pt x="92" y="305"/>
                  </a:lnTo>
                  <a:lnTo>
                    <a:pt x="97" y="306"/>
                  </a:lnTo>
                  <a:lnTo>
                    <a:pt x="102" y="307"/>
                  </a:lnTo>
                  <a:lnTo>
                    <a:pt x="108" y="307"/>
                  </a:lnTo>
                  <a:lnTo>
                    <a:pt x="118" y="309"/>
                  </a:lnTo>
                  <a:lnTo>
                    <a:pt x="129" y="310"/>
                  </a:lnTo>
                  <a:lnTo>
                    <a:pt x="139" y="314"/>
                  </a:lnTo>
                  <a:lnTo>
                    <a:pt x="149" y="318"/>
                  </a:lnTo>
                  <a:lnTo>
                    <a:pt x="166" y="329"/>
                  </a:lnTo>
                  <a:lnTo>
                    <a:pt x="183" y="341"/>
                  </a:lnTo>
                  <a:lnTo>
                    <a:pt x="202" y="353"/>
                  </a:lnTo>
                  <a:lnTo>
                    <a:pt x="221" y="363"/>
                  </a:lnTo>
                  <a:lnTo>
                    <a:pt x="230" y="367"/>
                  </a:lnTo>
                  <a:lnTo>
                    <a:pt x="241" y="371"/>
                  </a:lnTo>
                  <a:lnTo>
                    <a:pt x="253" y="373"/>
                  </a:lnTo>
                  <a:lnTo>
                    <a:pt x="265" y="374"/>
                  </a:lnTo>
                  <a:lnTo>
                    <a:pt x="279" y="373"/>
                  </a:lnTo>
                  <a:lnTo>
                    <a:pt x="293" y="370"/>
                  </a:lnTo>
                  <a:lnTo>
                    <a:pt x="306" y="366"/>
                  </a:lnTo>
                  <a:lnTo>
                    <a:pt x="317" y="359"/>
                  </a:lnTo>
                  <a:lnTo>
                    <a:pt x="321" y="355"/>
                  </a:lnTo>
                  <a:lnTo>
                    <a:pt x="325" y="351"/>
                  </a:lnTo>
                  <a:lnTo>
                    <a:pt x="329" y="346"/>
                  </a:lnTo>
                  <a:lnTo>
                    <a:pt x="331" y="341"/>
                  </a:lnTo>
                  <a:lnTo>
                    <a:pt x="334" y="335"/>
                  </a:lnTo>
                  <a:lnTo>
                    <a:pt x="335" y="329"/>
                  </a:lnTo>
                  <a:lnTo>
                    <a:pt x="337" y="321"/>
                  </a:lnTo>
                  <a:lnTo>
                    <a:pt x="337" y="314"/>
                  </a:lnTo>
                  <a:lnTo>
                    <a:pt x="335" y="301"/>
                  </a:lnTo>
                  <a:lnTo>
                    <a:pt x="331" y="291"/>
                  </a:lnTo>
                  <a:lnTo>
                    <a:pt x="327" y="282"/>
                  </a:lnTo>
                  <a:lnTo>
                    <a:pt x="322" y="275"/>
                  </a:lnTo>
                  <a:lnTo>
                    <a:pt x="315" y="267"/>
                  </a:lnTo>
                  <a:lnTo>
                    <a:pt x="311" y="261"/>
                  </a:lnTo>
                  <a:lnTo>
                    <a:pt x="307" y="251"/>
                  </a:lnTo>
                  <a:lnTo>
                    <a:pt x="306" y="241"/>
                  </a:lnTo>
                  <a:lnTo>
                    <a:pt x="313" y="223"/>
                  </a:lnTo>
                  <a:lnTo>
                    <a:pt x="318" y="211"/>
                  </a:lnTo>
                  <a:lnTo>
                    <a:pt x="318" y="167"/>
                  </a:lnTo>
                  <a:lnTo>
                    <a:pt x="318" y="137"/>
                  </a:lnTo>
                  <a:lnTo>
                    <a:pt x="318" y="114"/>
                  </a:lnTo>
                  <a:lnTo>
                    <a:pt x="318" y="90"/>
                  </a:lnTo>
                  <a:lnTo>
                    <a:pt x="318" y="77"/>
                  </a:lnTo>
                  <a:lnTo>
                    <a:pt x="315" y="65"/>
                  </a:lnTo>
                  <a:lnTo>
                    <a:pt x="311" y="52"/>
                  </a:lnTo>
                  <a:lnTo>
                    <a:pt x="306" y="41"/>
                  </a:lnTo>
                  <a:lnTo>
                    <a:pt x="299" y="32"/>
                  </a:lnTo>
                  <a:lnTo>
                    <a:pt x="290" y="25"/>
                  </a:lnTo>
                  <a:lnTo>
                    <a:pt x="286" y="22"/>
                  </a:lnTo>
                  <a:lnTo>
                    <a:pt x="281" y="20"/>
                  </a:lnTo>
                  <a:lnTo>
                    <a:pt x="275" y="20"/>
                  </a:lnTo>
                  <a:lnTo>
                    <a:pt x="270" y="18"/>
                  </a:lnTo>
                  <a:lnTo>
                    <a:pt x="265" y="20"/>
                  </a:lnTo>
                  <a:lnTo>
                    <a:pt x="261" y="21"/>
                  </a:lnTo>
                  <a:lnTo>
                    <a:pt x="258" y="25"/>
                  </a:lnTo>
                  <a:lnTo>
                    <a:pt x="258" y="29"/>
                  </a:lnTo>
                  <a:lnTo>
                    <a:pt x="258" y="38"/>
                  </a:lnTo>
                  <a:lnTo>
                    <a:pt x="258" y="49"/>
                  </a:lnTo>
                  <a:lnTo>
                    <a:pt x="249" y="72"/>
                  </a:lnTo>
                  <a:lnTo>
                    <a:pt x="237" y="92"/>
                  </a:lnTo>
                  <a:lnTo>
                    <a:pt x="230" y="101"/>
                  </a:lnTo>
                  <a:lnTo>
                    <a:pt x="223" y="109"/>
                  </a:lnTo>
                  <a:lnTo>
                    <a:pt x="217" y="116"/>
                  </a:lnTo>
                  <a:lnTo>
                    <a:pt x="210" y="121"/>
                  </a:lnTo>
                  <a:lnTo>
                    <a:pt x="206" y="113"/>
                  </a:lnTo>
                  <a:lnTo>
                    <a:pt x="202" y="106"/>
                  </a:lnTo>
                  <a:lnTo>
                    <a:pt x="199" y="98"/>
                  </a:lnTo>
                  <a:lnTo>
                    <a:pt x="198" y="90"/>
                  </a:lnTo>
                  <a:lnTo>
                    <a:pt x="199" y="82"/>
                  </a:lnTo>
                  <a:lnTo>
                    <a:pt x="202" y="74"/>
                  </a:lnTo>
                  <a:lnTo>
                    <a:pt x="206" y="66"/>
                  </a:lnTo>
                  <a:lnTo>
                    <a:pt x="210" y="58"/>
                  </a:lnTo>
                  <a:lnTo>
                    <a:pt x="214" y="50"/>
                  </a:lnTo>
                  <a:lnTo>
                    <a:pt x="218" y="42"/>
                  </a:lnTo>
                  <a:lnTo>
                    <a:pt x="221" y="33"/>
                  </a:lnTo>
                  <a:lnTo>
                    <a:pt x="222" y="25"/>
                  </a:lnTo>
                  <a:lnTo>
                    <a:pt x="222" y="14"/>
                  </a:lnTo>
                  <a:lnTo>
                    <a:pt x="219" y="8"/>
                  </a:lnTo>
                  <a:lnTo>
                    <a:pt x="217" y="4"/>
                  </a:lnTo>
                  <a:lnTo>
                    <a:pt x="213" y="1"/>
                  </a:lnTo>
                  <a:lnTo>
                    <a:pt x="202" y="0"/>
                  </a:lnTo>
                  <a:lnTo>
                    <a:pt x="186" y="1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accent1">
                  <a:lumMod val="20000"/>
                  <a:lumOff val="8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95" b="0" i="0" u="none" strike="noStrike" kern="1200" cap="none" spc="0" normalizeH="0" baseline="0" noProof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4" name="Freeform 9"/>
            <p:cNvSpPr>
              <a:spLocks/>
            </p:cNvSpPr>
            <p:nvPr/>
          </p:nvSpPr>
          <p:spPr bwMode="auto">
            <a:xfrm>
              <a:off x="5350821" y="2095547"/>
              <a:ext cx="21223" cy="30184"/>
            </a:xfrm>
            <a:custGeom>
              <a:avLst/>
              <a:gdLst>
                <a:gd name="T0" fmla="*/ 133 w 289"/>
                <a:gd name="T1" fmla="*/ 35 h 422"/>
                <a:gd name="T2" fmla="*/ 132 w 289"/>
                <a:gd name="T3" fmla="*/ 19 h 422"/>
                <a:gd name="T4" fmla="*/ 128 w 289"/>
                <a:gd name="T5" fmla="*/ 11 h 422"/>
                <a:gd name="T6" fmla="*/ 121 w 289"/>
                <a:gd name="T7" fmla="*/ 4 h 422"/>
                <a:gd name="T8" fmla="*/ 113 w 289"/>
                <a:gd name="T9" fmla="*/ 0 h 422"/>
                <a:gd name="T10" fmla="*/ 105 w 289"/>
                <a:gd name="T11" fmla="*/ 2 h 422"/>
                <a:gd name="T12" fmla="*/ 92 w 289"/>
                <a:gd name="T13" fmla="*/ 16 h 422"/>
                <a:gd name="T14" fmla="*/ 71 w 289"/>
                <a:gd name="T15" fmla="*/ 46 h 422"/>
                <a:gd name="T16" fmla="*/ 61 w 289"/>
                <a:gd name="T17" fmla="*/ 120 h 422"/>
                <a:gd name="T18" fmla="*/ 45 w 289"/>
                <a:gd name="T19" fmla="*/ 203 h 422"/>
                <a:gd name="T20" fmla="*/ 36 w 289"/>
                <a:gd name="T21" fmla="*/ 238 h 422"/>
                <a:gd name="T22" fmla="*/ 24 w 289"/>
                <a:gd name="T23" fmla="*/ 271 h 422"/>
                <a:gd name="T24" fmla="*/ 20 w 289"/>
                <a:gd name="T25" fmla="*/ 331 h 422"/>
                <a:gd name="T26" fmla="*/ 12 w 289"/>
                <a:gd name="T27" fmla="*/ 348 h 422"/>
                <a:gd name="T28" fmla="*/ 3 w 289"/>
                <a:gd name="T29" fmla="*/ 380 h 422"/>
                <a:gd name="T30" fmla="*/ 1 w 289"/>
                <a:gd name="T31" fmla="*/ 404 h 422"/>
                <a:gd name="T32" fmla="*/ 5 w 289"/>
                <a:gd name="T33" fmla="*/ 414 h 422"/>
                <a:gd name="T34" fmla="*/ 12 w 289"/>
                <a:gd name="T35" fmla="*/ 419 h 422"/>
                <a:gd name="T36" fmla="*/ 20 w 289"/>
                <a:gd name="T37" fmla="*/ 422 h 422"/>
                <a:gd name="T38" fmla="*/ 33 w 289"/>
                <a:gd name="T39" fmla="*/ 420 h 422"/>
                <a:gd name="T40" fmla="*/ 47 w 289"/>
                <a:gd name="T41" fmla="*/ 414 h 422"/>
                <a:gd name="T42" fmla="*/ 64 w 289"/>
                <a:gd name="T43" fmla="*/ 396 h 422"/>
                <a:gd name="T44" fmla="*/ 84 w 289"/>
                <a:gd name="T45" fmla="*/ 375 h 422"/>
                <a:gd name="T46" fmla="*/ 111 w 289"/>
                <a:gd name="T47" fmla="*/ 356 h 422"/>
                <a:gd name="T48" fmla="*/ 140 w 289"/>
                <a:gd name="T49" fmla="*/ 342 h 422"/>
                <a:gd name="T50" fmla="*/ 172 w 289"/>
                <a:gd name="T51" fmla="*/ 330 h 422"/>
                <a:gd name="T52" fmla="*/ 205 w 289"/>
                <a:gd name="T53" fmla="*/ 318 h 422"/>
                <a:gd name="T54" fmla="*/ 241 w 289"/>
                <a:gd name="T55" fmla="*/ 296 h 422"/>
                <a:gd name="T56" fmla="*/ 264 w 289"/>
                <a:gd name="T57" fmla="*/ 275 h 422"/>
                <a:gd name="T58" fmla="*/ 276 w 289"/>
                <a:gd name="T59" fmla="*/ 259 h 422"/>
                <a:gd name="T60" fmla="*/ 284 w 289"/>
                <a:gd name="T61" fmla="*/ 239 h 422"/>
                <a:gd name="T62" fmla="*/ 289 w 289"/>
                <a:gd name="T63" fmla="*/ 216 h 422"/>
                <a:gd name="T64" fmla="*/ 289 w 289"/>
                <a:gd name="T65" fmla="*/ 196 h 422"/>
                <a:gd name="T66" fmla="*/ 283 w 289"/>
                <a:gd name="T67" fmla="*/ 178 h 422"/>
                <a:gd name="T68" fmla="*/ 265 w 289"/>
                <a:gd name="T69" fmla="*/ 146 h 422"/>
                <a:gd name="T70" fmla="*/ 233 w 289"/>
                <a:gd name="T71" fmla="*/ 107 h 422"/>
                <a:gd name="T72" fmla="*/ 208 w 289"/>
                <a:gd name="T73" fmla="*/ 86 h 422"/>
                <a:gd name="T74" fmla="*/ 193 w 289"/>
                <a:gd name="T75" fmla="*/ 79 h 422"/>
                <a:gd name="T76" fmla="*/ 180 w 289"/>
                <a:gd name="T77" fmla="*/ 79 h 422"/>
                <a:gd name="T78" fmla="*/ 167 w 289"/>
                <a:gd name="T79" fmla="*/ 82 h 422"/>
                <a:gd name="T80" fmla="*/ 156 w 289"/>
                <a:gd name="T81" fmla="*/ 88 h 422"/>
                <a:gd name="T82" fmla="*/ 148 w 289"/>
                <a:gd name="T83" fmla="*/ 96 h 422"/>
                <a:gd name="T84" fmla="*/ 139 w 289"/>
                <a:gd name="T85" fmla="*/ 112 h 422"/>
                <a:gd name="T86" fmla="*/ 133 w 289"/>
                <a:gd name="T87" fmla="*/ 138 h 422"/>
                <a:gd name="T88" fmla="*/ 115 w 289"/>
                <a:gd name="T89" fmla="*/ 151 h 422"/>
                <a:gd name="T90" fmla="*/ 117 w 289"/>
                <a:gd name="T91" fmla="*/ 103 h 422"/>
                <a:gd name="T92" fmla="*/ 131 w 289"/>
                <a:gd name="T93" fmla="*/ 54 h 42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89"/>
                <a:gd name="T142" fmla="*/ 0 h 422"/>
                <a:gd name="T143" fmla="*/ 289 w 289"/>
                <a:gd name="T144" fmla="*/ 422 h 42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89" h="422">
                  <a:moveTo>
                    <a:pt x="133" y="42"/>
                  </a:moveTo>
                  <a:lnTo>
                    <a:pt x="133" y="35"/>
                  </a:lnTo>
                  <a:lnTo>
                    <a:pt x="133" y="24"/>
                  </a:lnTo>
                  <a:lnTo>
                    <a:pt x="132" y="19"/>
                  </a:lnTo>
                  <a:lnTo>
                    <a:pt x="131" y="15"/>
                  </a:lnTo>
                  <a:lnTo>
                    <a:pt x="128" y="11"/>
                  </a:lnTo>
                  <a:lnTo>
                    <a:pt x="125" y="7"/>
                  </a:lnTo>
                  <a:lnTo>
                    <a:pt x="121" y="4"/>
                  </a:lnTo>
                  <a:lnTo>
                    <a:pt x="117" y="2"/>
                  </a:lnTo>
                  <a:lnTo>
                    <a:pt x="113" y="0"/>
                  </a:lnTo>
                  <a:lnTo>
                    <a:pt x="109" y="0"/>
                  </a:lnTo>
                  <a:lnTo>
                    <a:pt x="105" y="2"/>
                  </a:lnTo>
                  <a:lnTo>
                    <a:pt x="100" y="7"/>
                  </a:lnTo>
                  <a:lnTo>
                    <a:pt x="92" y="16"/>
                  </a:lnTo>
                  <a:lnTo>
                    <a:pt x="85" y="26"/>
                  </a:lnTo>
                  <a:lnTo>
                    <a:pt x="71" y="46"/>
                  </a:lnTo>
                  <a:lnTo>
                    <a:pt x="61" y="60"/>
                  </a:lnTo>
                  <a:lnTo>
                    <a:pt x="61" y="120"/>
                  </a:lnTo>
                  <a:lnTo>
                    <a:pt x="52" y="163"/>
                  </a:lnTo>
                  <a:lnTo>
                    <a:pt x="45" y="203"/>
                  </a:lnTo>
                  <a:lnTo>
                    <a:pt x="41" y="220"/>
                  </a:lnTo>
                  <a:lnTo>
                    <a:pt x="36" y="238"/>
                  </a:lnTo>
                  <a:lnTo>
                    <a:pt x="31" y="255"/>
                  </a:lnTo>
                  <a:lnTo>
                    <a:pt x="24" y="271"/>
                  </a:lnTo>
                  <a:lnTo>
                    <a:pt x="24" y="326"/>
                  </a:lnTo>
                  <a:lnTo>
                    <a:pt x="20" y="331"/>
                  </a:lnTo>
                  <a:lnTo>
                    <a:pt x="16" y="339"/>
                  </a:lnTo>
                  <a:lnTo>
                    <a:pt x="12" y="348"/>
                  </a:lnTo>
                  <a:lnTo>
                    <a:pt x="8" y="359"/>
                  </a:lnTo>
                  <a:lnTo>
                    <a:pt x="3" y="380"/>
                  </a:lnTo>
                  <a:lnTo>
                    <a:pt x="0" y="398"/>
                  </a:lnTo>
                  <a:lnTo>
                    <a:pt x="1" y="404"/>
                  </a:lnTo>
                  <a:lnTo>
                    <a:pt x="3" y="408"/>
                  </a:lnTo>
                  <a:lnTo>
                    <a:pt x="5" y="414"/>
                  </a:lnTo>
                  <a:lnTo>
                    <a:pt x="8" y="416"/>
                  </a:lnTo>
                  <a:lnTo>
                    <a:pt x="12" y="419"/>
                  </a:lnTo>
                  <a:lnTo>
                    <a:pt x="16" y="420"/>
                  </a:lnTo>
                  <a:lnTo>
                    <a:pt x="20" y="422"/>
                  </a:lnTo>
                  <a:lnTo>
                    <a:pt x="24" y="422"/>
                  </a:lnTo>
                  <a:lnTo>
                    <a:pt x="33" y="420"/>
                  </a:lnTo>
                  <a:lnTo>
                    <a:pt x="40" y="418"/>
                  </a:lnTo>
                  <a:lnTo>
                    <a:pt x="47" y="414"/>
                  </a:lnTo>
                  <a:lnTo>
                    <a:pt x="53" y="408"/>
                  </a:lnTo>
                  <a:lnTo>
                    <a:pt x="64" y="396"/>
                  </a:lnTo>
                  <a:lnTo>
                    <a:pt x="73" y="386"/>
                  </a:lnTo>
                  <a:lnTo>
                    <a:pt x="84" y="375"/>
                  </a:lnTo>
                  <a:lnTo>
                    <a:pt x="97" y="366"/>
                  </a:lnTo>
                  <a:lnTo>
                    <a:pt x="111" y="356"/>
                  </a:lnTo>
                  <a:lnTo>
                    <a:pt x="125" y="348"/>
                  </a:lnTo>
                  <a:lnTo>
                    <a:pt x="140" y="342"/>
                  </a:lnTo>
                  <a:lnTo>
                    <a:pt x="156" y="335"/>
                  </a:lnTo>
                  <a:lnTo>
                    <a:pt x="172" y="330"/>
                  </a:lnTo>
                  <a:lnTo>
                    <a:pt x="187" y="326"/>
                  </a:lnTo>
                  <a:lnTo>
                    <a:pt x="205" y="318"/>
                  </a:lnTo>
                  <a:lnTo>
                    <a:pt x="224" y="308"/>
                  </a:lnTo>
                  <a:lnTo>
                    <a:pt x="241" y="296"/>
                  </a:lnTo>
                  <a:lnTo>
                    <a:pt x="256" y="283"/>
                  </a:lnTo>
                  <a:lnTo>
                    <a:pt x="264" y="275"/>
                  </a:lnTo>
                  <a:lnTo>
                    <a:pt x="269" y="267"/>
                  </a:lnTo>
                  <a:lnTo>
                    <a:pt x="276" y="259"/>
                  </a:lnTo>
                  <a:lnTo>
                    <a:pt x="280" y="248"/>
                  </a:lnTo>
                  <a:lnTo>
                    <a:pt x="284" y="239"/>
                  </a:lnTo>
                  <a:lnTo>
                    <a:pt x="287" y="228"/>
                  </a:lnTo>
                  <a:lnTo>
                    <a:pt x="289" y="216"/>
                  </a:lnTo>
                  <a:lnTo>
                    <a:pt x="289" y="204"/>
                  </a:lnTo>
                  <a:lnTo>
                    <a:pt x="289" y="196"/>
                  </a:lnTo>
                  <a:lnTo>
                    <a:pt x="287" y="187"/>
                  </a:lnTo>
                  <a:lnTo>
                    <a:pt x="283" y="178"/>
                  </a:lnTo>
                  <a:lnTo>
                    <a:pt x="277" y="167"/>
                  </a:lnTo>
                  <a:lnTo>
                    <a:pt x="265" y="146"/>
                  </a:lnTo>
                  <a:lnTo>
                    <a:pt x="249" y="126"/>
                  </a:lnTo>
                  <a:lnTo>
                    <a:pt x="233" y="107"/>
                  </a:lnTo>
                  <a:lnTo>
                    <a:pt x="216" y="92"/>
                  </a:lnTo>
                  <a:lnTo>
                    <a:pt x="208" y="86"/>
                  </a:lnTo>
                  <a:lnTo>
                    <a:pt x="200" y="82"/>
                  </a:lnTo>
                  <a:lnTo>
                    <a:pt x="193" y="79"/>
                  </a:lnTo>
                  <a:lnTo>
                    <a:pt x="187" y="78"/>
                  </a:lnTo>
                  <a:lnTo>
                    <a:pt x="180" y="79"/>
                  </a:lnTo>
                  <a:lnTo>
                    <a:pt x="173" y="80"/>
                  </a:lnTo>
                  <a:lnTo>
                    <a:pt x="167" y="82"/>
                  </a:lnTo>
                  <a:lnTo>
                    <a:pt x="161" y="84"/>
                  </a:lnTo>
                  <a:lnTo>
                    <a:pt x="156" y="88"/>
                  </a:lnTo>
                  <a:lnTo>
                    <a:pt x="152" y="91"/>
                  </a:lnTo>
                  <a:lnTo>
                    <a:pt x="148" y="96"/>
                  </a:lnTo>
                  <a:lnTo>
                    <a:pt x="144" y="100"/>
                  </a:lnTo>
                  <a:lnTo>
                    <a:pt x="139" y="112"/>
                  </a:lnTo>
                  <a:lnTo>
                    <a:pt x="136" y="124"/>
                  </a:lnTo>
                  <a:lnTo>
                    <a:pt x="133" y="138"/>
                  </a:lnTo>
                  <a:lnTo>
                    <a:pt x="133" y="151"/>
                  </a:lnTo>
                  <a:lnTo>
                    <a:pt x="115" y="151"/>
                  </a:lnTo>
                  <a:lnTo>
                    <a:pt x="115" y="115"/>
                  </a:lnTo>
                  <a:lnTo>
                    <a:pt x="117" y="103"/>
                  </a:lnTo>
                  <a:lnTo>
                    <a:pt x="124" y="78"/>
                  </a:lnTo>
                  <a:lnTo>
                    <a:pt x="131" y="54"/>
                  </a:lnTo>
                  <a:lnTo>
                    <a:pt x="133" y="42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accent1">
                  <a:lumMod val="20000"/>
                  <a:lumOff val="8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95" b="0" i="0" u="none" strike="noStrike" kern="1200" cap="none" spc="0" normalizeH="0" baseline="0" noProof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5" name="Freeform 13"/>
            <p:cNvSpPr>
              <a:spLocks/>
            </p:cNvSpPr>
            <p:nvPr/>
          </p:nvSpPr>
          <p:spPr bwMode="auto">
            <a:xfrm>
              <a:off x="5799340" y="2484876"/>
              <a:ext cx="55888" cy="146441"/>
            </a:xfrm>
            <a:custGeom>
              <a:avLst/>
              <a:gdLst>
                <a:gd name="T0" fmla="*/ 182 w 774"/>
                <a:gd name="T1" fmla="*/ 778 h 2035"/>
                <a:gd name="T2" fmla="*/ 201 w 774"/>
                <a:gd name="T3" fmla="*/ 763 h 2035"/>
                <a:gd name="T4" fmla="*/ 201 w 774"/>
                <a:gd name="T5" fmla="*/ 726 h 2035"/>
                <a:gd name="T6" fmla="*/ 181 w 774"/>
                <a:gd name="T7" fmla="*/ 677 h 2035"/>
                <a:gd name="T8" fmla="*/ 188 w 774"/>
                <a:gd name="T9" fmla="*/ 634 h 2035"/>
                <a:gd name="T10" fmla="*/ 234 w 774"/>
                <a:gd name="T11" fmla="*/ 571 h 2035"/>
                <a:gd name="T12" fmla="*/ 334 w 774"/>
                <a:gd name="T13" fmla="*/ 563 h 2035"/>
                <a:gd name="T14" fmla="*/ 437 w 774"/>
                <a:gd name="T15" fmla="*/ 542 h 2035"/>
                <a:gd name="T16" fmla="*/ 485 w 774"/>
                <a:gd name="T17" fmla="*/ 513 h 2035"/>
                <a:gd name="T18" fmla="*/ 507 w 774"/>
                <a:gd name="T19" fmla="*/ 474 h 2035"/>
                <a:gd name="T20" fmla="*/ 510 w 774"/>
                <a:gd name="T21" fmla="*/ 434 h 2035"/>
                <a:gd name="T22" fmla="*/ 482 w 774"/>
                <a:gd name="T23" fmla="*/ 393 h 2035"/>
                <a:gd name="T24" fmla="*/ 469 w 774"/>
                <a:gd name="T25" fmla="*/ 361 h 2035"/>
                <a:gd name="T26" fmla="*/ 491 w 774"/>
                <a:gd name="T27" fmla="*/ 337 h 2035"/>
                <a:gd name="T28" fmla="*/ 545 w 774"/>
                <a:gd name="T29" fmla="*/ 301 h 2035"/>
                <a:gd name="T30" fmla="*/ 533 w 774"/>
                <a:gd name="T31" fmla="*/ 185 h 2035"/>
                <a:gd name="T32" fmla="*/ 495 w 774"/>
                <a:gd name="T33" fmla="*/ 192 h 2035"/>
                <a:gd name="T34" fmla="*/ 422 w 774"/>
                <a:gd name="T35" fmla="*/ 168 h 2035"/>
                <a:gd name="T36" fmla="*/ 501 w 774"/>
                <a:gd name="T37" fmla="*/ 8 h 2035"/>
                <a:gd name="T38" fmla="*/ 591 w 774"/>
                <a:gd name="T39" fmla="*/ 56 h 2035"/>
                <a:gd name="T40" fmla="*/ 606 w 774"/>
                <a:gd name="T41" fmla="*/ 86 h 2035"/>
                <a:gd name="T42" fmla="*/ 614 w 774"/>
                <a:gd name="T43" fmla="*/ 144 h 2035"/>
                <a:gd name="T44" fmla="*/ 638 w 774"/>
                <a:gd name="T45" fmla="*/ 148 h 2035"/>
                <a:gd name="T46" fmla="*/ 671 w 774"/>
                <a:gd name="T47" fmla="*/ 129 h 2035"/>
                <a:gd name="T48" fmla="*/ 703 w 774"/>
                <a:gd name="T49" fmla="*/ 242 h 2035"/>
                <a:gd name="T50" fmla="*/ 759 w 774"/>
                <a:gd name="T51" fmla="*/ 461 h 2035"/>
                <a:gd name="T52" fmla="*/ 767 w 774"/>
                <a:gd name="T53" fmla="*/ 815 h 2035"/>
                <a:gd name="T54" fmla="*/ 774 w 774"/>
                <a:gd name="T55" fmla="*/ 1135 h 2035"/>
                <a:gd name="T56" fmla="*/ 758 w 774"/>
                <a:gd name="T57" fmla="*/ 1360 h 2035"/>
                <a:gd name="T58" fmla="*/ 693 w 774"/>
                <a:gd name="T59" fmla="*/ 1550 h 2035"/>
                <a:gd name="T60" fmla="*/ 618 w 774"/>
                <a:gd name="T61" fmla="*/ 1665 h 2035"/>
                <a:gd name="T62" fmla="*/ 557 w 774"/>
                <a:gd name="T63" fmla="*/ 1715 h 2035"/>
                <a:gd name="T64" fmla="*/ 482 w 774"/>
                <a:gd name="T65" fmla="*/ 1733 h 2035"/>
                <a:gd name="T66" fmla="*/ 433 w 774"/>
                <a:gd name="T67" fmla="*/ 1703 h 2035"/>
                <a:gd name="T68" fmla="*/ 402 w 774"/>
                <a:gd name="T69" fmla="*/ 1668 h 2035"/>
                <a:gd name="T70" fmla="*/ 353 w 774"/>
                <a:gd name="T71" fmla="*/ 1692 h 2035"/>
                <a:gd name="T72" fmla="*/ 330 w 774"/>
                <a:gd name="T73" fmla="*/ 1733 h 2035"/>
                <a:gd name="T74" fmla="*/ 326 w 774"/>
                <a:gd name="T75" fmla="*/ 1859 h 2035"/>
                <a:gd name="T76" fmla="*/ 252 w 774"/>
                <a:gd name="T77" fmla="*/ 1944 h 2035"/>
                <a:gd name="T78" fmla="*/ 248 w 774"/>
                <a:gd name="T79" fmla="*/ 1976 h 2035"/>
                <a:gd name="T80" fmla="*/ 261 w 774"/>
                <a:gd name="T81" fmla="*/ 2015 h 2035"/>
                <a:gd name="T82" fmla="*/ 212 w 774"/>
                <a:gd name="T83" fmla="*/ 1961 h 2035"/>
                <a:gd name="T84" fmla="*/ 212 w 774"/>
                <a:gd name="T85" fmla="*/ 1905 h 2035"/>
                <a:gd name="T86" fmla="*/ 264 w 774"/>
                <a:gd name="T87" fmla="*/ 1844 h 2035"/>
                <a:gd name="T88" fmla="*/ 222 w 774"/>
                <a:gd name="T89" fmla="*/ 1721 h 2035"/>
                <a:gd name="T90" fmla="*/ 136 w 774"/>
                <a:gd name="T91" fmla="*/ 1587 h 2035"/>
                <a:gd name="T92" fmla="*/ 48 w 774"/>
                <a:gd name="T93" fmla="*/ 1500 h 2035"/>
                <a:gd name="T94" fmla="*/ 9 w 774"/>
                <a:gd name="T95" fmla="*/ 1414 h 2035"/>
                <a:gd name="T96" fmla="*/ 34 w 774"/>
                <a:gd name="T97" fmla="*/ 1291 h 2035"/>
                <a:gd name="T98" fmla="*/ 114 w 774"/>
                <a:gd name="T99" fmla="*/ 1243 h 2035"/>
                <a:gd name="T100" fmla="*/ 253 w 774"/>
                <a:gd name="T101" fmla="*/ 1222 h 2035"/>
                <a:gd name="T102" fmla="*/ 229 w 774"/>
                <a:gd name="T103" fmla="*/ 1055 h 2035"/>
                <a:gd name="T104" fmla="*/ 172 w 774"/>
                <a:gd name="T105" fmla="*/ 869 h 203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774"/>
                <a:gd name="T160" fmla="*/ 0 h 2035"/>
                <a:gd name="T161" fmla="*/ 774 w 774"/>
                <a:gd name="T162" fmla="*/ 2035 h 2035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774" h="2035">
                  <a:moveTo>
                    <a:pt x="138" y="782"/>
                  </a:moveTo>
                  <a:lnTo>
                    <a:pt x="150" y="782"/>
                  </a:lnTo>
                  <a:lnTo>
                    <a:pt x="161" y="782"/>
                  </a:lnTo>
                  <a:lnTo>
                    <a:pt x="173" y="781"/>
                  </a:lnTo>
                  <a:lnTo>
                    <a:pt x="182" y="778"/>
                  </a:lnTo>
                  <a:lnTo>
                    <a:pt x="188" y="775"/>
                  </a:lnTo>
                  <a:lnTo>
                    <a:pt x="192" y="774"/>
                  </a:lnTo>
                  <a:lnTo>
                    <a:pt x="196" y="771"/>
                  </a:lnTo>
                  <a:lnTo>
                    <a:pt x="198" y="767"/>
                  </a:lnTo>
                  <a:lnTo>
                    <a:pt x="201" y="763"/>
                  </a:lnTo>
                  <a:lnTo>
                    <a:pt x="202" y="758"/>
                  </a:lnTo>
                  <a:lnTo>
                    <a:pt x="204" y="753"/>
                  </a:lnTo>
                  <a:lnTo>
                    <a:pt x="205" y="746"/>
                  </a:lnTo>
                  <a:lnTo>
                    <a:pt x="204" y="735"/>
                  </a:lnTo>
                  <a:lnTo>
                    <a:pt x="201" y="726"/>
                  </a:lnTo>
                  <a:lnTo>
                    <a:pt x="197" y="718"/>
                  </a:lnTo>
                  <a:lnTo>
                    <a:pt x="193" y="709"/>
                  </a:lnTo>
                  <a:lnTo>
                    <a:pt x="188" y="699"/>
                  </a:lnTo>
                  <a:lnTo>
                    <a:pt x="184" y="689"/>
                  </a:lnTo>
                  <a:lnTo>
                    <a:pt x="181" y="677"/>
                  </a:lnTo>
                  <a:lnTo>
                    <a:pt x="181" y="662"/>
                  </a:lnTo>
                  <a:lnTo>
                    <a:pt x="181" y="655"/>
                  </a:lnTo>
                  <a:lnTo>
                    <a:pt x="182" y="649"/>
                  </a:lnTo>
                  <a:lnTo>
                    <a:pt x="185" y="642"/>
                  </a:lnTo>
                  <a:lnTo>
                    <a:pt x="188" y="634"/>
                  </a:lnTo>
                  <a:lnTo>
                    <a:pt x="196" y="618"/>
                  </a:lnTo>
                  <a:lnTo>
                    <a:pt x="205" y="602"/>
                  </a:lnTo>
                  <a:lnTo>
                    <a:pt x="217" y="589"/>
                  </a:lnTo>
                  <a:lnTo>
                    <a:pt x="229" y="577"/>
                  </a:lnTo>
                  <a:lnTo>
                    <a:pt x="234" y="571"/>
                  </a:lnTo>
                  <a:lnTo>
                    <a:pt x="241" y="569"/>
                  </a:lnTo>
                  <a:lnTo>
                    <a:pt x="246" y="566"/>
                  </a:lnTo>
                  <a:lnTo>
                    <a:pt x="253" y="566"/>
                  </a:lnTo>
                  <a:lnTo>
                    <a:pt x="292" y="565"/>
                  </a:lnTo>
                  <a:lnTo>
                    <a:pt x="334" y="563"/>
                  </a:lnTo>
                  <a:lnTo>
                    <a:pt x="356" y="561"/>
                  </a:lnTo>
                  <a:lnTo>
                    <a:pt x="377" y="558"/>
                  </a:lnTo>
                  <a:lnTo>
                    <a:pt x="398" y="554"/>
                  </a:lnTo>
                  <a:lnTo>
                    <a:pt x="418" y="549"/>
                  </a:lnTo>
                  <a:lnTo>
                    <a:pt x="437" y="542"/>
                  </a:lnTo>
                  <a:lnTo>
                    <a:pt x="455" y="534"/>
                  </a:lnTo>
                  <a:lnTo>
                    <a:pt x="463" y="529"/>
                  </a:lnTo>
                  <a:lnTo>
                    <a:pt x="471" y="523"/>
                  </a:lnTo>
                  <a:lnTo>
                    <a:pt x="478" y="518"/>
                  </a:lnTo>
                  <a:lnTo>
                    <a:pt x="485" y="513"/>
                  </a:lnTo>
                  <a:lnTo>
                    <a:pt x="490" y="506"/>
                  </a:lnTo>
                  <a:lnTo>
                    <a:pt x="495" y="499"/>
                  </a:lnTo>
                  <a:lnTo>
                    <a:pt x="501" y="491"/>
                  </a:lnTo>
                  <a:lnTo>
                    <a:pt x="505" y="483"/>
                  </a:lnTo>
                  <a:lnTo>
                    <a:pt x="507" y="474"/>
                  </a:lnTo>
                  <a:lnTo>
                    <a:pt x="510" y="465"/>
                  </a:lnTo>
                  <a:lnTo>
                    <a:pt x="511" y="455"/>
                  </a:lnTo>
                  <a:lnTo>
                    <a:pt x="511" y="445"/>
                  </a:lnTo>
                  <a:lnTo>
                    <a:pt x="511" y="439"/>
                  </a:lnTo>
                  <a:lnTo>
                    <a:pt x="510" y="434"/>
                  </a:lnTo>
                  <a:lnTo>
                    <a:pt x="507" y="429"/>
                  </a:lnTo>
                  <a:lnTo>
                    <a:pt x="505" y="423"/>
                  </a:lnTo>
                  <a:lnTo>
                    <a:pt x="498" y="413"/>
                  </a:lnTo>
                  <a:lnTo>
                    <a:pt x="490" y="404"/>
                  </a:lnTo>
                  <a:lnTo>
                    <a:pt x="482" y="393"/>
                  </a:lnTo>
                  <a:lnTo>
                    <a:pt x="475" y="382"/>
                  </a:lnTo>
                  <a:lnTo>
                    <a:pt x="473" y="377"/>
                  </a:lnTo>
                  <a:lnTo>
                    <a:pt x="471" y="372"/>
                  </a:lnTo>
                  <a:lnTo>
                    <a:pt x="470" y="366"/>
                  </a:lnTo>
                  <a:lnTo>
                    <a:pt x="469" y="361"/>
                  </a:lnTo>
                  <a:lnTo>
                    <a:pt x="470" y="357"/>
                  </a:lnTo>
                  <a:lnTo>
                    <a:pt x="473" y="353"/>
                  </a:lnTo>
                  <a:lnTo>
                    <a:pt x="475" y="349"/>
                  </a:lnTo>
                  <a:lnTo>
                    <a:pt x="479" y="345"/>
                  </a:lnTo>
                  <a:lnTo>
                    <a:pt x="491" y="337"/>
                  </a:lnTo>
                  <a:lnTo>
                    <a:pt x="505" y="329"/>
                  </a:lnTo>
                  <a:lnTo>
                    <a:pt x="519" y="321"/>
                  </a:lnTo>
                  <a:lnTo>
                    <a:pt x="533" y="312"/>
                  </a:lnTo>
                  <a:lnTo>
                    <a:pt x="539" y="306"/>
                  </a:lnTo>
                  <a:lnTo>
                    <a:pt x="545" y="301"/>
                  </a:lnTo>
                  <a:lnTo>
                    <a:pt x="550" y="296"/>
                  </a:lnTo>
                  <a:lnTo>
                    <a:pt x="554" y="289"/>
                  </a:lnTo>
                  <a:lnTo>
                    <a:pt x="554" y="193"/>
                  </a:lnTo>
                  <a:lnTo>
                    <a:pt x="542" y="188"/>
                  </a:lnTo>
                  <a:lnTo>
                    <a:pt x="533" y="185"/>
                  </a:lnTo>
                  <a:lnTo>
                    <a:pt x="526" y="185"/>
                  </a:lnTo>
                  <a:lnTo>
                    <a:pt x="519" y="185"/>
                  </a:lnTo>
                  <a:lnTo>
                    <a:pt x="513" y="188"/>
                  </a:lnTo>
                  <a:lnTo>
                    <a:pt x="506" y="190"/>
                  </a:lnTo>
                  <a:lnTo>
                    <a:pt x="495" y="192"/>
                  </a:lnTo>
                  <a:lnTo>
                    <a:pt x="482" y="193"/>
                  </a:lnTo>
                  <a:lnTo>
                    <a:pt x="473" y="190"/>
                  </a:lnTo>
                  <a:lnTo>
                    <a:pt x="459" y="185"/>
                  </a:lnTo>
                  <a:lnTo>
                    <a:pt x="442" y="177"/>
                  </a:lnTo>
                  <a:lnTo>
                    <a:pt x="422" y="168"/>
                  </a:lnTo>
                  <a:lnTo>
                    <a:pt x="389" y="152"/>
                  </a:lnTo>
                  <a:lnTo>
                    <a:pt x="373" y="144"/>
                  </a:lnTo>
                  <a:lnTo>
                    <a:pt x="475" y="0"/>
                  </a:lnTo>
                  <a:lnTo>
                    <a:pt x="485" y="2"/>
                  </a:lnTo>
                  <a:lnTo>
                    <a:pt x="501" y="8"/>
                  </a:lnTo>
                  <a:lnTo>
                    <a:pt x="521" y="17"/>
                  </a:lnTo>
                  <a:lnTo>
                    <a:pt x="543" y="28"/>
                  </a:lnTo>
                  <a:lnTo>
                    <a:pt x="565" y="40"/>
                  </a:lnTo>
                  <a:lnTo>
                    <a:pt x="583" y="50"/>
                  </a:lnTo>
                  <a:lnTo>
                    <a:pt x="591" y="56"/>
                  </a:lnTo>
                  <a:lnTo>
                    <a:pt x="597" y="60"/>
                  </a:lnTo>
                  <a:lnTo>
                    <a:pt x="601" y="64"/>
                  </a:lnTo>
                  <a:lnTo>
                    <a:pt x="602" y="66"/>
                  </a:lnTo>
                  <a:lnTo>
                    <a:pt x="605" y="74"/>
                  </a:lnTo>
                  <a:lnTo>
                    <a:pt x="606" y="86"/>
                  </a:lnTo>
                  <a:lnTo>
                    <a:pt x="607" y="101"/>
                  </a:lnTo>
                  <a:lnTo>
                    <a:pt x="607" y="114"/>
                  </a:lnTo>
                  <a:lnTo>
                    <a:pt x="609" y="128"/>
                  </a:lnTo>
                  <a:lnTo>
                    <a:pt x="611" y="140"/>
                  </a:lnTo>
                  <a:lnTo>
                    <a:pt x="614" y="144"/>
                  </a:lnTo>
                  <a:lnTo>
                    <a:pt x="617" y="148"/>
                  </a:lnTo>
                  <a:lnTo>
                    <a:pt x="621" y="149"/>
                  </a:lnTo>
                  <a:lnTo>
                    <a:pt x="626" y="150"/>
                  </a:lnTo>
                  <a:lnTo>
                    <a:pt x="633" y="149"/>
                  </a:lnTo>
                  <a:lnTo>
                    <a:pt x="638" y="148"/>
                  </a:lnTo>
                  <a:lnTo>
                    <a:pt x="645" y="144"/>
                  </a:lnTo>
                  <a:lnTo>
                    <a:pt x="651" y="141"/>
                  </a:lnTo>
                  <a:lnTo>
                    <a:pt x="657" y="137"/>
                  </a:lnTo>
                  <a:lnTo>
                    <a:pt x="665" y="133"/>
                  </a:lnTo>
                  <a:lnTo>
                    <a:pt x="671" y="129"/>
                  </a:lnTo>
                  <a:lnTo>
                    <a:pt x="681" y="126"/>
                  </a:lnTo>
                  <a:lnTo>
                    <a:pt x="683" y="152"/>
                  </a:lnTo>
                  <a:lnTo>
                    <a:pt x="689" y="180"/>
                  </a:lnTo>
                  <a:lnTo>
                    <a:pt x="695" y="210"/>
                  </a:lnTo>
                  <a:lnTo>
                    <a:pt x="703" y="242"/>
                  </a:lnTo>
                  <a:lnTo>
                    <a:pt x="714" y="277"/>
                  </a:lnTo>
                  <a:lnTo>
                    <a:pt x="727" y="313"/>
                  </a:lnTo>
                  <a:lnTo>
                    <a:pt x="742" y="352"/>
                  </a:lnTo>
                  <a:lnTo>
                    <a:pt x="758" y="392"/>
                  </a:lnTo>
                  <a:lnTo>
                    <a:pt x="759" y="461"/>
                  </a:lnTo>
                  <a:lnTo>
                    <a:pt x="759" y="531"/>
                  </a:lnTo>
                  <a:lnTo>
                    <a:pt x="762" y="602"/>
                  </a:lnTo>
                  <a:lnTo>
                    <a:pt x="763" y="674"/>
                  </a:lnTo>
                  <a:lnTo>
                    <a:pt x="766" y="745"/>
                  </a:lnTo>
                  <a:lnTo>
                    <a:pt x="767" y="815"/>
                  </a:lnTo>
                  <a:lnTo>
                    <a:pt x="770" y="883"/>
                  </a:lnTo>
                  <a:lnTo>
                    <a:pt x="773" y="950"/>
                  </a:lnTo>
                  <a:lnTo>
                    <a:pt x="774" y="1015"/>
                  </a:lnTo>
                  <a:lnTo>
                    <a:pt x="774" y="1076"/>
                  </a:lnTo>
                  <a:lnTo>
                    <a:pt x="774" y="1135"/>
                  </a:lnTo>
                  <a:lnTo>
                    <a:pt x="774" y="1190"/>
                  </a:lnTo>
                  <a:lnTo>
                    <a:pt x="771" y="1240"/>
                  </a:lnTo>
                  <a:lnTo>
                    <a:pt x="769" y="1286"/>
                  </a:lnTo>
                  <a:lnTo>
                    <a:pt x="765" y="1326"/>
                  </a:lnTo>
                  <a:lnTo>
                    <a:pt x="758" y="1360"/>
                  </a:lnTo>
                  <a:lnTo>
                    <a:pt x="747" y="1403"/>
                  </a:lnTo>
                  <a:lnTo>
                    <a:pt x="730" y="1456"/>
                  </a:lnTo>
                  <a:lnTo>
                    <a:pt x="719" y="1487"/>
                  </a:lnTo>
                  <a:lnTo>
                    <a:pt x="706" y="1518"/>
                  </a:lnTo>
                  <a:lnTo>
                    <a:pt x="693" y="1550"/>
                  </a:lnTo>
                  <a:lnTo>
                    <a:pt x="677" y="1581"/>
                  </a:lnTo>
                  <a:lnTo>
                    <a:pt x="659" y="1611"/>
                  </a:lnTo>
                  <a:lnTo>
                    <a:pt x="639" y="1639"/>
                  </a:lnTo>
                  <a:lnTo>
                    <a:pt x="629" y="1652"/>
                  </a:lnTo>
                  <a:lnTo>
                    <a:pt x="618" y="1665"/>
                  </a:lnTo>
                  <a:lnTo>
                    <a:pt x="607" y="1677"/>
                  </a:lnTo>
                  <a:lnTo>
                    <a:pt x="595" y="1688"/>
                  </a:lnTo>
                  <a:lnTo>
                    <a:pt x="582" y="1697"/>
                  </a:lnTo>
                  <a:lnTo>
                    <a:pt x="570" y="1707"/>
                  </a:lnTo>
                  <a:lnTo>
                    <a:pt x="557" y="1715"/>
                  </a:lnTo>
                  <a:lnTo>
                    <a:pt x="542" y="1721"/>
                  </a:lnTo>
                  <a:lnTo>
                    <a:pt x="527" y="1727"/>
                  </a:lnTo>
                  <a:lnTo>
                    <a:pt x="513" y="1731"/>
                  </a:lnTo>
                  <a:lnTo>
                    <a:pt x="498" y="1733"/>
                  </a:lnTo>
                  <a:lnTo>
                    <a:pt x="482" y="1733"/>
                  </a:lnTo>
                  <a:lnTo>
                    <a:pt x="469" y="1732"/>
                  </a:lnTo>
                  <a:lnTo>
                    <a:pt x="458" y="1729"/>
                  </a:lnTo>
                  <a:lnTo>
                    <a:pt x="450" y="1724"/>
                  </a:lnTo>
                  <a:lnTo>
                    <a:pt x="443" y="1717"/>
                  </a:lnTo>
                  <a:lnTo>
                    <a:pt x="433" y="1703"/>
                  </a:lnTo>
                  <a:lnTo>
                    <a:pt x="423" y="1687"/>
                  </a:lnTo>
                  <a:lnTo>
                    <a:pt x="419" y="1680"/>
                  </a:lnTo>
                  <a:lnTo>
                    <a:pt x="414" y="1675"/>
                  </a:lnTo>
                  <a:lnTo>
                    <a:pt x="409" y="1669"/>
                  </a:lnTo>
                  <a:lnTo>
                    <a:pt x="402" y="1668"/>
                  </a:lnTo>
                  <a:lnTo>
                    <a:pt x="396" y="1668"/>
                  </a:lnTo>
                  <a:lnTo>
                    <a:pt x="386" y="1671"/>
                  </a:lnTo>
                  <a:lnTo>
                    <a:pt x="374" y="1676"/>
                  </a:lnTo>
                  <a:lnTo>
                    <a:pt x="361" y="1685"/>
                  </a:lnTo>
                  <a:lnTo>
                    <a:pt x="353" y="1692"/>
                  </a:lnTo>
                  <a:lnTo>
                    <a:pt x="346" y="1700"/>
                  </a:lnTo>
                  <a:lnTo>
                    <a:pt x="341" y="1707"/>
                  </a:lnTo>
                  <a:lnTo>
                    <a:pt x="336" y="1715"/>
                  </a:lnTo>
                  <a:lnTo>
                    <a:pt x="333" y="1724"/>
                  </a:lnTo>
                  <a:lnTo>
                    <a:pt x="330" y="1733"/>
                  </a:lnTo>
                  <a:lnTo>
                    <a:pt x="329" y="1744"/>
                  </a:lnTo>
                  <a:lnTo>
                    <a:pt x="328" y="1756"/>
                  </a:lnTo>
                  <a:lnTo>
                    <a:pt x="326" y="1784"/>
                  </a:lnTo>
                  <a:lnTo>
                    <a:pt x="326" y="1817"/>
                  </a:lnTo>
                  <a:lnTo>
                    <a:pt x="326" y="1859"/>
                  </a:lnTo>
                  <a:lnTo>
                    <a:pt x="325" y="1908"/>
                  </a:lnTo>
                  <a:lnTo>
                    <a:pt x="292" y="1923"/>
                  </a:lnTo>
                  <a:lnTo>
                    <a:pt x="266" y="1933"/>
                  </a:lnTo>
                  <a:lnTo>
                    <a:pt x="258" y="1939"/>
                  </a:lnTo>
                  <a:lnTo>
                    <a:pt x="252" y="1944"/>
                  </a:lnTo>
                  <a:lnTo>
                    <a:pt x="246" y="1949"/>
                  </a:lnTo>
                  <a:lnTo>
                    <a:pt x="244" y="1956"/>
                  </a:lnTo>
                  <a:lnTo>
                    <a:pt x="244" y="1961"/>
                  </a:lnTo>
                  <a:lnTo>
                    <a:pt x="244" y="1969"/>
                  </a:lnTo>
                  <a:lnTo>
                    <a:pt x="248" y="1976"/>
                  </a:lnTo>
                  <a:lnTo>
                    <a:pt x="252" y="1985"/>
                  </a:lnTo>
                  <a:lnTo>
                    <a:pt x="268" y="2007"/>
                  </a:lnTo>
                  <a:lnTo>
                    <a:pt x="289" y="2035"/>
                  </a:lnTo>
                  <a:lnTo>
                    <a:pt x="274" y="2024"/>
                  </a:lnTo>
                  <a:lnTo>
                    <a:pt x="261" y="2015"/>
                  </a:lnTo>
                  <a:lnTo>
                    <a:pt x="248" y="2004"/>
                  </a:lnTo>
                  <a:lnTo>
                    <a:pt x="237" y="1993"/>
                  </a:lnTo>
                  <a:lnTo>
                    <a:pt x="226" y="1983"/>
                  </a:lnTo>
                  <a:lnTo>
                    <a:pt x="218" y="1972"/>
                  </a:lnTo>
                  <a:lnTo>
                    <a:pt x="212" y="1961"/>
                  </a:lnTo>
                  <a:lnTo>
                    <a:pt x="206" y="1949"/>
                  </a:lnTo>
                  <a:lnTo>
                    <a:pt x="204" y="1939"/>
                  </a:lnTo>
                  <a:lnTo>
                    <a:pt x="204" y="1928"/>
                  </a:lnTo>
                  <a:lnTo>
                    <a:pt x="206" y="1916"/>
                  </a:lnTo>
                  <a:lnTo>
                    <a:pt x="212" y="1905"/>
                  </a:lnTo>
                  <a:lnTo>
                    <a:pt x="220" y="1893"/>
                  </a:lnTo>
                  <a:lnTo>
                    <a:pt x="232" y="1883"/>
                  </a:lnTo>
                  <a:lnTo>
                    <a:pt x="246" y="1872"/>
                  </a:lnTo>
                  <a:lnTo>
                    <a:pt x="265" y="1860"/>
                  </a:lnTo>
                  <a:lnTo>
                    <a:pt x="264" y="1844"/>
                  </a:lnTo>
                  <a:lnTo>
                    <a:pt x="260" y="1825"/>
                  </a:lnTo>
                  <a:lnTo>
                    <a:pt x="253" y="1804"/>
                  </a:lnTo>
                  <a:lnTo>
                    <a:pt x="246" y="1781"/>
                  </a:lnTo>
                  <a:lnTo>
                    <a:pt x="232" y="1743"/>
                  </a:lnTo>
                  <a:lnTo>
                    <a:pt x="222" y="1721"/>
                  </a:lnTo>
                  <a:lnTo>
                    <a:pt x="202" y="1687"/>
                  </a:lnTo>
                  <a:lnTo>
                    <a:pt x="185" y="1656"/>
                  </a:lnTo>
                  <a:lnTo>
                    <a:pt x="168" y="1629"/>
                  </a:lnTo>
                  <a:lnTo>
                    <a:pt x="152" y="1607"/>
                  </a:lnTo>
                  <a:lnTo>
                    <a:pt x="136" y="1587"/>
                  </a:lnTo>
                  <a:lnTo>
                    <a:pt x="122" y="1570"/>
                  </a:lnTo>
                  <a:lnTo>
                    <a:pt x="109" y="1555"/>
                  </a:lnTo>
                  <a:lnTo>
                    <a:pt x="96" y="1542"/>
                  </a:lnTo>
                  <a:lnTo>
                    <a:pt x="70" y="1520"/>
                  </a:lnTo>
                  <a:lnTo>
                    <a:pt x="48" y="1500"/>
                  </a:lnTo>
                  <a:lnTo>
                    <a:pt x="24" y="1480"/>
                  </a:lnTo>
                  <a:lnTo>
                    <a:pt x="0" y="1456"/>
                  </a:lnTo>
                  <a:lnTo>
                    <a:pt x="0" y="1450"/>
                  </a:lnTo>
                  <a:lnTo>
                    <a:pt x="2" y="1435"/>
                  </a:lnTo>
                  <a:lnTo>
                    <a:pt x="9" y="1414"/>
                  </a:lnTo>
                  <a:lnTo>
                    <a:pt x="16" y="1387"/>
                  </a:lnTo>
                  <a:lnTo>
                    <a:pt x="22" y="1356"/>
                  </a:lnTo>
                  <a:lnTo>
                    <a:pt x="29" y="1324"/>
                  </a:lnTo>
                  <a:lnTo>
                    <a:pt x="32" y="1307"/>
                  </a:lnTo>
                  <a:lnTo>
                    <a:pt x="34" y="1291"/>
                  </a:lnTo>
                  <a:lnTo>
                    <a:pt x="36" y="1274"/>
                  </a:lnTo>
                  <a:lnTo>
                    <a:pt x="36" y="1258"/>
                  </a:lnTo>
                  <a:lnTo>
                    <a:pt x="58" y="1252"/>
                  </a:lnTo>
                  <a:lnTo>
                    <a:pt x="85" y="1247"/>
                  </a:lnTo>
                  <a:lnTo>
                    <a:pt x="114" y="1243"/>
                  </a:lnTo>
                  <a:lnTo>
                    <a:pt x="144" y="1240"/>
                  </a:lnTo>
                  <a:lnTo>
                    <a:pt x="174" y="1236"/>
                  </a:lnTo>
                  <a:lnTo>
                    <a:pt x="204" y="1232"/>
                  </a:lnTo>
                  <a:lnTo>
                    <a:pt x="230" y="1228"/>
                  </a:lnTo>
                  <a:lnTo>
                    <a:pt x="253" y="1222"/>
                  </a:lnTo>
                  <a:lnTo>
                    <a:pt x="250" y="1186"/>
                  </a:lnTo>
                  <a:lnTo>
                    <a:pt x="246" y="1151"/>
                  </a:lnTo>
                  <a:lnTo>
                    <a:pt x="241" y="1118"/>
                  </a:lnTo>
                  <a:lnTo>
                    <a:pt x="236" y="1086"/>
                  </a:lnTo>
                  <a:lnTo>
                    <a:pt x="229" y="1055"/>
                  </a:lnTo>
                  <a:lnTo>
                    <a:pt x="222" y="1026"/>
                  </a:lnTo>
                  <a:lnTo>
                    <a:pt x="214" y="996"/>
                  </a:lnTo>
                  <a:lnTo>
                    <a:pt x="206" y="970"/>
                  </a:lnTo>
                  <a:lnTo>
                    <a:pt x="190" y="918"/>
                  </a:lnTo>
                  <a:lnTo>
                    <a:pt x="172" y="869"/>
                  </a:lnTo>
                  <a:lnTo>
                    <a:pt x="154" y="822"/>
                  </a:lnTo>
                  <a:lnTo>
                    <a:pt x="138" y="777"/>
                  </a:lnTo>
                  <a:lnTo>
                    <a:pt x="138" y="782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accent1">
                  <a:lumMod val="20000"/>
                  <a:lumOff val="8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95" b="0" i="0" u="none" strike="noStrike" kern="1200" cap="none" spc="0" normalizeH="0" baseline="0" noProof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6" name="Freeform 15"/>
            <p:cNvSpPr>
              <a:spLocks/>
            </p:cNvSpPr>
            <p:nvPr/>
          </p:nvSpPr>
          <p:spPr bwMode="auto">
            <a:xfrm>
              <a:off x="5673415" y="2251184"/>
              <a:ext cx="175210" cy="295711"/>
            </a:xfrm>
            <a:custGeom>
              <a:avLst/>
              <a:gdLst>
                <a:gd name="T0" fmla="*/ 1091 w 2429"/>
                <a:gd name="T1" fmla="*/ 3591 h 4104"/>
                <a:gd name="T2" fmla="*/ 969 w 2429"/>
                <a:gd name="T3" fmla="*/ 3538 h 4104"/>
                <a:gd name="T4" fmla="*/ 879 w 2429"/>
                <a:gd name="T5" fmla="*/ 3385 h 4104"/>
                <a:gd name="T6" fmla="*/ 885 w 2429"/>
                <a:gd name="T7" fmla="*/ 3222 h 4104"/>
                <a:gd name="T8" fmla="*/ 998 w 2429"/>
                <a:gd name="T9" fmla="*/ 3006 h 4104"/>
                <a:gd name="T10" fmla="*/ 947 w 2429"/>
                <a:gd name="T11" fmla="*/ 2908 h 4104"/>
                <a:gd name="T12" fmla="*/ 1135 w 2429"/>
                <a:gd name="T13" fmla="*/ 2812 h 4104"/>
                <a:gd name="T14" fmla="*/ 1015 w 2429"/>
                <a:gd name="T15" fmla="*/ 2582 h 4104"/>
                <a:gd name="T16" fmla="*/ 877 w 2429"/>
                <a:gd name="T17" fmla="*/ 2680 h 4104"/>
                <a:gd name="T18" fmla="*/ 769 w 2429"/>
                <a:gd name="T19" fmla="*/ 2834 h 4104"/>
                <a:gd name="T20" fmla="*/ 657 w 2429"/>
                <a:gd name="T21" fmla="*/ 2884 h 4104"/>
                <a:gd name="T22" fmla="*/ 482 w 2429"/>
                <a:gd name="T23" fmla="*/ 2853 h 4104"/>
                <a:gd name="T24" fmla="*/ 469 w 2429"/>
                <a:gd name="T25" fmla="*/ 2730 h 4104"/>
                <a:gd name="T26" fmla="*/ 469 w 2429"/>
                <a:gd name="T27" fmla="*/ 2617 h 4104"/>
                <a:gd name="T28" fmla="*/ 502 w 2429"/>
                <a:gd name="T29" fmla="*/ 2349 h 4104"/>
                <a:gd name="T30" fmla="*/ 258 w 2429"/>
                <a:gd name="T31" fmla="*/ 2444 h 4104"/>
                <a:gd name="T32" fmla="*/ 206 w 2429"/>
                <a:gd name="T33" fmla="*/ 2152 h 4104"/>
                <a:gd name="T34" fmla="*/ 126 w 2429"/>
                <a:gd name="T35" fmla="*/ 2040 h 4104"/>
                <a:gd name="T36" fmla="*/ 54 w 2429"/>
                <a:gd name="T37" fmla="*/ 1780 h 4104"/>
                <a:gd name="T38" fmla="*/ 84 w 2429"/>
                <a:gd name="T39" fmla="*/ 1511 h 4104"/>
                <a:gd name="T40" fmla="*/ 229 w 2429"/>
                <a:gd name="T41" fmla="*/ 1342 h 4104"/>
                <a:gd name="T42" fmla="*/ 366 w 2429"/>
                <a:gd name="T43" fmla="*/ 1270 h 4104"/>
                <a:gd name="T44" fmla="*/ 426 w 2429"/>
                <a:gd name="T45" fmla="*/ 1098 h 4104"/>
                <a:gd name="T46" fmla="*/ 318 w 2429"/>
                <a:gd name="T47" fmla="*/ 915 h 4104"/>
                <a:gd name="T48" fmla="*/ 241 w 2429"/>
                <a:gd name="T49" fmla="*/ 739 h 4104"/>
                <a:gd name="T50" fmla="*/ 212 w 2429"/>
                <a:gd name="T51" fmla="*/ 382 h 4104"/>
                <a:gd name="T52" fmla="*/ 378 w 2429"/>
                <a:gd name="T53" fmla="*/ 318 h 4104"/>
                <a:gd name="T54" fmla="*/ 537 w 2429"/>
                <a:gd name="T55" fmla="*/ 222 h 4104"/>
                <a:gd name="T56" fmla="*/ 674 w 2429"/>
                <a:gd name="T57" fmla="*/ 180 h 4104"/>
                <a:gd name="T58" fmla="*/ 786 w 2429"/>
                <a:gd name="T59" fmla="*/ 0 h 4104"/>
                <a:gd name="T60" fmla="*/ 993 w 2429"/>
                <a:gd name="T61" fmla="*/ 186 h 4104"/>
                <a:gd name="T62" fmla="*/ 997 w 2429"/>
                <a:gd name="T63" fmla="*/ 317 h 4104"/>
                <a:gd name="T64" fmla="*/ 1121 w 2429"/>
                <a:gd name="T65" fmla="*/ 284 h 4104"/>
                <a:gd name="T66" fmla="*/ 1257 w 2429"/>
                <a:gd name="T67" fmla="*/ 342 h 4104"/>
                <a:gd name="T68" fmla="*/ 1253 w 2429"/>
                <a:gd name="T69" fmla="*/ 474 h 4104"/>
                <a:gd name="T70" fmla="*/ 1067 w 2429"/>
                <a:gd name="T71" fmla="*/ 613 h 4104"/>
                <a:gd name="T72" fmla="*/ 919 w 2429"/>
                <a:gd name="T73" fmla="*/ 785 h 4104"/>
                <a:gd name="T74" fmla="*/ 930 w 2429"/>
                <a:gd name="T75" fmla="*/ 1364 h 4104"/>
                <a:gd name="T76" fmla="*/ 923 w 2429"/>
                <a:gd name="T77" fmla="*/ 1895 h 4104"/>
                <a:gd name="T78" fmla="*/ 902 w 2429"/>
                <a:gd name="T79" fmla="*/ 2283 h 4104"/>
                <a:gd name="T80" fmla="*/ 1122 w 2429"/>
                <a:gd name="T81" fmla="*/ 2200 h 4104"/>
                <a:gd name="T82" fmla="*/ 1193 w 2429"/>
                <a:gd name="T83" fmla="*/ 2263 h 4104"/>
                <a:gd name="T84" fmla="*/ 1263 w 2429"/>
                <a:gd name="T85" fmla="*/ 2299 h 4104"/>
                <a:gd name="T86" fmla="*/ 1386 w 2429"/>
                <a:gd name="T87" fmla="*/ 2228 h 4104"/>
                <a:gd name="T88" fmla="*/ 1451 w 2429"/>
                <a:gd name="T89" fmla="*/ 1964 h 4104"/>
                <a:gd name="T90" fmla="*/ 1683 w 2429"/>
                <a:gd name="T91" fmla="*/ 2001 h 4104"/>
                <a:gd name="T92" fmla="*/ 1764 w 2429"/>
                <a:gd name="T93" fmla="*/ 2087 h 4104"/>
                <a:gd name="T94" fmla="*/ 1908 w 2429"/>
                <a:gd name="T95" fmla="*/ 2176 h 4104"/>
                <a:gd name="T96" fmla="*/ 2239 w 2429"/>
                <a:gd name="T97" fmla="*/ 2744 h 4104"/>
                <a:gd name="T98" fmla="*/ 2419 w 2429"/>
                <a:gd name="T99" fmla="*/ 3202 h 4104"/>
                <a:gd name="T100" fmla="*/ 2353 w 2429"/>
                <a:gd name="T101" fmla="*/ 3359 h 4104"/>
                <a:gd name="T102" fmla="*/ 2168 w 2429"/>
                <a:gd name="T103" fmla="*/ 3413 h 4104"/>
                <a:gd name="T104" fmla="*/ 2279 w 2429"/>
                <a:gd name="T105" fmla="*/ 3557 h 4104"/>
                <a:gd name="T106" fmla="*/ 2253 w 2429"/>
                <a:gd name="T107" fmla="*/ 3674 h 4104"/>
                <a:gd name="T108" fmla="*/ 2164 w 2429"/>
                <a:gd name="T109" fmla="*/ 3794 h 4104"/>
                <a:gd name="T110" fmla="*/ 1927 w 2429"/>
                <a:gd name="T111" fmla="*/ 3900 h 4104"/>
                <a:gd name="T112" fmla="*/ 1928 w 2429"/>
                <a:gd name="T113" fmla="*/ 4023 h 4104"/>
                <a:gd name="T114" fmla="*/ 1860 w 2429"/>
                <a:gd name="T115" fmla="*/ 3726 h 4104"/>
                <a:gd name="T116" fmla="*/ 1703 w 2429"/>
                <a:gd name="T117" fmla="*/ 3623 h 4104"/>
                <a:gd name="T118" fmla="*/ 1400 w 2429"/>
                <a:gd name="T119" fmla="*/ 4075 h 4104"/>
                <a:gd name="T120" fmla="*/ 1222 w 2429"/>
                <a:gd name="T121" fmla="*/ 3990 h 4104"/>
                <a:gd name="T122" fmla="*/ 1167 w 2429"/>
                <a:gd name="T123" fmla="*/ 3823 h 4104"/>
                <a:gd name="T124" fmla="*/ 1203 w 2429"/>
                <a:gd name="T125" fmla="*/ 3726 h 410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429"/>
                <a:gd name="T190" fmla="*/ 0 h 4104"/>
                <a:gd name="T191" fmla="*/ 2429 w 2429"/>
                <a:gd name="T192" fmla="*/ 4104 h 410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429" h="4104">
                  <a:moveTo>
                    <a:pt x="1203" y="3720"/>
                  </a:moveTo>
                  <a:lnTo>
                    <a:pt x="1210" y="3720"/>
                  </a:lnTo>
                  <a:lnTo>
                    <a:pt x="1201" y="3720"/>
                  </a:lnTo>
                  <a:lnTo>
                    <a:pt x="1193" y="3718"/>
                  </a:lnTo>
                  <a:lnTo>
                    <a:pt x="1186" y="3716"/>
                  </a:lnTo>
                  <a:lnTo>
                    <a:pt x="1178" y="3712"/>
                  </a:lnTo>
                  <a:lnTo>
                    <a:pt x="1171" y="3710"/>
                  </a:lnTo>
                  <a:lnTo>
                    <a:pt x="1165" y="3704"/>
                  </a:lnTo>
                  <a:lnTo>
                    <a:pt x="1159" y="3699"/>
                  </a:lnTo>
                  <a:lnTo>
                    <a:pt x="1154" y="3694"/>
                  </a:lnTo>
                  <a:lnTo>
                    <a:pt x="1143" y="3682"/>
                  </a:lnTo>
                  <a:lnTo>
                    <a:pt x="1134" y="3667"/>
                  </a:lnTo>
                  <a:lnTo>
                    <a:pt x="1126" y="3651"/>
                  </a:lnTo>
                  <a:lnTo>
                    <a:pt x="1117" y="3637"/>
                  </a:lnTo>
                  <a:lnTo>
                    <a:pt x="1109" y="3621"/>
                  </a:lnTo>
                  <a:lnTo>
                    <a:pt x="1101" y="3605"/>
                  </a:lnTo>
                  <a:lnTo>
                    <a:pt x="1091" y="3591"/>
                  </a:lnTo>
                  <a:lnTo>
                    <a:pt x="1082" y="3578"/>
                  </a:lnTo>
                  <a:lnTo>
                    <a:pt x="1077" y="3573"/>
                  </a:lnTo>
                  <a:lnTo>
                    <a:pt x="1071" y="3567"/>
                  </a:lnTo>
                  <a:lnTo>
                    <a:pt x="1065" y="3563"/>
                  </a:lnTo>
                  <a:lnTo>
                    <a:pt x="1059" y="3559"/>
                  </a:lnTo>
                  <a:lnTo>
                    <a:pt x="1053" y="3557"/>
                  </a:lnTo>
                  <a:lnTo>
                    <a:pt x="1045" y="3554"/>
                  </a:lnTo>
                  <a:lnTo>
                    <a:pt x="1038" y="3553"/>
                  </a:lnTo>
                  <a:lnTo>
                    <a:pt x="1029" y="3551"/>
                  </a:lnTo>
                  <a:lnTo>
                    <a:pt x="1019" y="3551"/>
                  </a:lnTo>
                  <a:lnTo>
                    <a:pt x="1014" y="3551"/>
                  </a:lnTo>
                  <a:lnTo>
                    <a:pt x="1006" y="3551"/>
                  </a:lnTo>
                  <a:lnTo>
                    <a:pt x="993" y="3551"/>
                  </a:lnTo>
                  <a:lnTo>
                    <a:pt x="985" y="3551"/>
                  </a:lnTo>
                  <a:lnTo>
                    <a:pt x="978" y="3547"/>
                  </a:lnTo>
                  <a:lnTo>
                    <a:pt x="973" y="3543"/>
                  </a:lnTo>
                  <a:lnTo>
                    <a:pt x="969" y="3538"/>
                  </a:lnTo>
                  <a:lnTo>
                    <a:pt x="962" y="3523"/>
                  </a:lnTo>
                  <a:lnTo>
                    <a:pt x="957" y="3510"/>
                  </a:lnTo>
                  <a:lnTo>
                    <a:pt x="945" y="3513"/>
                  </a:lnTo>
                  <a:lnTo>
                    <a:pt x="934" y="3513"/>
                  </a:lnTo>
                  <a:lnTo>
                    <a:pt x="925" y="3513"/>
                  </a:lnTo>
                  <a:lnTo>
                    <a:pt x="917" y="3510"/>
                  </a:lnTo>
                  <a:lnTo>
                    <a:pt x="910" y="3506"/>
                  </a:lnTo>
                  <a:lnTo>
                    <a:pt x="903" y="3501"/>
                  </a:lnTo>
                  <a:lnTo>
                    <a:pt x="898" y="3494"/>
                  </a:lnTo>
                  <a:lnTo>
                    <a:pt x="893" y="3487"/>
                  </a:lnTo>
                  <a:lnTo>
                    <a:pt x="889" y="3479"/>
                  </a:lnTo>
                  <a:lnTo>
                    <a:pt x="886" y="3470"/>
                  </a:lnTo>
                  <a:lnTo>
                    <a:pt x="883" y="3459"/>
                  </a:lnTo>
                  <a:lnTo>
                    <a:pt x="882" y="3449"/>
                  </a:lnTo>
                  <a:lnTo>
                    <a:pt x="879" y="3426"/>
                  </a:lnTo>
                  <a:lnTo>
                    <a:pt x="878" y="3401"/>
                  </a:lnTo>
                  <a:lnTo>
                    <a:pt x="879" y="3385"/>
                  </a:lnTo>
                  <a:lnTo>
                    <a:pt x="882" y="3369"/>
                  </a:lnTo>
                  <a:lnTo>
                    <a:pt x="887" y="3355"/>
                  </a:lnTo>
                  <a:lnTo>
                    <a:pt x="893" y="3343"/>
                  </a:lnTo>
                  <a:lnTo>
                    <a:pt x="905" y="3321"/>
                  </a:lnTo>
                  <a:lnTo>
                    <a:pt x="915" y="3299"/>
                  </a:lnTo>
                  <a:lnTo>
                    <a:pt x="907" y="3297"/>
                  </a:lnTo>
                  <a:lnTo>
                    <a:pt x="901" y="3293"/>
                  </a:lnTo>
                  <a:lnTo>
                    <a:pt x="894" y="3289"/>
                  </a:lnTo>
                  <a:lnTo>
                    <a:pt x="887" y="3283"/>
                  </a:lnTo>
                  <a:lnTo>
                    <a:pt x="881" y="3278"/>
                  </a:lnTo>
                  <a:lnTo>
                    <a:pt x="877" y="3270"/>
                  </a:lnTo>
                  <a:lnTo>
                    <a:pt x="874" y="3261"/>
                  </a:lnTo>
                  <a:lnTo>
                    <a:pt x="873" y="3250"/>
                  </a:lnTo>
                  <a:lnTo>
                    <a:pt x="874" y="3243"/>
                  </a:lnTo>
                  <a:lnTo>
                    <a:pt x="875" y="3237"/>
                  </a:lnTo>
                  <a:lnTo>
                    <a:pt x="879" y="3230"/>
                  </a:lnTo>
                  <a:lnTo>
                    <a:pt x="885" y="3222"/>
                  </a:lnTo>
                  <a:lnTo>
                    <a:pt x="898" y="3207"/>
                  </a:lnTo>
                  <a:lnTo>
                    <a:pt x="913" y="3190"/>
                  </a:lnTo>
                  <a:lnTo>
                    <a:pt x="927" y="3173"/>
                  </a:lnTo>
                  <a:lnTo>
                    <a:pt x="941" y="3154"/>
                  </a:lnTo>
                  <a:lnTo>
                    <a:pt x="947" y="3145"/>
                  </a:lnTo>
                  <a:lnTo>
                    <a:pt x="951" y="3134"/>
                  </a:lnTo>
                  <a:lnTo>
                    <a:pt x="955" y="3123"/>
                  </a:lnTo>
                  <a:lnTo>
                    <a:pt x="957" y="3113"/>
                  </a:lnTo>
                  <a:lnTo>
                    <a:pt x="957" y="3098"/>
                  </a:lnTo>
                  <a:lnTo>
                    <a:pt x="957" y="3075"/>
                  </a:lnTo>
                  <a:lnTo>
                    <a:pt x="958" y="3066"/>
                  </a:lnTo>
                  <a:lnTo>
                    <a:pt x="959" y="3058"/>
                  </a:lnTo>
                  <a:lnTo>
                    <a:pt x="962" y="3050"/>
                  </a:lnTo>
                  <a:lnTo>
                    <a:pt x="966" y="3042"/>
                  </a:lnTo>
                  <a:lnTo>
                    <a:pt x="975" y="3029"/>
                  </a:lnTo>
                  <a:lnTo>
                    <a:pt x="987" y="3017"/>
                  </a:lnTo>
                  <a:lnTo>
                    <a:pt x="998" y="3006"/>
                  </a:lnTo>
                  <a:lnTo>
                    <a:pt x="1007" y="2994"/>
                  </a:lnTo>
                  <a:lnTo>
                    <a:pt x="1011" y="2989"/>
                  </a:lnTo>
                  <a:lnTo>
                    <a:pt x="1014" y="2982"/>
                  </a:lnTo>
                  <a:lnTo>
                    <a:pt x="1017" y="2976"/>
                  </a:lnTo>
                  <a:lnTo>
                    <a:pt x="1017" y="2968"/>
                  </a:lnTo>
                  <a:lnTo>
                    <a:pt x="1017" y="2960"/>
                  </a:lnTo>
                  <a:lnTo>
                    <a:pt x="1014" y="2953"/>
                  </a:lnTo>
                  <a:lnTo>
                    <a:pt x="1010" y="2948"/>
                  </a:lnTo>
                  <a:lnTo>
                    <a:pt x="1006" y="2944"/>
                  </a:lnTo>
                  <a:lnTo>
                    <a:pt x="994" y="2938"/>
                  </a:lnTo>
                  <a:lnTo>
                    <a:pt x="981" y="2933"/>
                  </a:lnTo>
                  <a:lnTo>
                    <a:pt x="974" y="2930"/>
                  </a:lnTo>
                  <a:lnTo>
                    <a:pt x="967" y="2928"/>
                  </a:lnTo>
                  <a:lnTo>
                    <a:pt x="962" y="2925"/>
                  </a:lnTo>
                  <a:lnTo>
                    <a:pt x="957" y="2921"/>
                  </a:lnTo>
                  <a:lnTo>
                    <a:pt x="951" y="2914"/>
                  </a:lnTo>
                  <a:lnTo>
                    <a:pt x="947" y="2908"/>
                  </a:lnTo>
                  <a:lnTo>
                    <a:pt x="946" y="2900"/>
                  </a:lnTo>
                  <a:lnTo>
                    <a:pt x="945" y="2889"/>
                  </a:lnTo>
                  <a:lnTo>
                    <a:pt x="946" y="2885"/>
                  </a:lnTo>
                  <a:lnTo>
                    <a:pt x="947" y="2880"/>
                  </a:lnTo>
                  <a:lnTo>
                    <a:pt x="949" y="2874"/>
                  </a:lnTo>
                  <a:lnTo>
                    <a:pt x="953" y="2869"/>
                  </a:lnTo>
                  <a:lnTo>
                    <a:pt x="957" y="2864"/>
                  </a:lnTo>
                  <a:lnTo>
                    <a:pt x="961" y="2860"/>
                  </a:lnTo>
                  <a:lnTo>
                    <a:pt x="965" y="2856"/>
                  </a:lnTo>
                  <a:lnTo>
                    <a:pt x="969" y="2853"/>
                  </a:lnTo>
                  <a:lnTo>
                    <a:pt x="1066" y="2853"/>
                  </a:lnTo>
                  <a:lnTo>
                    <a:pt x="1087" y="2845"/>
                  </a:lnTo>
                  <a:lnTo>
                    <a:pt x="1110" y="2836"/>
                  </a:lnTo>
                  <a:lnTo>
                    <a:pt x="1121" y="2829"/>
                  </a:lnTo>
                  <a:lnTo>
                    <a:pt x="1130" y="2821"/>
                  </a:lnTo>
                  <a:lnTo>
                    <a:pt x="1133" y="2817"/>
                  </a:lnTo>
                  <a:lnTo>
                    <a:pt x="1135" y="2812"/>
                  </a:lnTo>
                  <a:lnTo>
                    <a:pt x="1137" y="2805"/>
                  </a:lnTo>
                  <a:lnTo>
                    <a:pt x="1138" y="2800"/>
                  </a:lnTo>
                  <a:lnTo>
                    <a:pt x="1137" y="2789"/>
                  </a:lnTo>
                  <a:lnTo>
                    <a:pt x="1134" y="2776"/>
                  </a:lnTo>
                  <a:lnTo>
                    <a:pt x="1129" y="2761"/>
                  </a:lnTo>
                  <a:lnTo>
                    <a:pt x="1123" y="2745"/>
                  </a:lnTo>
                  <a:lnTo>
                    <a:pt x="1107" y="2709"/>
                  </a:lnTo>
                  <a:lnTo>
                    <a:pt x="1087" y="2673"/>
                  </a:lnTo>
                  <a:lnTo>
                    <a:pt x="1078" y="2654"/>
                  </a:lnTo>
                  <a:lnTo>
                    <a:pt x="1067" y="2638"/>
                  </a:lnTo>
                  <a:lnTo>
                    <a:pt x="1057" y="2622"/>
                  </a:lnTo>
                  <a:lnTo>
                    <a:pt x="1046" y="2609"/>
                  </a:lnTo>
                  <a:lnTo>
                    <a:pt x="1037" y="2598"/>
                  </a:lnTo>
                  <a:lnTo>
                    <a:pt x="1027" y="2589"/>
                  </a:lnTo>
                  <a:lnTo>
                    <a:pt x="1022" y="2586"/>
                  </a:lnTo>
                  <a:lnTo>
                    <a:pt x="1018" y="2584"/>
                  </a:lnTo>
                  <a:lnTo>
                    <a:pt x="1015" y="2582"/>
                  </a:lnTo>
                  <a:lnTo>
                    <a:pt x="1011" y="2582"/>
                  </a:lnTo>
                  <a:lnTo>
                    <a:pt x="1003" y="2582"/>
                  </a:lnTo>
                  <a:lnTo>
                    <a:pt x="997" y="2585"/>
                  </a:lnTo>
                  <a:lnTo>
                    <a:pt x="990" y="2586"/>
                  </a:lnTo>
                  <a:lnTo>
                    <a:pt x="985" y="2590"/>
                  </a:lnTo>
                  <a:lnTo>
                    <a:pt x="974" y="2598"/>
                  </a:lnTo>
                  <a:lnTo>
                    <a:pt x="965" y="2609"/>
                  </a:lnTo>
                  <a:lnTo>
                    <a:pt x="957" y="2620"/>
                  </a:lnTo>
                  <a:lnTo>
                    <a:pt x="949" y="2630"/>
                  </a:lnTo>
                  <a:lnTo>
                    <a:pt x="942" y="2641"/>
                  </a:lnTo>
                  <a:lnTo>
                    <a:pt x="933" y="2649"/>
                  </a:lnTo>
                  <a:lnTo>
                    <a:pt x="923" y="2656"/>
                  </a:lnTo>
                  <a:lnTo>
                    <a:pt x="914" y="2662"/>
                  </a:lnTo>
                  <a:lnTo>
                    <a:pt x="905" y="2666"/>
                  </a:lnTo>
                  <a:lnTo>
                    <a:pt x="894" y="2670"/>
                  </a:lnTo>
                  <a:lnTo>
                    <a:pt x="885" y="2674"/>
                  </a:lnTo>
                  <a:lnTo>
                    <a:pt x="877" y="2680"/>
                  </a:lnTo>
                  <a:lnTo>
                    <a:pt x="867" y="2688"/>
                  </a:lnTo>
                  <a:lnTo>
                    <a:pt x="861" y="2697"/>
                  </a:lnTo>
                  <a:lnTo>
                    <a:pt x="857" y="2702"/>
                  </a:lnTo>
                  <a:lnTo>
                    <a:pt x="853" y="2709"/>
                  </a:lnTo>
                  <a:lnTo>
                    <a:pt x="850" y="2717"/>
                  </a:lnTo>
                  <a:lnTo>
                    <a:pt x="847" y="2724"/>
                  </a:lnTo>
                  <a:lnTo>
                    <a:pt x="842" y="2740"/>
                  </a:lnTo>
                  <a:lnTo>
                    <a:pt x="838" y="2757"/>
                  </a:lnTo>
                  <a:lnTo>
                    <a:pt x="833" y="2774"/>
                  </a:lnTo>
                  <a:lnTo>
                    <a:pt x="826" y="2790"/>
                  </a:lnTo>
                  <a:lnTo>
                    <a:pt x="823" y="2797"/>
                  </a:lnTo>
                  <a:lnTo>
                    <a:pt x="818" y="2805"/>
                  </a:lnTo>
                  <a:lnTo>
                    <a:pt x="813" y="2812"/>
                  </a:lnTo>
                  <a:lnTo>
                    <a:pt x="806" y="2817"/>
                  </a:lnTo>
                  <a:lnTo>
                    <a:pt x="791" y="2825"/>
                  </a:lnTo>
                  <a:lnTo>
                    <a:pt x="777" y="2830"/>
                  </a:lnTo>
                  <a:lnTo>
                    <a:pt x="769" y="2834"/>
                  </a:lnTo>
                  <a:lnTo>
                    <a:pt x="761" y="2840"/>
                  </a:lnTo>
                  <a:lnTo>
                    <a:pt x="753" y="2845"/>
                  </a:lnTo>
                  <a:lnTo>
                    <a:pt x="746" y="2853"/>
                  </a:lnTo>
                  <a:lnTo>
                    <a:pt x="741" y="2858"/>
                  </a:lnTo>
                  <a:lnTo>
                    <a:pt x="735" y="2865"/>
                  </a:lnTo>
                  <a:lnTo>
                    <a:pt x="731" y="2872"/>
                  </a:lnTo>
                  <a:lnTo>
                    <a:pt x="726" y="2878"/>
                  </a:lnTo>
                  <a:lnTo>
                    <a:pt x="722" y="2885"/>
                  </a:lnTo>
                  <a:lnTo>
                    <a:pt x="715" y="2890"/>
                  </a:lnTo>
                  <a:lnTo>
                    <a:pt x="711" y="2893"/>
                  </a:lnTo>
                  <a:lnTo>
                    <a:pt x="707" y="2894"/>
                  </a:lnTo>
                  <a:lnTo>
                    <a:pt x="703" y="2896"/>
                  </a:lnTo>
                  <a:lnTo>
                    <a:pt x="698" y="2896"/>
                  </a:lnTo>
                  <a:lnTo>
                    <a:pt x="685" y="2894"/>
                  </a:lnTo>
                  <a:lnTo>
                    <a:pt x="674" y="2893"/>
                  </a:lnTo>
                  <a:lnTo>
                    <a:pt x="665" y="2889"/>
                  </a:lnTo>
                  <a:lnTo>
                    <a:pt x="657" y="2884"/>
                  </a:lnTo>
                  <a:lnTo>
                    <a:pt x="643" y="2873"/>
                  </a:lnTo>
                  <a:lnTo>
                    <a:pt x="631" y="2860"/>
                  </a:lnTo>
                  <a:lnTo>
                    <a:pt x="621" y="2846"/>
                  </a:lnTo>
                  <a:lnTo>
                    <a:pt x="606" y="2834"/>
                  </a:lnTo>
                  <a:lnTo>
                    <a:pt x="598" y="2830"/>
                  </a:lnTo>
                  <a:lnTo>
                    <a:pt x="589" y="2826"/>
                  </a:lnTo>
                  <a:lnTo>
                    <a:pt x="578" y="2824"/>
                  </a:lnTo>
                  <a:lnTo>
                    <a:pt x="566" y="2824"/>
                  </a:lnTo>
                  <a:lnTo>
                    <a:pt x="556" y="2825"/>
                  </a:lnTo>
                  <a:lnTo>
                    <a:pt x="546" y="2828"/>
                  </a:lnTo>
                  <a:lnTo>
                    <a:pt x="540" y="2833"/>
                  </a:lnTo>
                  <a:lnTo>
                    <a:pt x="532" y="2838"/>
                  </a:lnTo>
                  <a:lnTo>
                    <a:pt x="524" y="2844"/>
                  </a:lnTo>
                  <a:lnTo>
                    <a:pt x="516" y="2849"/>
                  </a:lnTo>
                  <a:lnTo>
                    <a:pt x="505" y="2852"/>
                  </a:lnTo>
                  <a:lnTo>
                    <a:pt x="493" y="2853"/>
                  </a:lnTo>
                  <a:lnTo>
                    <a:pt x="482" y="2853"/>
                  </a:lnTo>
                  <a:lnTo>
                    <a:pt x="472" y="2850"/>
                  </a:lnTo>
                  <a:lnTo>
                    <a:pt x="461" y="2846"/>
                  </a:lnTo>
                  <a:lnTo>
                    <a:pt x="452" y="2841"/>
                  </a:lnTo>
                  <a:lnTo>
                    <a:pt x="444" y="2833"/>
                  </a:lnTo>
                  <a:lnTo>
                    <a:pt x="438" y="2825"/>
                  </a:lnTo>
                  <a:lnTo>
                    <a:pt x="436" y="2821"/>
                  </a:lnTo>
                  <a:lnTo>
                    <a:pt x="434" y="2816"/>
                  </a:lnTo>
                  <a:lnTo>
                    <a:pt x="433" y="2810"/>
                  </a:lnTo>
                  <a:lnTo>
                    <a:pt x="433" y="2805"/>
                  </a:lnTo>
                  <a:lnTo>
                    <a:pt x="433" y="2797"/>
                  </a:lnTo>
                  <a:lnTo>
                    <a:pt x="434" y="2790"/>
                  </a:lnTo>
                  <a:lnTo>
                    <a:pt x="437" y="2784"/>
                  </a:lnTo>
                  <a:lnTo>
                    <a:pt x="440" y="2777"/>
                  </a:lnTo>
                  <a:lnTo>
                    <a:pt x="446" y="2765"/>
                  </a:lnTo>
                  <a:lnTo>
                    <a:pt x="454" y="2754"/>
                  </a:lnTo>
                  <a:lnTo>
                    <a:pt x="462" y="2742"/>
                  </a:lnTo>
                  <a:lnTo>
                    <a:pt x="469" y="2730"/>
                  </a:lnTo>
                  <a:lnTo>
                    <a:pt x="472" y="2724"/>
                  </a:lnTo>
                  <a:lnTo>
                    <a:pt x="473" y="2717"/>
                  </a:lnTo>
                  <a:lnTo>
                    <a:pt x="474" y="2710"/>
                  </a:lnTo>
                  <a:lnTo>
                    <a:pt x="476" y="2702"/>
                  </a:lnTo>
                  <a:lnTo>
                    <a:pt x="474" y="2694"/>
                  </a:lnTo>
                  <a:lnTo>
                    <a:pt x="472" y="2688"/>
                  </a:lnTo>
                  <a:lnTo>
                    <a:pt x="468" y="2681"/>
                  </a:lnTo>
                  <a:lnTo>
                    <a:pt x="464" y="2674"/>
                  </a:lnTo>
                  <a:lnTo>
                    <a:pt x="458" y="2669"/>
                  </a:lnTo>
                  <a:lnTo>
                    <a:pt x="456" y="2661"/>
                  </a:lnTo>
                  <a:lnTo>
                    <a:pt x="452" y="2653"/>
                  </a:lnTo>
                  <a:lnTo>
                    <a:pt x="452" y="2642"/>
                  </a:lnTo>
                  <a:lnTo>
                    <a:pt x="452" y="2636"/>
                  </a:lnTo>
                  <a:lnTo>
                    <a:pt x="456" y="2630"/>
                  </a:lnTo>
                  <a:lnTo>
                    <a:pt x="460" y="2626"/>
                  </a:lnTo>
                  <a:lnTo>
                    <a:pt x="464" y="2621"/>
                  </a:lnTo>
                  <a:lnTo>
                    <a:pt x="469" y="2617"/>
                  </a:lnTo>
                  <a:lnTo>
                    <a:pt x="474" y="2612"/>
                  </a:lnTo>
                  <a:lnTo>
                    <a:pt x="478" y="2606"/>
                  </a:lnTo>
                  <a:lnTo>
                    <a:pt x="481" y="2601"/>
                  </a:lnTo>
                  <a:lnTo>
                    <a:pt x="496" y="2554"/>
                  </a:lnTo>
                  <a:lnTo>
                    <a:pt x="509" y="2506"/>
                  </a:lnTo>
                  <a:lnTo>
                    <a:pt x="514" y="2483"/>
                  </a:lnTo>
                  <a:lnTo>
                    <a:pt x="520" y="2457"/>
                  </a:lnTo>
                  <a:lnTo>
                    <a:pt x="522" y="2433"/>
                  </a:lnTo>
                  <a:lnTo>
                    <a:pt x="524" y="2408"/>
                  </a:lnTo>
                  <a:lnTo>
                    <a:pt x="522" y="2391"/>
                  </a:lnTo>
                  <a:lnTo>
                    <a:pt x="521" y="2377"/>
                  </a:lnTo>
                  <a:lnTo>
                    <a:pt x="520" y="2371"/>
                  </a:lnTo>
                  <a:lnTo>
                    <a:pt x="517" y="2365"/>
                  </a:lnTo>
                  <a:lnTo>
                    <a:pt x="514" y="2361"/>
                  </a:lnTo>
                  <a:lnTo>
                    <a:pt x="510" y="2357"/>
                  </a:lnTo>
                  <a:lnTo>
                    <a:pt x="506" y="2353"/>
                  </a:lnTo>
                  <a:lnTo>
                    <a:pt x="502" y="2349"/>
                  </a:lnTo>
                  <a:lnTo>
                    <a:pt x="497" y="2347"/>
                  </a:lnTo>
                  <a:lnTo>
                    <a:pt x="490" y="2345"/>
                  </a:lnTo>
                  <a:lnTo>
                    <a:pt x="476" y="2343"/>
                  </a:lnTo>
                  <a:lnTo>
                    <a:pt x="457" y="2341"/>
                  </a:lnTo>
                  <a:lnTo>
                    <a:pt x="444" y="2343"/>
                  </a:lnTo>
                  <a:lnTo>
                    <a:pt x="430" y="2344"/>
                  </a:lnTo>
                  <a:lnTo>
                    <a:pt x="417" y="2347"/>
                  </a:lnTo>
                  <a:lnTo>
                    <a:pt x="406" y="2351"/>
                  </a:lnTo>
                  <a:lnTo>
                    <a:pt x="394" y="2356"/>
                  </a:lnTo>
                  <a:lnTo>
                    <a:pt x="385" y="2361"/>
                  </a:lnTo>
                  <a:lnTo>
                    <a:pt x="374" y="2368"/>
                  </a:lnTo>
                  <a:lnTo>
                    <a:pt x="365" y="2375"/>
                  </a:lnTo>
                  <a:lnTo>
                    <a:pt x="348" y="2391"/>
                  </a:lnTo>
                  <a:lnTo>
                    <a:pt x="332" y="2408"/>
                  </a:lnTo>
                  <a:lnTo>
                    <a:pt x="316" y="2425"/>
                  </a:lnTo>
                  <a:lnTo>
                    <a:pt x="301" y="2444"/>
                  </a:lnTo>
                  <a:lnTo>
                    <a:pt x="258" y="2444"/>
                  </a:lnTo>
                  <a:lnTo>
                    <a:pt x="253" y="2411"/>
                  </a:lnTo>
                  <a:lnTo>
                    <a:pt x="248" y="2377"/>
                  </a:lnTo>
                  <a:lnTo>
                    <a:pt x="245" y="2345"/>
                  </a:lnTo>
                  <a:lnTo>
                    <a:pt x="242" y="2315"/>
                  </a:lnTo>
                  <a:lnTo>
                    <a:pt x="241" y="2284"/>
                  </a:lnTo>
                  <a:lnTo>
                    <a:pt x="241" y="2256"/>
                  </a:lnTo>
                  <a:lnTo>
                    <a:pt x="241" y="2229"/>
                  </a:lnTo>
                  <a:lnTo>
                    <a:pt x="241" y="2203"/>
                  </a:lnTo>
                  <a:lnTo>
                    <a:pt x="240" y="2196"/>
                  </a:lnTo>
                  <a:lnTo>
                    <a:pt x="238" y="2188"/>
                  </a:lnTo>
                  <a:lnTo>
                    <a:pt x="237" y="2183"/>
                  </a:lnTo>
                  <a:lnTo>
                    <a:pt x="234" y="2176"/>
                  </a:lnTo>
                  <a:lnTo>
                    <a:pt x="230" y="2171"/>
                  </a:lnTo>
                  <a:lnTo>
                    <a:pt x="228" y="2167"/>
                  </a:lnTo>
                  <a:lnTo>
                    <a:pt x="222" y="2163"/>
                  </a:lnTo>
                  <a:lnTo>
                    <a:pt x="218" y="2159"/>
                  </a:lnTo>
                  <a:lnTo>
                    <a:pt x="206" y="2152"/>
                  </a:lnTo>
                  <a:lnTo>
                    <a:pt x="194" y="2147"/>
                  </a:lnTo>
                  <a:lnTo>
                    <a:pt x="181" y="2141"/>
                  </a:lnTo>
                  <a:lnTo>
                    <a:pt x="168" y="2137"/>
                  </a:lnTo>
                  <a:lnTo>
                    <a:pt x="141" y="2131"/>
                  </a:lnTo>
                  <a:lnTo>
                    <a:pt x="118" y="2123"/>
                  </a:lnTo>
                  <a:lnTo>
                    <a:pt x="109" y="2117"/>
                  </a:lnTo>
                  <a:lnTo>
                    <a:pt x="102" y="2112"/>
                  </a:lnTo>
                  <a:lnTo>
                    <a:pt x="100" y="2108"/>
                  </a:lnTo>
                  <a:lnTo>
                    <a:pt x="97" y="2104"/>
                  </a:lnTo>
                  <a:lnTo>
                    <a:pt x="96" y="2100"/>
                  </a:lnTo>
                  <a:lnTo>
                    <a:pt x="96" y="2095"/>
                  </a:lnTo>
                  <a:lnTo>
                    <a:pt x="97" y="2087"/>
                  </a:lnTo>
                  <a:lnTo>
                    <a:pt x="98" y="2079"/>
                  </a:lnTo>
                  <a:lnTo>
                    <a:pt x="102" y="2072"/>
                  </a:lnTo>
                  <a:lnTo>
                    <a:pt x="106" y="2065"/>
                  </a:lnTo>
                  <a:lnTo>
                    <a:pt x="116" y="2053"/>
                  </a:lnTo>
                  <a:lnTo>
                    <a:pt x="126" y="2040"/>
                  </a:lnTo>
                  <a:lnTo>
                    <a:pt x="126" y="1951"/>
                  </a:lnTo>
                  <a:lnTo>
                    <a:pt x="81" y="1943"/>
                  </a:lnTo>
                  <a:lnTo>
                    <a:pt x="49" y="1936"/>
                  </a:lnTo>
                  <a:lnTo>
                    <a:pt x="36" y="1931"/>
                  </a:lnTo>
                  <a:lnTo>
                    <a:pt x="24" y="1923"/>
                  </a:lnTo>
                  <a:lnTo>
                    <a:pt x="12" y="1912"/>
                  </a:lnTo>
                  <a:lnTo>
                    <a:pt x="0" y="1896"/>
                  </a:lnTo>
                  <a:lnTo>
                    <a:pt x="17" y="1883"/>
                  </a:lnTo>
                  <a:lnTo>
                    <a:pt x="37" y="1867"/>
                  </a:lnTo>
                  <a:lnTo>
                    <a:pt x="45" y="1858"/>
                  </a:lnTo>
                  <a:lnTo>
                    <a:pt x="53" y="1848"/>
                  </a:lnTo>
                  <a:lnTo>
                    <a:pt x="56" y="1843"/>
                  </a:lnTo>
                  <a:lnTo>
                    <a:pt x="58" y="1836"/>
                  </a:lnTo>
                  <a:lnTo>
                    <a:pt x="60" y="1831"/>
                  </a:lnTo>
                  <a:lnTo>
                    <a:pt x="60" y="1824"/>
                  </a:lnTo>
                  <a:lnTo>
                    <a:pt x="58" y="1802"/>
                  </a:lnTo>
                  <a:lnTo>
                    <a:pt x="54" y="1780"/>
                  </a:lnTo>
                  <a:lnTo>
                    <a:pt x="50" y="1759"/>
                  </a:lnTo>
                  <a:lnTo>
                    <a:pt x="45" y="1739"/>
                  </a:lnTo>
                  <a:lnTo>
                    <a:pt x="40" y="1718"/>
                  </a:lnTo>
                  <a:lnTo>
                    <a:pt x="34" y="1696"/>
                  </a:lnTo>
                  <a:lnTo>
                    <a:pt x="30" y="1674"/>
                  </a:lnTo>
                  <a:lnTo>
                    <a:pt x="29" y="1650"/>
                  </a:lnTo>
                  <a:lnTo>
                    <a:pt x="30" y="1630"/>
                  </a:lnTo>
                  <a:lnTo>
                    <a:pt x="32" y="1612"/>
                  </a:lnTo>
                  <a:lnTo>
                    <a:pt x="34" y="1596"/>
                  </a:lnTo>
                  <a:lnTo>
                    <a:pt x="38" y="1582"/>
                  </a:lnTo>
                  <a:lnTo>
                    <a:pt x="42" y="1568"/>
                  </a:lnTo>
                  <a:lnTo>
                    <a:pt x="48" y="1556"/>
                  </a:lnTo>
                  <a:lnTo>
                    <a:pt x="54" y="1544"/>
                  </a:lnTo>
                  <a:lnTo>
                    <a:pt x="61" y="1535"/>
                  </a:lnTo>
                  <a:lnTo>
                    <a:pt x="68" y="1526"/>
                  </a:lnTo>
                  <a:lnTo>
                    <a:pt x="76" y="1518"/>
                  </a:lnTo>
                  <a:lnTo>
                    <a:pt x="84" y="1511"/>
                  </a:lnTo>
                  <a:lnTo>
                    <a:pt x="93" y="1504"/>
                  </a:lnTo>
                  <a:lnTo>
                    <a:pt x="110" y="1492"/>
                  </a:lnTo>
                  <a:lnTo>
                    <a:pt x="129" y="1482"/>
                  </a:lnTo>
                  <a:lnTo>
                    <a:pt x="148" y="1472"/>
                  </a:lnTo>
                  <a:lnTo>
                    <a:pt x="165" y="1462"/>
                  </a:lnTo>
                  <a:lnTo>
                    <a:pt x="174" y="1456"/>
                  </a:lnTo>
                  <a:lnTo>
                    <a:pt x="182" y="1450"/>
                  </a:lnTo>
                  <a:lnTo>
                    <a:pt x="190" y="1443"/>
                  </a:lnTo>
                  <a:lnTo>
                    <a:pt x="197" y="1436"/>
                  </a:lnTo>
                  <a:lnTo>
                    <a:pt x="204" y="1428"/>
                  </a:lnTo>
                  <a:lnTo>
                    <a:pt x="210" y="1419"/>
                  </a:lnTo>
                  <a:lnTo>
                    <a:pt x="216" y="1410"/>
                  </a:lnTo>
                  <a:lnTo>
                    <a:pt x="220" y="1398"/>
                  </a:lnTo>
                  <a:lnTo>
                    <a:pt x="224" y="1386"/>
                  </a:lnTo>
                  <a:lnTo>
                    <a:pt x="226" y="1372"/>
                  </a:lnTo>
                  <a:lnTo>
                    <a:pt x="228" y="1358"/>
                  </a:lnTo>
                  <a:lnTo>
                    <a:pt x="229" y="1342"/>
                  </a:lnTo>
                  <a:lnTo>
                    <a:pt x="229" y="1331"/>
                  </a:lnTo>
                  <a:lnTo>
                    <a:pt x="232" y="1322"/>
                  </a:lnTo>
                  <a:lnTo>
                    <a:pt x="234" y="1314"/>
                  </a:lnTo>
                  <a:lnTo>
                    <a:pt x="240" y="1309"/>
                  </a:lnTo>
                  <a:lnTo>
                    <a:pt x="245" y="1305"/>
                  </a:lnTo>
                  <a:lnTo>
                    <a:pt x="252" y="1301"/>
                  </a:lnTo>
                  <a:lnTo>
                    <a:pt x="258" y="1298"/>
                  </a:lnTo>
                  <a:lnTo>
                    <a:pt x="266" y="1297"/>
                  </a:lnTo>
                  <a:lnTo>
                    <a:pt x="284" y="1295"/>
                  </a:lnTo>
                  <a:lnTo>
                    <a:pt x="302" y="1295"/>
                  </a:lnTo>
                  <a:lnTo>
                    <a:pt x="312" y="1294"/>
                  </a:lnTo>
                  <a:lnTo>
                    <a:pt x="320" y="1293"/>
                  </a:lnTo>
                  <a:lnTo>
                    <a:pt x="329" y="1291"/>
                  </a:lnTo>
                  <a:lnTo>
                    <a:pt x="337" y="1289"/>
                  </a:lnTo>
                  <a:lnTo>
                    <a:pt x="348" y="1283"/>
                  </a:lnTo>
                  <a:lnTo>
                    <a:pt x="358" y="1277"/>
                  </a:lnTo>
                  <a:lnTo>
                    <a:pt x="366" y="1270"/>
                  </a:lnTo>
                  <a:lnTo>
                    <a:pt x="373" y="1263"/>
                  </a:lnTo>
                  <a:lnTo>
                    <a:pt x="378" y="1254"/>
                  </a:lnTo>
                  <a:lnTo>
                    <a:pt x="384" y="1246"/>
                  </a:lnTo>
                  <a:lnTo>
                    <a:pt x="386" y="1237"/>
                  </a:lnTo>
                  <a:lnTo>
                    <a:pt x="389" y="1226"/>
                  </a:lnTo>
                  <a:lnTo>
                    <a:pt x="392" y="1205"/>
                  </a:lnTo>
                  <a:lnTo>
                    <a:pt x="392" y="1183"/>
                  </a:lnTo>
                  <a:lnTo>
                    <a:pt x="392" y="1161"/>
                  </a:lnTo>
                  <a:lnTo>
                    <a:pt x="392" y="1138"/>
                  </a:lnTo>
                  <a:lnTo>
                    <a:pt x="392" y="1133"/>
                  </a:lnTo>
                  <a:lnTo>
                    <a:pt x="393" y="1127"/>
                  </a:lnTo>
                  <a:lnTo>
                    <a:pt x="394" y="1123"/>
                  </a:lnTo>
                  <a:lnTo>
                    <a:pt x="397" y="1119"/>
                  </a:lnTo>
                  <a:lnTo>
                    <a:pt x="405" y="1114"/>
                  </a:lnTo>
                  <a:lnTo>
                    <a:pt x="412" y="1109"/>
                  </a:lnTo>
                  <a:lnTo>
                    <a:pt x="420" y="1103"/>
                  </a:lnTo>
                  <a:lnTo>
                    <a:pt x="426" y="1098"/>
                  </a:lnTo>
                  <a:lnTo>
                    <a:pt x="429" y="1094"/>
                  </a:lnTo>
                  <a:lnTo>
                    <a:pt x="432" y="1091"/>
                  </a:lnTo>
                  <a:lnTo>
                    <a:pt x="433" y="1087"/>
                  </a:lnTo>
                  <a:lnTo>
                    <a:pt x="433" y="1083"/>
                  </a:lnTo>
                  <a:lnTo>
                    <a:pt x="433" y="1070"/>
                  </a:lnTo>
                  <a:lnTo>
                    <a:pt x="432" y="1058"/>
                  </a:lnTo>
                  <a:lnTo>
                    <a:pt x="429" y="1046"/>
                  </a:lnTo>
                  <a:lnTo>
                    <a:pt x="425" y="1034"/>
                  </a:lnTo>
                  <a:lnTo>
                    <a:pt x="421" y="1023"/>
                  </a:lnTo>
                  <a:lnTo>
                    <a:pt x="416" y="1014"/>
                  </a:lnTo>
                  <a:lnTo>
                    <a:pt x="409" y="1003"/>
                  </a:lnTo>
                  <a:lnTo>
                    <a:pt x="404" y="995"/>
                  </a:lnTo>
                  <a:lnTo>
                    <a:pt x="389" y="977"/>
                  </a:lnTo>
                  <a:lnTo>
                    <a:pt x="372" y="961"/>
                  </a:lnTo>
                  <a:lnTo>
                    <a:pt x="354" y="946"/>
                  </a:lnTo>
                  <a:lnTo>
                    <a:pt x="337" y="930"/>
                  </a:lnTo>
                  <a:lnTo>
                    <a:pt x="318" y="915"/>
                  </a:lnTo>
                  <a:lnTo>
                    <a:pt x="301" y="901"/>
                  </a:lnTo>
                  <a:lnTo>
                    <a:pt x="285" y="885"/>
                  </a:lnTo>
                  <a:lnTo>
                    <a:pt x="270" y="867"/>
                  </a:lnTo>
                  <a:lnTo>
                    <a:pt x="264" y="858"/>
                  </a:lnTo>
                  <a:lnTo>
                    <a:pt x="258" y="849"/>
                  </a:lnTo>
                  <a:lnTo>
                    <a:pt x="253" y="839"/>
                  </a:lnTo>
                  <a:lnTo>
                    <a:pt x="249" y="829"/>
                  </a:lnTo>
                  <a:lnTo>
                    <a:pt x="245" y="818"/>
                  </a:lnTo>
                  <a:lnTo>
                    <a:pt x="242" y="807"/>
                  </a:lnTo>
                  <a:lnTo>
                    <a:pt x="241" y="795"/>
                  </a:lnTo>
                  <a:lnTo>
                    <a:pt x="241" y="782"/>
                  </a:lnTo>
                  <a:lnTo>
                    <a:pt x="241" y="770"/>
                  </a:lnTo>
                  <a:lnTo>
                    <a:pt x="242" y="759"/>
                  </a:lnTo>
                  <a:lnTo>
                    <a:pt x="244" y="754"/>
                  </a:lnTo>
                  <a:lnTo>
                    <a:pt x="242" y="749"/>
                  </a:lnTo>
                  <a:lnTo>
                    <a:pt x="242" y="745"/>
                  </a:lnTo>
                  <a:lnTo>
                    <a:pt x="241" y="739"/>
                  </a:lnTo>
                  <a:lnTo>
                    <a:pt x="254" y="706"/>
                  </a:lnTo>
                  <a:lnTo>
                    <a:pt x="268" y="676"/>
                  </a:lnTo>
                  <a:lnTo>
                    <a:pt x="274" y="661"/>
                  </a:lnTo>
                  <a:lnTo>
                    <a:pt x="278" y="645"/>
                  </a:lnTo>
                  <a:lnTo>
                    <a:pt x="281" y="626"/>
                  </a:lnTo>
                  <a:lnTo>
                    <a:pt x="282" y="608"/>
                  </a:lnTo>
                  <a:lnTo>
                    <a:pt x="282" y="593"/>
                  </a:lnTo>
                  <a:lnTo>
                    <a:pt x="280" y="578"/>
                  </a:lnTo>
                  <a:lnTo>
                    <a:pt x="276" y="564"/>
                  </a:lnTo>
                  <a:lnTo>
                    <a:pt x="272" y="548"/>
                  </a:lnTo>
                  <a:lnTo>
                    <a:pt x="260" y="514"/>
                  </a:lnTo>
                  <a:lnTo>
                    <a:pt x="246" y="481"/>
                  </a:lnTo>
                  <a:lnTo>
                    <a:pt x="233" y="449"/>
                  </a:lnTo>
                  <a:lnTo>
                    <a:pt x="221" y="420"/>
                  </a:lnTo>
                  <a:lnTo>
                    <a:pt x="217" y="406"/>
                  </a:lnTo>
                  <a:lnTo>
                    <a:pt x="213" y="394"/>
                  </a:lnTo>
                  <a:lnTo>
                    <a:pt x="212" y="382"/>
                  </a:lnTo>
                  <a:lnTo>
                    <a:pt x="210" y="373"/>
                  </a:lnTo>
                  <a:lnTo>
                    <a:pt x="210" y="365"/>
                  </a:lnTo>
                  <a:lnTo>
                    <a:pt x="213" y="358"/>
                  </a:lnTo>
                  <a:lnTo>
                    <a:pt x="214" y="352"/>
                  </a:lnTo>
                  <a:lnTo>
                    <a:pt x="218" y="346"/>
                  </a:lnTo>
                  <a:lnTo>
                    <a:pt x="222" y="341"/>
                  </a:lnTo>
                  <a:lnTo>
                    <a:pt x="228" y="337"/>
                  </a:lnTo>
                  <a:lnTo>
                    <a:pt x="233" y="333"/>
                  </a:lnTo>
                  <a:lnTo>
                    <a:pt x="238" y="330"/>
                  </a:lnTo>
                  <a:lnTo>
                    <a:pt x="252" y="325"/>
                  </a:lnTo>
                  <a:lnTo>
                    <a:pt x="266" y="321"/>
                  </a:lnTo>
                  <a:lnTo>
                    <a:pt x="281" y="320"/>
                  </a:lnTo>
                  <a:lnTo>
                    <a:pt x="294" y="318"/>
                  </a:lnTo>
                  <a:lnTo>
                    <a:pt x="322" y="318"/>
                  </a:lnTo>
                  <a:lnTo>
                    <a:pt x="344" y="318"/>
                  </a:lnTo>
                  <a:lnTo>
                    <a:pt x="361" y="318"/>
                  </a:lnTo>
                  <a:lnTo>
                    <a:pt x="378" y="318"/>
                  </a:lnTo>
                  <a:lnTo>
                    <a:pt x="389" y="322"/>
                  </a:lnTo>
                  <a:lnTo>
                    <a:pt x="410" y="328"/>
                  </a:lnTo>
                  <a:lnTo>
                    <a:pt x="422" y="330"/>
                  </a:lnTo>
                  <a:lnTo>
                    <a:pt x="436" y="332"/>
                  </a:lnTo>
                  <a:lnTo>
                    <a:pt x="442" y="330"/>
                  </a:lnTo>
                  <a:lnTo>
                    <a:pt x="449" y="329"/>
                  </a:lnTo>
                  <a:lnTo>
                    <a:pt x="457" y="328"/>
                  </a:lnTo>
                  <a:lnTo>
                    <a:pt x="464" y="325"/>
                  </a:lnTo>
                  <a:lnTo>
                    <a:pt x="472" y="320"/>
                  </a:lnTo>
                  <a:lnTo>
                    <a:pt x="480" y="312"/>
                  </a:lnTo>
                  <a:lnTo>
                    <a:pt x="486" y="304"/>
                  </a:lnTo>
                  <a:lnTo>
                    <a:pt x="492" y="294"/>
                  </a:lnTo>
                  <a:lnTo>
                    <a:pt x="502" y="274"/>
                  </a:lnTo>
                  <a:lnTo>
                    <a:pt x="514" y="252"/>
                  </a:lnTo>
                  <a:lnTo>
                    <a:pt x="521" y="242"/>
                  </a:lnTo>
                  <a:lnTo>
                    <a:pt x="529" y="232"/>
                  </a:lnTo>
                  <a:lnTo>
                    <a:pt x="537" y="222"/>
                  </a:lnTo>
                  <a:lnTo>
                    <a:pt x="546" y="214"/>
                  </a:lnTo>
                  <a:lnTo>
                    <a:pt x="557" y="208"/>
                  </a:lnTo>
                  <a:lnTo>
                    <a:pt x="570" y="202"/>
                  </a:lnTo>
                  <a:lnTo>
                    <a:pt x="585" y="200"/>
                  </a:lnTo>
                  <a:lnTo>
                    <a:pt x="602" y="198"/>
                  </a:lnTo>
                  <a:lnTo>
                    <a:pt x="617" y="198"/>
                  </a:lnTo>
                  <a:lnTo>
                    <a:pt x="626" y="201"/>
                  </a:lnTo>
                  <a:lnTo>
                    <a:pt x="633" y="202"/>
                  </a:lnTo>
                  <a:lnTo>
                    <a:pt x="637" y="205"/>
                  </a:lnTo>
                  <a:lnTo>
                    <a:pt x="639" y="206"/>
                  </a:lnTo>
                  <a:lnTo>
                    <a:pt x="643" y="205"/>
                  </a:lnTo>
                  <a:lnTo>
                    <a:pt x="651" y="204"/>
                  </a:lnTo>
                  <a:lnTo>
                    <a:pt x="662" y="198"/>
                  </a:lnTo>
                  <a:lnTo>
                    <a:pt x="667" y="196"/>
                  </a:lnTo>
                  <a:lnTo>
                    <a:pt x="670" y="190"/>
                  </a:lnTo>
                  <a:lnTo>
                    <a:pt x="673" y="185"/>
                  </a:lnTo>
                  <a:lnTo>
                    <a:pt x="674" y="180"/>
                  </a:lnTo>
                  <a:lnTo>
                    <a:pt x="675" y="165"/>
                  </a:lnTo>
                  <a:lnTo>
                    <a:pt x="674" y="148"/>
                  </a:lnTo>
                  <a:lnTo>
                    <a:pt x="673" y="131"/>
                  </a:lnTo>
                  <a:lnTo>
                    <a:pt x="671" y="113"/>
                  </a:lnTo>
                  <a:lnTo>
                    <a:pt x="671" y="104"/>
                  </a:lnTo>
                  <a:lnTo>
                    <a:pt x="671" y="97"/>
                  </a:lnTo>
                  <a:lnTo>
                    <a:pt x="673" y="91"/>
                  </a:lnTo>
                  <a:lnTo>
                    <a:pt x="674" y="84"/>
                  </a:lnTo>
                  <a:lnTo>
                    <a:pt x="695" y="63"/>
                  </a:lnTo>
                  <a:lnTo>
                    <a:pt x="722" y="35"/>
                  </a:lnTo>
                  <a:lnTo>
                    <a:pt x="735" y="21"/>
                  </a:lnTo>
                  <a:lnTo>
                    <a:pt x="749" y="11"/>
                  </a:lnTo>
                  <a:lnTo>
                    <a:pt x="754" y="5"/>
                  </a:lnTo>
                  <a:lnTo>
                    <a:pt x="761" y="3"/>
                  </a:lnTo>
                  <a:lnTo>
                    <a:pt x="766" y="0"/>
                  </a:lnTo>
                  <a:lnTo>
                    <a:pt x="770" y="0"/>
                  </a:lnTo>
                  <a:lnTo>
                    <a:pt x="786" y="0"/>
                  </a:lnTo>
                  <a:lnTo>
                    <a:pt x="803" y="4"/>
                  </a:lnTo>
                  <a:lnTo>
                    <a:pt x="822" y="8"/>
                  </a:lnTo>
                  <a:lnTo>
                    <a:pt x="841" y="15"/>
                  </a:lnTo>
                  <a:lnTo>
                    <a:pt x="859" y="24"/>
                  </a:lnTo>
                  <a:lnTo>
                    <a:pt x="878" y="33"/>
                  </a:lnTo>
                  <a:lnTo>
                    <a:pt x="895" y="44"/>
                  </a:lnTo>
                  <a:lnTo>
                    <a:pt x="913" y="57"/>
                  </a:lnTo>
                  <a:lnTo>
                    <a:pt x="930" y="71"/>
                  </a:lnTo>
                  <a:lnTo>
                    <a:pt x="945" y="85"/>
                  </a:lnTo>
                  <a:lnTo>
                    <a:pt x="958" y="100"/>
                  </a:lnTo>
                  <a:lnTo>
                    <a:pt x="970" y="116"/>
                  </a:lnTo>
                  <a:lnTo>
                    <a:pt x="979" y="133"/>
                  </a:lnTo>
                  <a:lnTo>
                    <a:pt x="987" y="151"/>
                  </a:lnTo>
                  <a:lnTo>
                    <a:pt x="990" y="160"/>
                  </a:lnTo>
                  <a:lnTo>
                    <a:pt x="991" y="168"/>
                  </a:lnTo>
                  <a:lnTo>
                    <a:pt x="993" y="177"/>
                  </a:lnTo>
                  <a:lnTo>
                    <a:pt x="993" y="186"/>
                  </a:lnTo>
                  <a:lnTo>
                    <a:pt x="993" y="194"/>
                  </a:lnTo>
                  <a:lnTo>
                    <a:pt x="989" y="202"/>
                  </a:lnTo>
                  <a:lnTo>
                    <a:pt x="986" y="209"/>
                  </a:lnTo>
                  <a:lnTo>
                    <a:pt x="981" y="217"/>
                  </a:lnTo>
                  <a:lnTo>
                    <a:pt x="977" y="225"/>
                  </a:lnTo>
                  <a:lnTo>
                    <a:pt x="973" y="233"/>
                  </a:lnTo>
                  <a:lnTo>
                    <a:pt x="970" y="242"/>
                  </a:lnTo>
                  <a:lnTo>
                    <a:pt x="969" y="252"/>
                  </a:lnTo>
                  <a:lnTo>
                    <a:pt x="970" y="269"/>
                  </a:lnTo>
                  <a:lnTo>
                    <a:pt x="973" y="284"/>
                  </a:lnTo>
                  <a:lnTo>
                    <a:pt x="974" y="290"/>
                  </a:lnTo>
                  <a:lnTo>
                    <a:pt x="977" y="296"/>
                  </a:lnTo>
                  <a:lnTo>
                    <a:pt x="979" y="302"/>
                  </a:lnTo>
                  <a:lnTo>
                    <a:pt x="983" y="306"/>
                  </a:lnTo>
                  <a:lnTo>
                    <a:pt x="987" y="310"/>
                  </a:lnTo>
                  <a:lnTo>
                    <a:pt x="991" y="314"/>
                  </a:lnTo>
                  <a:lnTo>
                    <a:pt x="997" y="317"/>
                  </a:lnTo>
                  <a:lnTo>
                    <a:pt x="1002" y="320"/>
                  </a:lnTo>
                  <a:lnTo>
                    <a:pt x="1014" y="324"/>
                  </a:lnTo>
                  <a:lnTo>
                    <a:pt x="1029" y="325"/>
                  </a:lnTo>
                  <a:lnTo>
                    <a:pt x="1038" y="324"/>
                  </a:lnTo>
                  <a:lnTo>
                    <a:pt x="1045" y="322"/>
                  </a:lnTo>
                  <a:lnTo>
                    <a:pt x="1051" y="321"/>
                  </a:lnTo>
                  <a:lnTo>
                    <a:pt x="1055" y="318"/>
                  </a:lnTo>
                  <a:lnTo>
                    <a:pt x="1063" y="312"/>
                  </a:lnTo>
                  <a:lnTo>
                    <a:pt x="1070" y="304"/>
                  </a:lnTo>
                  <a:lnTo>
                    <a:pt x="1075" y="296"/>
                  </a:lnTo>
                  <a:lnTo>
                    <a:pt x="1082" y="289"/>
                  </a:lnTo>
                  <a:lnTo>
                    <a:pt x="1086" y="286"/>
                  </a:lnTo>
                  <a:lnTo>
                    <a:pt x="1090" y="284"/>
                  </a:lnTo>
                  <a:lnTo>
                    <a:pt x="1095" y="282"/>
                  </a:lnTo>
                  <a:lnTo>
                    <a:pt x="1102" y="282"/>
                  </a:lnTo>
                  <a:lnTo>
                    <a:pt x="1111" y="282"/>
                  </a:lnTo>
                  <a:lnTo>
                    <a:pt x="1121" y="284"/>
                  </a:lnTo>
                  <a:lnTo>
                    <a:pt x="1127" y="286"/>
                  </a:lnTo>
                  <a:lnTo>
                    <a:pt x="1134" y="289"/>
                  </a:lnTo>
                  <a:lnTo>
                    <a:pt x="1141" y="290"/>
                  </a:lnTo>
                  <a:lnTo>
                    <a:pt x="1146" y="293"/>
                  </a:lnTo>
                  <a:lnTo>
                    <a:pt x="1154" y="294"/>
                  </a:lnTo>
                  <a:lnTo>
                    <a:pt x="1162" y="294"/>
                  </a:lnTo>
                  <a:lnTo>
                    <a:pt x="1181" y="294"/>
                  </a:lnTo>
                  <a:lnTo>
                    <a:pt x="1194" y="294"/>
                  </a:lnTo>
                  <a:lnTo>
                    <a:pt x="1205" y="294"/>
                  </a:lnTo>
                  <a:lnTo>
                    <a:pt x="1215" y="294"/>
                  </a:lnTo>
                  <a:lnTo>
                    <a:pt x="1222" y="296"/>
                  </a:lnTo>
                  <a:lnTo>
                    <a:pt x="1227" y="297"/>
                  </a:lnTo>
                  <a:lnTo>
                    <a:pt x="1233" y="301"/>
                  </a:lnTo>
                  <a:lnTo>
                    <a:pt x="1237" y="305"/>
                  </a:lnTo>
                  <a:lnTo>
                    <a:pt x="1243" y="316"/>
                  </a:lnTo>
                  <a:lnTo>
                    <a:pt x="1250" y="329"/>
                  </a:lnTo>
                  <a:lnTo>
                    <a:pt x="1257" y="342"/>
                  </a:lnTo>
                  <a:lnTo>
                    <a:pt x="1265" y="356"/>
                  </a:lnTo>
                  <a:lnTo>
                    <a:pt x="1269" y="361"/>
                  </a:lnTo>
                  <a:lnTo>
                    <a:pt x="1274" y="366"/>
                  </a:lnTo>
                  <a:lnTo>
                    <a:pt x="1281" y="370"/>
                  </a:lnTo>
                  <a:lnTo>
                    <a:pt x="1289" y="373"/>
                  </a:lnTo>
                  <a:lnTo>
                    <a:pt x="1274" y="386"/>
                  </a:lnTo>
                  <a:lnTo>
                    <a:pt x="1262" y="400"/>
                  </a:lnTo>
                  <a:lnTo>
                    <a:pt x="1257" y="406"/>
                  </a:lnTo>
                  <a:lnTo>
                    <a:pt x="1253" y="413"/>
                  </a:lnTo>
                  <a:lnTo>
                    <a:pt x="1249" y="420"/>
                  </a:lnTo>
                  <a:lnTo>
                    <a:pt x="1247" y="426"/>
                  </a:lnTo>
                  <a:lnTo>
                    <a:pt x="1245" y="433"/>
                  </a:lnTo>
                  <a:lnTo>
                    <a:pt x="1245" y="441"/>
                  </a:lnTo>
                  <a:lnTo>
                    <a:pt x="1245" y="449"/>
                  </a:lnTo>
                  <a:lnTo>
                    <a:pt x="1247" y="457"/>
                  </a:lnTo>
                  <a:lnTo>
                    <a:pt x="1250" y="465"/>
                  </a:lnTo>
                  <a:lnTo>
                    <a:pt x="1253" y="474"/>
                  </a:lnTo>
                  <a:lnTo>
                    <a:pt x="1258" y="484"/>
                  </a:lnTo>
                  <a:lnTo>
                    <a:pt x="1265" y="493"/>
                  </a:lnTo>
                  <a:lnTo>
                    <a:pt x="1254" y="493"/>
                  </a:lnTo>
                  <a:lnTo>
                    <a:pt x="1245" y="493"/>
                  </a:lnTo>
                  <a:lnTo>
                    <a:pt x="1234" y="493"/>
                  </a:lnTo>
                  <a:lnTo>
                    <a:pt x="1225" y="494"/>
                  </a:lnTo>
                  <a:lnTo>
                    <a:pt x="1206" y="498"/>
                  </a:lnTo>
                  <a:lnTo>
                    <a:pt x="1189" y="505"/>
                  </a:lnTo>
                  <a:lnTo>
                    <a:pt x="1171" y="513"/>
                  </a:lnTo>
                  <a:lnTo>
                    <a:pt x="1155" y="522"/>
                  </a:lnTo>
                  <a:lnTo>
                    <a:pt x="1141" y="533"/>
                  </a:lnTo>
                  <a:lnTo>
                    <a:pt x="1127" y="542"/>
                  </a:lnTo>
                  <a:lnTo>
                    <a:pt x="1103" y="564"/>
                  </a:lnTo>
                  <a:lnTo>
                    <a:pt x="1086" y="584"/>
                  </a:lnTo>
                  <a:lnTo>
                    <a:pt x="1075" y="597"/>
                  </a:lnTo>
                  <a:lnTo>
                    <a:pt x="1071" y="601"/>
                  </a:lnTo>
                  <a:lnTo>
                    <a:pt x="1067" y="613"/>
                  </a:lnTo>
                  <a:lnTo>
                    <a:pt x="1062" y="625"/>
                  </a:lnTo>
                  <a:lnTo>
                    <a:pt x="1057" y="634"/>
                  </a:lnTo>
                  <a:lnTo>
                    <a:pt x="1051" y="644"/>
                  </a:lnTo>
                  <a:lnTo>
                    <a:pt x="1039" y="658"/>
                  </a:lnTo>
                  <a:lnTo>
                    <a:pt x="1026" y="672"/>
                  </a:lnTo>
                  <a:lnTo>
                    <a:pt x="1014" y="682"/>
                  </a:lnTo>
                  <a:lnTo>
                    <a:pt x="1001" y="692"/>
                  </a:lnTo>
                  <a:lnTo>
                    <a:pt x="987" y="700"/>
                  </a:lnTo>
                  <a:lnTo>
                    <a:pt x="975" y="708"/>
                  </a:lnTo>
                  <a:lnTo>
                    <a:pt x="963" y="716"/>
                  </a:lnTo>
                  <a:lnTo>
                    <a:pt x="951" y="726"/>
                  </a:lnTo>
                  <a:lnTo>
                    <a:pt x="942" y="737"/>
                  </a:lnTo>
                  <a:lnTo>
                    <a:pt x="933" y="750"/>
                  </a:lnTo>
                  <a:lnTo>
                    <a:pt x="929" y="757"/>
                  </a:lnTo>
                  <a:lnTo>
                    <a:pt x="925" y="766"/>
                  </a:lnTo>
                  <a:lnTo>
                    <a:pt x="922" y="775"/>
                  </a:lnTo>
                  <a:lnTo>
                    <a:pt x="919" y="785"/>
                  </a:lnTo>
                  <a:lnTo>
                    <a:pt x="918" y="797"/>
                  </a:lnTo>
                  <a:lnTo>
                    <a:pt x="915" y="809"/>
                  </a:lnTo>
                  <a:lnTo>
                    <a:pt x="915" y="822"/>
                  </a:lnTo>
                  <a:lnTo>
                    <a:pt x="915" y="837"/>
                  </a:lnTo>
                  <a:lnTo>
                    <a:pt x="915" y="879"/>
                  </a:lnTo>
                  <a:lnTo>
                    <a:pt x="918" y="921"/>
                  </a:lnTo>
                  <a:lnTo>
                    <a:pt x="921" y="961"/>
                  </a:lnTo>
                  <a:lnTo>
                    <a:pt x="925" y="1001"/>
                  </a:lnTo>
                  <a:lnTo>
                    <a:pt x="933" y="1078"/>
                  </a:lnTo>
                  <a:lnTo>
                    <a:pt x="939" y="1151"/>
                  </a:lnTo>
                  <a:lnTo>
                    <a:pt x="942" y="1187"/>
                  </a:lnTo>
                  <a:lnTo>
                    <a:pt x="943" y="1222"/>
                  </a:lnTo>
                  <a:lnTo>
                    <a:pt x="945" y="1255"/>
                  </a:lnTo>
                  <a:lnTo>
                    <a:pt x="943" y="1287"/>
                  </a:lnTo>
                  <a:lnTo>
                    <a:pt x="939" y="1319"/>
                  </a:lnTo>
                  <a:lnTo>
                    <a:pt x="934" y="1350"/>
                  </a:lnTo>
                  <a:lnTo>
                    <a:pt x="930" y="1364"/>
                  </a:lnTo>
                  <a:lnTo>
                    <a:pt x="926" y="1379"/>
                  </a:lnTo>
                  <a:lnTo>
                    <a:pt x="921" y="1394"/>
                  </a:lnTo>
                  <a:lnTo>
                    <a:pt x="915" y="1408"/>
                  </a:lnTo>
                  <a:lnTo>
                    <a:pt x="913" y="1414"/>
                  </a:lnTo>
                  <a:lnTo>
                    <a:pt x="913" y="1422"/>
                  </a:lnTo>
                  <a:lnTo>
                    <a:pt x="914" y="1432"/>
                  </a:lnTo>
                  <a:lnTo>
                    <a:pt x="915" y="1447"/>
                  </a:lnTo>
                  <a:lnTo>
                    <a:pt x="919" y="1484"/>
                  </a:lnTo>
                  <a:lnTo>
                    <a:pt x="926" y="1532"/>
                  </a:lnTo>
                  <a:lnTo>
                    <a:pt x="931" y="1590"/>
                  </a:lnTo>
                  <a:lnTo>
                    <a:pt x="935" y="1658"/>
                  </a:lnTo>
                  <a:lnTo>
                    <a:pt x="937" y="1695"/>
                  </a:lnTo>
                  <a:lnTo>
                    <a:pt x="937" y="1734"/>
                  </a:lnTo>
                  <a:lnTo>
                    <a:pt x="935" y="1775"/>
                  </a:lnTo>
                  <a:lnTo>
                    <a:pt x="933" y="1818"/>
                  </a:lnTo>
                  <a:lnTo>
                    <a:pt x="929" y="1856"/>
                  </a:lnTo>
                  <a:lnTo>
                    <a:pt x="923" y="1895"/>
                  </a:lnTo>
                  <a:lnTo>
                    <a:pt x="914" y="1936"/>
                  </a:lnTo>
                  <a:lnTo>
                    <a:pt x="905" y="1976"/>
                  </a:lnTo>
                  <a:lnTo>
                    <a:pt x="883" y="2056"/>
                  </a:lnTo>
                  <a:lnTo>
                    <a:pt x="865" y="2131"/>
                  </a:lnTo>
                  <a:lnTo>
                    <a:pt x="858" y="2164"/>
                  </a:lnTo>
                  <a:lnTo>
                    <a:pt x="854" y="2195"/>
                  </a:lnTo>
                  <a:lnTo>
                    <a:pt x="853" y="2209"/>
                  </a:lnTo>
                  <a:lnTo>
                    <a:pt x="853" y="2221"/>
                  </a:lnTo>
                  <a:lnTo>
                    <a:pt x="853" y="2233"/>
                  </a:lnTo>
                  <a:lnTo>
                    <a:pt x="855" y="2244"/>
                  </a:lnTo>
                  <a:lnTo>
                    <a:pt x="858" y="2255"/>
                  </a:lnTo>
                  <a:lnTo>
                    <a:pt x="862" y="2263"/>
                  </a:lnTo>
                  <a:lnTo>
                    <a:pt x="867" y="2269"/>
                  </a:lnTo>
                  <a:lnTo>
                    <a:pt x="874" y="2275"/>
                  </a:lnTo>
                  <a:lnTo>
                    <a:pt x="882" y="2279"/>
                  </a:lnTo>
                  <a:lnTo>
                    <a:pt x="891" y="2281"/>
                  </a:lnTo>
                  <a:lnTo>
                    <a:pt x="902" y="2283"/>
                  </a:lnTo>
                  <a:lnTo>
                    <a:pt x="915" y="2281"/>
                  </a:lnTo>
                  <a:lnTo>
                    <a:pt x="938" y="2260"/>
                  </a:lnTo>
                  <a:lnTo>
                    <a:pt x="961" y="2241"/>
                  </a:lnTo>
                  <a:lnTo>
                    <a:pt x="981" y="2224"/>
                  </a:lnTo>
                  <a:lnTo>
                    <a:pt x="999" y="2211"/>
                  </a:lnTo>
                  <a:lnTo>
                    <a:pt x="1017" y="2200"/>
                  </a:lnTo>
                  <a:lnTo>
                    <a:pt x="1033" y="2191"/>
                  </a:lnTo>
                  <a:lnTo>
                    <a:pt x="1046" y="2184"/>
                  </a:lnTo>
                  <a:lnTo>
                    <a:pt x="1059" y="2179"/>
                  </a:lnTo>
                  <a:lnTo>
                    <a:pt x="1070" y="2176"/>
                  </a:lnTo>
                  <a:lnTo>
                    <a:pt x="1081" y="2176"/>
                  </a:lnTo>
                  <a:lnTo>
                    <a:pt x="1090" y="2176"/>
                  </a:lnTo>
                  <a:lnTo>
                    <a:pt x="1098" y="2179"/>
                  </a:lnTo>
                  <a:lnTo>
                    <a:pt x="1105" y="2181"/>
                  </a:lnTo>
                  <a:lnTo>
                    <a:pt x="1111" y="2187"/>
                  </a:lnTo>
                  <a:lnTo>
                    <a:pt x="1118" y="2193"/>
                  </a:lnTo>
                  <a:lnTo>
                    <a:pt x="1122" y="2200"/>
                  </a:lnTo>
                  <a:lnTo>
                    <a:pt x="1131" y="2217"/>
                  </a:lnTo>
                  <a:lnTo>
                    <a:pt x="1138" y="2236"/>
                  </a:lnTo>
                  <a:lnTo>
                    <a:pt x="1145" y="2257"/>
                  </a:lnTo>
                  <a:lnTo>
                    <a:pt x="1150" y="2280"/>
                  </a:lnTo>
                  <a:lnTo>
                    <a:pt x="1157" y="2301"/>
                  </a:lnTo>
                  <a:lnTo>
                    <a:pt x="1165" y="2321"/>
                  </a:lnTo>
                  <a:lnTo>
                    <a:pt x="1169" y="2331"/>
                  </a:lnTo>
                  <a:lnTo>
                    <a:pt x="1174" y="2339"/>
                  </a:lnTo>
                  <a:lnTo>
                    <a:pt x="1179" y="2347"/>
                  </a:lnTo>
                  <a:lnTo>
                    <a:pt x="1186" y="2353"/>
                  </a:lnTo>
                  <a:lnTo>
                    <a:pt x="1191" y="2348"/>
                  </a:lnTo>
                  <a:lnTo>
                    <a:pt x="1195" y="2340"/>
                  </a:lnTo>
                  <a:lnTo>
                    <a:pt x="1198" y="2332"/>
                  </a:lnTo>
                  <a:lnTo>
                    <a:pt x="1199" y="2324"/>
                  </a:lnTo>
                  <a:lnTo>
                    <a:pt x="1199" y="2304"/>
                  </a:lnTo>
                  <a:lnTo>
                    <a:pt x="1197" y="2284"/>
                  </a:lnTo>
                  <a:lnTo>
                    <a:pt x="1193" y="2263"/>
                  </a:lnTo>
                  <a:lnTo>
                    <a:pt x="1191" y="2243"/>
                  </a:lnTo>
                  <a:lnTo>
                    <a:pt x="1191" y="2233"/>
                  </a:lnTo>
                  <a:lnTo>
                    <a:pt x="1191" y="2224"/>
                  </a:lnTo>
                  <a:lnTo>
                    <a:pt x="1194" y="2216"/>
                  </a:lnTo>
                  <a:lnTo>
                    <a:pt x="1198" y="2209"/>
                  </a:lnTo>
                  <a:lnTo>
                    <a:pt x="1198" y="2201"/>
                  </a:lnTo>
                  <a:lnTo>
                    <a:pt x="1199" y="2196"/>
                  </a:lnTo>
                  <a:lnTo>
                    <a:pt x="1201" y="2192"/>
                  </a:lnTo>
                  <a:lnTo>
                    <a:pt x="1202" y="2191"/>
                  </a:lnTo>
                  <a:lnTo>
                    <a:pt x="1203" y="2192"/>
                  </a:lnTo>
                  <a:lnTo>
                    <a:pt x="1206" y="2193"/>
                  </a:lnTo>
                  <a:lnTo>
                    <a:pt x="1209" y="2197"/>
                  </a:lnTo>
                  <a:lnTo>
                    <a:pt x="1210" y="2201"/>
                  </a:lnTo>
                  <a:lnTo>
                    <a:pt x="1223" y="2231"/>
                  </a:lnTo>
                  <a:lnTo>
                    <a:pt x="1241" y="2267"/>
                  </a:lnTo>
                  <a:lnTo>
                    <a:pt x="1251" y="2284"/>
                  </a:lnTo>
                  <a:lnTo>
                    <a:pt x="1263" y="2299"/>
                  </a:lnTo>
                  <a:lnTo>
                    <a:pt x="1269" y="2305"/>
                  </a:lnTo>
                  <a:lnTo>
                    <a:pt x="1275" y="2311"/>
                  </a:lnTo>
                  <a:lnTo>
                    <a:pt x="1283" y="2315"/>
                  </a:lnTo>
                  <a:lnTo>
                    <a:pt x="1290" y="2317"/>
                  </a:lnTo>
                  <a:lnTo>
                    <a:pt x="1298" y="2319"/>
                  </a:lnTo>
                  <a:lnTo>
                    <a:pt x="1306" y="2319"/>
                  </a:lnTo>
                  <a:lnTo>
                    <a:pt x="1314" y="2316"/>
                  </a:lnTo>
                  <a:lnTo>
                    <a:pt x="1323" y="2311"/>
                  </a:lnTo>
                  <a:lnTo>
                    <a:pt x="1331" y="2304"/>
                  </a:lnTo>
                  <a:lnTo>
                    <a:pt x="1341" y="2296"/>
                  </a:lnTo>
                  <a:lnTo>
                    <a:pt x="1350" y="2284"/>
                  </a:lnTo>
                  <a:lnTo>
                    <a:pt x="1361" y="2269"/>
                  </a:lnTo>
                  <a:lnTo>
                    <a:pt x="1371" y="2263"/>
                  </a:lnTo>
                  <a:lnTo>
                    <a:pt x="1379" y="2255"/>
                  </a:lnTo>
                  <a:lnTo>
                    <a:pt x="1383" y="2247"/>
                  </a:lnTo>
                  <a:lnTo>
                    <a:pt x="1386" y="2237"/>
                  </a:lnTo>
                  <a:lnTo>
                    <a:pt x="1386" y="2228"/>
                  </a:lnTo>
                  <a:lnTo>
                    <a:pt x="1383" y="2217"/>
                  </a:lnTo>
                  <a:lnTo>
                    <a:pt x="1381" y="2207"/>
                  </a:lnTo>
                  <a:lnTo>
                    <a:pt x="1377" y="2195"/>
                  </a:lnTo>
                  <a:lnTo>
                    <a:pt x="1366" y="2165"/>
                  </a:lnTo>
                  <a:lnTo>
                    <a:pt x="1354" y="2132"/>
                  </a:lnTo>
                  <a:lnTo>
                    <a:pt x="1350" y="2113"/>
                  </a:lnTo>
                  <a:lnTo>
                    <a:pt x="1346" y="2092"/>
                  </a:lnTo>
                  <a:lnTo>
                    <a:pt x="1343" y="2071"/>
                  </a:lnTo>
                  <a:lnTo>
                    <a:pt x="1342" y="2047"/>
                  </a:lnTo>
                  <a:lnTo>
                    <a:pt x="1358" y="2031"/>
                  </a:lnTo>
                  <a:lnTo>
                    <a:pt x="1373" y="2016"/>
                  </a:lnTo>
                  <a:lnTo>
                    <a:pt x="1386" y="2004"/>
                  </a:lnTo>
                  <a:lnTo>
                    <a:pt x="1400" y="1993"/>
                  </a:lnTo>
                  <a:lnTo>
                    <a:pt x="1414" y="1984"/>
                  </a:lnTo>
                  <a:lnTo>
                    <a:pt x="1426" y="1976"/>
                  </a:lnTo>
                  <a:lnTo>
                    <a:pt x="1439" y="1969"/>
                  </a:lnTo>
                  <a:lnTo>
                    <a:pt x="1451" y="1964"/>
                  </a:lnTo>
                  <a:lnTo>
                    <a:pt x="1463" y="1960"/>
                  </a:lnTo>
                  <a:lnTo>
                    <a:pt x="1475" y="1956"/>
                  </a:lnTo>
                  <a:lnTo>
                    <a:pt x="1486" y="1955"/>
                  </a:lnTo>
                  <a:lnTo>
                    <a:pt x="1496" y="1953"/>
                  </a:lnTo>
                  <a:lnTo>
                    <a:pt x="1507" y="1953"/>
                  </a:lnTo>
                  <a:lnTo>
                    <a:pt x="1518" y="1955"/>
                  </a:lnTo>
                  <a:lnTo>
                    <a:pt x="1527" y="1956"/>
                  </a:lnTo>
                  <a:lnTo>
                    <a:pt x="1538" y="1957"/>
                  </a:lnTo>
                  <a:lnTo>
                    <a:pt x="1555" y="1963"/>
                  </a:lnTo>
                  <a:lnTo>
                    <a:pt x="1572" y="1969"/>
                  </a:lnTo>
                  <a:lnTo>
                    <a:pt x="1588" y="1977"/>
                  </a:lnTo>
                  <a:lnTo>
                    <a:pt x="1604" y="1985"/>
                  </a:lnTo>
                  <a:lnTo>
                    <a:pt x="1618" y="1993"/>
                  </a:lnTo>
                  <a:lnTo>
                    <a:pt x="1631" y="1999"/>
                  </a:lnTo>
                  <a:lnTo>
                    <a:pt x="1644" y="2003"/>
                  </a:lnTo>
                  <a:lnTo>
                    <a:pt x="1655" y="2004"/>
                  </a:lnTo>
                  <a:lnTo>
                    <a:pt x="1683" y="2001"/>
                  </a:lnTo>
                  <a:lnTo>
                    <a:pt x="1708" y="1999"/>
                  </a:lnTo>
                  <a:lnTo>
                    <a:pt x="1730" y="1997"/>
                  </a:lnTo>
                  <a:lnTo>
                    <a:pt x="1748" y="1996"/>
                  </a:lnTo>
                  <a:lnTo>
                    <a:pt x="1763" y="1997"/>
                  </a:lnTo>
                  <a:lnTo>
                    <a:pt x="1776" y="1999"/>
                  </a:lnTo>
                  <a:lnTo>
                    <a:pt x="1787" y="2000"/>
                  </a:lnTo>
                  <a:lnTo>
                    <a:pt x="1795" y="2003"/>
                  </a:lnTo>
                  <a:lnTo>
                    <a:pt x="1800" y="2005"/>
                  </a:lnTo>
                  <a:lnTo>
                    <a:pt x="1804" y="2009"/>
                  </a:lnTo>
                  <a:lnTo>
                    <a:pt x="1807" y="2013"/>
                  </a:lnTo>
                  <a:lnTo>
                    <a:pt x="1807" y="2019"/>
                  </a:lnTo>
                  <a:lnTo>
                    <a:pt x="1807" y="2024"/>
                  </a:lnTo>
                  <a:lnTo>
                    <a:pt x="1804" y="2029"/>
                  </a:lnTo>
                  <a:lnTo>
                    <a:pt x="1802" y="2035"/>
                  </a:lnTo>
                  <a:lnTo>
                    <a:pt x="1799" y="2040"/>
                  </a:lnTo>
                  <a:lnTo>
                    <a:pt x="1780" y="2064"/>
                  </a:lnTo>
                  <a:lnTo>
                    <a:pt x="1764" y="2087"/>
                  </a:lnTo>
                  <a:lnTo>
                    <a:pt x="1762" y="2092"/>
                  </a:lnTo>
                  <a:lnTo>
                    <a:pt x="1760" y="2097"/>
                  </a:lnTo>
                  <a:lnTo>
                    <a:pt x="1760" y="2101"/>
                  </a:lnTo>
                  <a:lnTo>
                    <a:pt x="1763" y="2104"/>
                  </a:lnTo>
                  <a:lnTo>
                    <a:pt x="1766" y="2108"/>
                  </a:lnTo>
                  <a:lnTo>
                    <a:pt x="1771" y="2111"/>
                  </a:lnTo>
                  <a:lnTo>
                    <a:pt x="1779" y="2112"/>
                  </a:lnTo>
                  <a:lnTo>
                    <a:pt x="1788" y="2113"/>
                  </a:lnTo>
                  <a:lnTo>
                    <a:pt x="1804" y="2116"/>
                  </a:lnTo>
                  <a:lnTo>
                    <a:pt x="1820" y="2120"/>
                  </a:lnTo>
                  <a:lnTo>
                    <a:pt x="1835" y="2125"/>
                  </a:lnTo>
                  <a:lnTo>
                    <a:pt x="1848" y="2132"/>
                  </a:lnTo>
                  <a:lnTo>
                    <a:pt x="1862" y="2139"/>
                  </a:lnTo>
                  <a:lnTo>
                    <a:pt x="1875" y="2147"/>
                  </a:lnTo>
                  <a:lnTo>
                    <a:pt x="1887" y="2156"/>
                  </a:lnTo>
                  <a:lnTo>
                    <a:pt x="1898" y="2165"/>
                  </a:lnTo>
                  <a:lnTo>
                    <a:pt x="1908" y="2176"/>
                  </a:lnTo>
                  <a:lnTo>
                    <a:pt x="1919" y="2187"/>
                  </a:lnTo>
                  <a:lnTo>
                    <a:pt x="1928" y="2197"/>
                  </a:lnTo>
                  <a:lnTo>
                    <a:pt x="1938" y="2209"/>
                  </a:lnTo>
                  <a:lnTo>
                    <a:pt x="1954" y="2236"/>
                  </a:lnTo>
                  <a:lnTo>
                    <a:pt x="1970" y="2263"/>
                  </a:lnTo>
                  <a:lnTo>
                    <a:pt x="1983" y="2291"/>
                  </a:lnTo>
                  <a:lnTo>
                    <a:pt x="1996" y="2321"/>
                  </a:lnTo>
                  <a:lnTo>
                    <a:pt x="2008" y="2351"/>
                  </a:lnTo>
                  <a:lnTo>
                    <a:pt x="2019" y="2381"/>
                  </a:lnTo>
                  <a:lnTo>
                    <a:pt x="2042" y="2441"/>
                  </a:lnTo>
                  <a:lnTo>
                    <a:pt x="2066" y="2498"/>
                  </a:lnTo>
                  <a:lnTo>
                    <a:pt x="2083" y="2532"/>
                  </a:lnTo>
                  <a:lnTo>
                    <a:pt x="2102" y="2565"/>
                  </a:lnTo>
                  <a:lnTo>
                    <a:pt x="2123" y="2597"/>
                  </a:lnTo>
                  <a:lnTo>
                    <a:pt x="2144" y="2626"/>
                  </a:lnTo>
                  <a:lnTo>
                    <a:pt x="2191" y="2686"/>
                  </a:lnTo>
                  <a:lnTo>
                    <a:pt x="2239" y="2744"/>
                  </a:lnTo>
                  <a:lnTo>
                    <a:pt x="2263" y="2773"/>
                  </a:lnTo>
                  <a:lnTo>
                    <a:pt x="2287" y="2801"/>
                  </a:lnTo>
                  <a:lnTo>
                    <a:pt x="2309" y="2832"/>
                  </a:lnTo>
                  <a:lnTo>
                    <a:pt x="2332" y="2862"/>
                  </a:lnTo>
                  <a:lnTo>
                    <a:pt x="2353" y="2894"/>
                  </a:lnTo>
                  <a:lnTo>
                    <a:pt x="2373" y="2928"/>
                  </a:lnTo>
                  <a:lnTo>
                    <a:pt x="2391" y="2961"/>
                  </a:lnTo>
                  <a:lnTo>
                    <a:pt x="2408" y="2998"/>
                  </a:lnTo>
                  <a:lnTo>
                    <a:pt x="2417" y="3020"/>
                  </a:lnTo>
                  <a:lnTo>
                    <a:pt x="2423" y="3041"/>
                  </a:lnTo>
                  <a:lnTo>
                    <a:pt x="2427" y="3061"/>
                  </a:lnTo>
                  <a:lnTo>
                    <a:pt x="2429" y="3079"/>
                  </a:lnTo>
                  <a:lnTo>
                    <a:pt x="2429" y="3099"/>
                  </a:lnTo>
                  <a:lnTo>
                    <a:pt x="2428" y="3118"/>
                  </a:lnTo>
                  <a:lnTo>
                    <a:pt x="2427" y="3138"/>
                  </a:lnTo>
                  <a:lnTo>
                    <a:pt x="2424" y="3158"/>
                  </a:lnTo>
                  <a:lnTo>
                    <a:pt x="2419" y="3202"/>
                  </a:lnTo>
                  <a:lnTo>
                    <a:pt x="2416" y="3251"/>
                  </a:lnTo>
                  <a:lnTo>
                    <a:pt x="2416" y="3278"/>
                  </a:lnTo>
                  <a:lnTo>
                    <a:pt x="2417" y="3309"/>
                  </a:lnTo>
                  <a:lnTo>
                    <a:pt x="2420" y="3342"/>
                  </a:lnTo>
                  <a:lnTo>
                    <a:pt x="2427" y="3377"/>
                  </a:lnTo>
                  <a:lnTo>
                    <a:pt x="2411" y="3382"/>
                  </a:lnTo>
                  <a:lnTo>
                    <a:pt x="2397" y="3389"/>
                  </a:lnTo>
                  <a:lnTo>
                    <a:pt x="2391" y="3391"/>
                  </a:lnTo>
                  <a:lnTo>
                    <a:pt x="2384" y="3393"/>
                  </a:lnTo>
                  <a:lnTo>
                    <a:pt x="2379" y="3395"/>
                  </a:lnTo>
                  <a:lnTo>
                    <a:pt x="2372" y="3395"/>
                  </a:lnTo>
                  <a:lnTo>
                    <a:pt x="2367" y="3394"/>
                  </a:lnTo>
                  <a:lnTo>
                    <a:pt x="2363" y="3393"/>
                  </a:lnTo>
                  <a:lnTo>
                    <a:pt x="2360" y="3389"/>
                  </a:lnTo>
                  <a:lnTo>
                    <a:pt x="2357" y="3385"/>
                  </a:lnTo>
                  <a:lnTo>
                    <a:pt x="2355" y="3373"/>
                  </a:lnTo>
                  <a:lnTo>
                    <a:pt x="2353" y="3359"/>
                  </a:lnTo>
                  <a:lnTo>
                    <a:pt x="2353" y="3346"/>
                  </a:lnTo>
                  <a:lnTo>
                    <a:pt x="2352" y="3331"/>
                  </a:lnTo>
                  <a:lnTo>
                    <a:pt x="2351" y="3319"/>
                  </a:lnTo>
                  <a:lnTo>
                    <a:pt x="2348" y="3311"/>
                  </a:lnTo>
                  <a:lnTo>
                    <a:pt x="2347" y="3309"/>
                  </a:lnTo>
                  <a:lnTo>
                    <a:pt x="2343" y="3305"/>
                  </a:lnTo>
                  <a:lnTo>
                    <a:pt x="2337" y="3301"/>
                  </a:lnTo>
                  <a:lnTo>
                    <a:pt x="2329" y="3295"/>
                  </a:lnTo>
                  <a:lnTo>
                    <a:pt x="2311" y="3285"/>
                  </a:lnTo>
                  <a:lnTo>
                    <a:pt x="2289" y="3273"/>
                  </a:lnTo>
                  <a:lnTo>
                    <a:pt x="2267" y="3262"/>
                  </a:lnTo>
                  <a:lnTo>
                    <a:pt x="2247" y="3253"/>
                  </a:lnTo>
                  <a:lnTo>
                    <a:pt x="2231" y="3247"/>
                  </a:lnTo>
                  <a:lnTo>
                    <a:pt x="2221" y="3245"/>
                  </a:lnTo>
                  <a:lnTo>
                    <a:pt x="2119" y="3389"/>
                  </a:lnTo>
                  <a:lnTo>
                    <a:pt x="2135" y="3397"/>
                  </a:lnTo>
                  <a:lnTo>
                    <a:pt x="2168" y="3413"/>
                  </a:lnTo>
                  <a:lnTo>
                    <a:pt x="2188" y="3422"/>
                  </a:lnTo>
                  <a:lnTo>
                    <a:pt x="2205" y="3430"/>
                  </a:lnTo>
                  <a:lnTo>
                    <a:pt x="2219" y="3435"/>
                  </a:lnTo>
                  <a:lnTo>
                    <a:pt x="2228" y="3438"/>
                  </a:lnTo>
                  <a:lnTo>
                    <a:pt x="2241" y="3437"/>
                  </a:lnTo>
                  <a:lnTo>
                    <a:pt x="2252" y="3435"/>
                  </a:lnTo>
                  <a:lnTo>
                    <a:pt x="2259" y="3433"/>
                  </a:lnTo>
                  <a:lnTo>
                    <a:pt x="2265" y="3430"/>
                  </a:lnTo>
                  <a:lnTo>
                    <a:pt x="2272" y="3430"/>
                  </a:lnTo>
                  <a:lnTo>
                    <a:pt x="2279" y="3430"/>
                  </a:lnTo>
                  <a:lnTo>
                    <a:pt x="2288" y="3433"/>
                  </a:lnTo>
                  <a:lnTo>
                    <a:pt x="2300" y="3438"/>
                  </a:lnTo>
                  <a:lnTo>
                    <a:pt x="2300" y="3534"/>
                  </a:lnTo>
                  <a:lnTo>
                    <a:pt x="2296" y="3541"/>
                  </a:lnTo>
                  <a:lnTo>
                    <a:pt x="2291" y="3546"/>
                  </a:lnTo>
                  <a:lnTo>
                    <a:pt x="2285" y="3551"/>
                  </a:lnTo>
                  <a:lnTo>
                    <a:pt x="2279" y="3557"/>
                  </a:lnTo>
                  <a:lnTo>
                    <a:pt x="2265" y="3566"/>
                  </a:lnTo>
                  <a:lnTo>
                    <a:pt x="2251" y="3574"/>
                  </a:lnTo>
                  <a:lnTo>
                    <a:pt x="2237" y="3582"/>
                  </a:lnTo>
                  <a:lnTo>
                    <a:pt x="2225" y="3590"/>
                  </a:lnTo>
                  <a:lnTo>
                    <a:pt x="2221" y="3594"/>
                  </a:lnTo>
                  <a:lnTo>
                    <a:pt x="2219" y="3598"/>
                  </a:lnTo>
                  <a:lnTo>
                    <a:pt x="2216" y="3602"/>
                  </a:lnTo>
                  <a:lnTo>
                    <a:pt x="2215" y="3606"/>
                  </a:lnTo>
                  <a:lnTo>
                    <a:pt x="2216" y="3611"/>
                  </a:lnTo>
                  <a:lnTo>
                    <a:pt x="2217" y="3617"/>
                  </a:lnTo>
                  <a:lnTo>
                    <a:pt x="2219" y="3622"/>
                  </a:lnTo>
                  <a:lnTo>
                    <a:pt x="2221" y="3627"/>
                  </a:lnTo>
                  <a:lnTo>
                    <a:pt x="2228" y="3638"/>
                  </a:lnTo>
                  <a:lnTo>
                    <a:pt x="2236" y="3649"/>
                  </a:lnTo>
                  <a:lnTo>
                    <a:pt x="2244" y="3658"/>
                  </a:lnTo>
                  <a:lnTo>
                    <a:pt x="2251" y="3668"/>
                  </a:lnTo>
                  <a:lnTo>
                    <a:pt x="2253" y="3674"/>
                  </a:lnTo>
                  <a:lnTo>
                    <a:pt x="2256" y="3679"/>
                  </a:lnTo>
                  <a:lnTo>
                    <a:pt x="2257" y="3684"/>
                  </a:lnTo>
                  <a:lnTo>
                    <a:pt x="2257" y="3690"/>
                  </a:lnTo>
                  <a:lnTo>
                    <a:pt x="2257" y="3700"/>
                  </a:lnTo>
                  <a:lnTo>
                    <a:pt x="2256" y="3710"/>
                  </a:lnTo>
                  <a:lnTo>
                    <a:pt x="2253" y="3719"/>
                  </a:lnTo>
                  <a:lnTo>
                    <a:pt x="2251" y="3728"/>
                  </a:lnTo>
                  <a:lnTo>
                    <a:pt x="2247" y="3736"/>
                  </a:lnTo>
                  <a:lnTo>
                    <a:pt x="2241" y="3744"/>
                  </a:lnTo>
                  <a:lnTo>
                    <a:pt x="2236" y="3751"/>
                  </a:lnTo>
                  <a:lnTo>
                    <a:pt x="2231" y="3758"/>
                  </a:lnTo>
                  <a:lnTo>
                    <a:pt x="2224" y="3763"/>
                  </a:lnTo>
                  <a:lnTo>
                    <a:pt x="2217" y="3768"/>
                  </a:lnTo>
                  <a:lnTo>
                    <a:pt x="2209" y="3774"/>
                  </a:lnTo>
                  <a:lnTo>
                    <a:pt x="2201" y="3779"/>
                  </a:lnTo>
                  <a:lnTo>
                    <a:pt x="2183" y="3787"/>
                  </a:lnTo>
                  <a:lnTo>
                    <a:pt x="2164" y="3794"/>
                  </a:lnTo>
                  <a:lnTo>
                    <a:pt x="2144" y="3799"/>
                  </a:lnTo>
                  <a:lnTo>
                    <a:pt x="2123" y="3803"/>
                  </a:lnTo>
                  <a:lnTo>
                    <a:pt x="2102" y="3806"/>
                  </a:lnTo>
                  <a:lnTo>
                    <a:pt x="2080" y="3808"/>
                  </a:lnTo>
                  <a:lnTo>
                    <a:pt x="2038" y="3810"/>
                  </a:lnTo>
                  <a:lnTo>
                    <a:pt x="1999" y="3811"/>
                  </a:lnTo>
                  <a:lnTo>
                    <a:pt x="1992" y="3811"/>
                  </a:lnTo>
                  <a:lnTo>
                    <a:pt x="1987" y="3814"/>
                  </a:lnTo>
                  <a:lnTo>
                    <a:pt x="1980" y="3816"/>
                  </a:lnTo>
                  <a:lnTo>
                    <a:pt x="1975" y="3822"/>
                  </a:lnTo>
                  <a:lnTo>
                    <a:pt x="1963" y="3834"/>
                  </a:lnTo>
                  <a:lnTo>
                    <a:pt x="1951" y="3847"/>
                  </a:lnTo>
                  <a:lnTo>
                    <a:pt x="1942" y="3863"/>
                  </a:lnTo>
                  <a:lnTo>
                    <a:pt x="1934" y="3879"/>
                  </a:lnTo>
                  <a:lnTo>
                    <a:pt x="1931" y="3887"/>
                  </a:lnTo>
                  <a:lnTo>
                    <a:pt x="1928" y="3894"/>
                  </a:lnTo>
                  <a:lnTo>
                    <a:pt x="1927" y="3900"/>
                  </a:lnTo>
                  <a:lnTo>
                    <a:pt x="1927" y="3907"/>
                  </a:lnTo>
                  <a:lnTo>
                    <a:pt x="1927" y="3922"/>
                  </a:lnTo>
                  <a:lnTo>
                    <a:pt x="1930" y="3934"/>
                  </a:lnTo>
                  <a:lnTo>
                    <a:pt x="1934" y="3944"/>
                  </a:lnTo>
                  <a:lnTo>
                    <a:pt x="1939" y="3954"/>
                  </a:lnTo>
                  <a:lnTo>
                    <a:pt x="1943" y="3963"/>
                  </a:lnTo>
                  <a:lnTo>
                    <a:pt x="1947" y="3971"/>
                  </a:lnTo>
                  <a:lnTo>
                    <a:pt x="1950" y="3980"/>
                  </a:lnTo>
                  <a:lnTo>
                    <a:pt x="1951" y="3991"/>
                  </a:lnTo>
                  <a:lnTo>
                    <a:pt x="1950" y="3998"/>
                  </a:lnTo>
                  <a:lnTo>
                    <a:pt x="1948" y="4003"/>
                  </a:lnTo>
                  <a:lnTo>
                    <a:pt x="1947" y="4008"/>
                  </a:lnTo>
                  <a:lnTo>
                    <a:pt x="1944" y="4012"/>
                  </a:lnTo>
                  <a:lnTo>
                    <a:pt x="1942" y="4016"/>
                  </a:lnTo>
                  <a:lnTo>
                    <a:pt x="1938" y="4019"/>
                  </a:lnTo>
                  <a:lnTo>
                    <a:pt x="1934" y="4020"/>
                  </a:lnTo>
                  <a:lnTo>
                    <a:pt x="1928" y="4023"/>
                  </a:lnTo>
                  <a:lnTo>
                    <a:pt x="1919" y="4026"/>
                  </a:lnTo>
                  <a:lnTo>
                    <a:pt x="1907" y="4027"/>
                  </a:lnTo>
                  <a:lnTo>
                    <a:pt x="1896" y="4027"/>
                  </a:lnTo>
                  <a:lnTo>
                    <a:pt x="1884" y="4027"/>
                  </a:lnTo>
                  <a:lnTo>
                    <a:pt x="1884" y="4022"/>
                  </a:lnTo>
                  <a:lnTo>
                    <a:pt x="1874" y="3987"/>
                  </a:lnTo>
                  <a:lnTo>
                    <a:pt x="1864" y="3954"/>
                  </a:lnTo>
                  <a:lnTo>
                    <a:pt x="1858" y="3919"/>
                  </a:lnTo>
                  <a:lnTo>
                    <a:pt x="1852" y="3883"/>
                  </a:lnTo>
                  <a:lnTo>
                    <a:pt x="1850" y="3864"/>
                  </a:lnTo>
                  <a:lnTo>
                    <a:pt x="1850" y="3846"/>
                  </a:lnTo>
                  <a:lnTo>
                    <a:pt x="1850" y="3827"/>
                  </a:lnTo>
                  <a:lnTo>
                    <a:pt x="1850" y="3808"/>
                  </a:lnTo>
                  <a:lnTo>
                    <a:pt x="1851" y="3788"/>
                  </a:lnTo>
                  <a:lnTo>
                    <a:pt x="1854" y="3768"/>
                  </a:lnTo>
                  <a:lnTo>
                    <a:pt x="1856" y="3747"/>
                  </a:lnTo>
                  <a:lnTo>
                    <a:pt x="1860" y="3726"/>
                  </a:lnTo>
                  <a:lnTo>
                    <a:pt x="1848" y="3724"/>
                  </a:lnTo>
                  <a:lnTo>
                    <a:pt x="1838" y="3722"/>
                  </a:lnTo>
                  <a:lnTo>
                    <a:pt x="1828" y="3718"/>
                  </a:lnTo>
                  <a:lnTo>
                    <a:pt x="1819" y="3714"/>
                  </a:lnTo>
                  <a:lnTo>
                    <a:pt x="1812" y="3708"/>
                  </a:lnTo>
                  <a:lnTo>
                    <a:pt x="1804" y="3703"/>
                  </a:lnTo>
                  <a:lnTo>
                    <a:pt x="1798" y="3696"/>
                  </a:lnTo>
                  <a:lnTo>
                    <a:pt x="1792" y="3690"/>
                  </a:lnTo>
                  <a:lnTo>
                    <a:pt x="1772" y="3662"/>
                  </a:lnTo>
                  <a:lnTo>
                    <a:pt x="1752" y="3637"/>
                  </a:lnTo>
                  <a:lnTo>
                    <a:pt x="1746" y="3627"/>
                  </a:lnTo>
                  <a:lnTo>
                    <a:pt x="1738" y="3619"/>
                  </a:lnTo>
                  <a:lnTo>
                    <a:pt x="1734" y="3617"/>
                  </a:lnTo>
                  <a:lnTo>
                    <a:pt x="1728" y="3614"/>
                  </a:lnTo>
                  <a:lnTo>
                    <a:pt x="1722" y="3613"/>
                  </a:lnTo>
                  <a:lnTo>
                    <a:pt x="1715" y="3613"/>
                  </a:lnTo>
                  <a:lnTo>
                    <a:pt x="1703" y="3623"/>
                  </a:lnTo>
                  <a:lnTo>
                    <a:pt x="1692" y="3635"/>
                  </a:lnTo>
                  <a:lnTo>
                    <a:pt x="1682" y="3650"/>
                  </a:lnTo>
                  <a:lnTo>
                    <a:pt x="1672" y="3664"/>
                  </a:lnTo>
                  <a:lnTo>
                    <a:pt x="1654" y="3698"/>
                  </a:lnTo>
                  <a:lnTo>
                    <a:pt x="1636" y="3735"/>
                  </a:lnTo>
                  <a:lnTo>
                    <a:pt x="1619" y="3774"/>
                  </a:lnTo>
                  <a:lnTo>
                    <a:pt x="1602" y="3812"/>
                  </a:lnTo>
                  <a:lnTo>
                    <a:pt x="1584" y="3851"/>
                  </a:lnTo>
                  <a:lnTo>
                    <a:pt x="1566" y="3888"/>
                  </a:lnTo>
                  <a:lnTo>
                    <a:pt x="1548" y="3918"/>
                  </a:lnTo>
                  <a:lnTo>
                    <a:pt x="1530" y="3946"/>
                  </a:lnTo>
                  <a:lnTo>
                    <a:pt x="1510" y="3972"/>
                  </a:lnTo>
                  <a:lnTo>
                    <a:pt x="1490" y="3998"/>
                  </a:lnTo>
                  <a:lnTo>
                    <a:pt x="1467" y="4020"/>
                  </a:lnTo>
                  <a:lnTo>
                    <a:pt x="1446" y="4042"/>
                  </a:lnTo>
                  <a:lnTo>
                    <a:pt x="1423" y="4060"/>
                  </a:lnTo>
                  <a:lnTo>
                    <a:pt x="1400" y="4075"/>
                  </a:lnTo>
                  <a:lnTo>
                    <a:pt x="1390" y="4082"/>
                  </a:lnTo>
                  <a:lnTo>
                    <a:pt x="1378" y="4088"/>
                  </a:lnTo>
                  <a:lnTo>
                    <a:pt x="1367" y="4094"/>
                  </a:lnTo>
                  <a:lnTo>
                    <a:pt x="1357" y="4098"/>
                  </a:lnTo>
                  <a:lnTo>
                    <a:pt x="1346" y="4100"/>
                  </a:lnTo>
                  <a:lnTo>
                    <a:pt x="1337" y="4103"/>
                  </a:lnTo>
                  <a:lnTo>
                    <a:pt x="1326" y="4104"/>
                  </a:lnTo>
                  <a:lnTo>
                    <a:pt x="1317" y="4104"/>
                  </a:lnTo>
                  <a:lnTo>
                    <a:pt x="1309" y="4103"/>
                  </a:lnTo>
                  <a:lnTo>
                    <a:pt x="1299" y="4102"/>
                  </a:lnTo>
                  <a:lnTo>
                    <a:pt x="1291" y="4098"/>
                  </a:lnTo>
                  <a:lnTo>
                    <a:pt x="1283" y="4094"/>
                  </a:lnTo>
                  <a:lnTo>
                    <a:pt x="1277" y="4088"/>
                  </a:lnTo>
                  <a:lnTo>
                    <a:pt x="1270" y="4082"/>
                  </a:lnTo>
                  <a:lnTo>
                    <a:pt x="1263" y="4074"/>
                  </a:lnTo>
                  <a:lnTo>
                    <a:pt x="1258" y="4063"/>
                  </a:lnTo>
                  <a:lnTo>
                    <a:pt x="1222" y="3990"/>
                  </a:lnTo>
                  <a:lnTo>
                    <a:pt x="1202" y="3944"/>
                  </a:lnTo>
                  <a:lnTo>
                    <a:pt x="1198" y="3936"/>
                  </a:lnTo>
                  <a:lnTo>
                    <a:pt x="1193" y="3930"/>
                  </a:lnTo>
                  <a:lnTo>
                    <a:pt x="1187" y="3924"/>
                  </a:lnTo>
                  <a:lnTo>
                    <a:pt x="1181" y="3919"/>
                  </a:lnTo>
                  <a:lnTo>
                    <a:pt x="1173" y="3915"/>
                  </a:lnTo>
                  <a:lnTo>
                    <a:pt x="1162" y="3912"/>
                  </a:lnTo>
                  <a:lnTo>
                    <a:pt x="1151" y="3910"/>
                  </a:lnTo>
                  <a:lnTo>
                    <a:pt x="1138" y="3907"/>
                  </a:lnTo>
                  <a:lnTo>
                    <a:pt x="1146" y="3896"/>
                  </a:lnTo>
                  <a:lnTo>
                    <a:pt x="1153" y="3886"/>
                  </a:lnTo>
                  <a:lnTo>
                    <a:pt x="1158" y="3876"/>
                  </a:lnTo>
                  <a:lnTo>
                    <a:pt x="1162" y="3867"/>
                  </a:lnTo>
                  <a:lnTo>
                    <a:pt x="1165" y="3858"/>
                  </a:lnTo>
                  <a:lnTo>
                    <a:pt x="1166" y="3847"/>
                  </a:lnTo>
                  <a:lnTo>
                    <a:pt x="1167" y="3835"/>
                  </a:lnTo>
                  <a:lnTo>
                    <a:pt x="1167" y="3823"/>
                  </a:lnTo>
                  <a:lnTo>
                    <a:pt x="1167" y="3812"/>
                  </a:lnTo>
                  <a:lnTo>
                    <a:pt x="1167" y="3807"/>
                  </a:lnTo>
                  <a:lnTo>
                    <a:pt x="1167" y="3802"/>
                  </a:lnTo>
                  <a:lnTo>
                    <a:pt x="1167" y="3792"/>
                  </a:lnTo>
                  <a:lnTo>
                    <a:pt x="1169" y="3786"/>
                  </a:lnTo>
                  <a:lnTo>
                    <a:pt x="1169" y="3779"/>
                  </a:lnTo>
                  <a:lnTo>
                    <a:pt x="1170" y="3774"/>
                  </a:lnTo>
                  <a:lnTo>
                    <a:pt x="1173" y="3770"/>
                  </a:lnTo>
                  <a:lnTo>
                    <a:pt x="1178" y="3762"/>
                  </a:lnTo>
                  <a:lnTo>
                    <a:pt x="1183" y="3756"/>
                  </a:lnTo>
                  <a:lnTo>
                    <a:pt x="1190" y="3751"/>
                  </a:lnTo>
                  <a:lnTo>
                    <a:pt x="1195" y="3743"/>
                  </a:lnTo>
                  <a:lnTo>
                    <a:pt x="1198" y="3739"/>
                  </a:lnTo>
                  <a:lnTo>
                    <a:pt x="1201" y="3734"/>
                  </a:lnTo>
                  <a:lnTo>
                    <a:pt x="1202" y="3727"/>
                  </a:lnTo>
                  <a:lnTo>
                    <a:pt x="1203" y="3720"/>
                  </a:lnTo>
                  <a:lnTo>
                    <a:pt x="1203" y="3726"/>
                  </a:lnTo>
                  <a:lnTo>
                    <a:pt x="1203" y="3720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accent1">
                  <a:lumMod val="20000"/>
                  <a:lumOff val="8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95" b="0" i="0" u="none" strike="noStrike" kern="1200" cap="none" spc="0" normalizeH="0" baseline="0" noProof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7" name="Freeform 30"/>
            <p:cNvSpPr>
              <a:spLocks/>
            </p:cNvSpPr>
            <p:nvPr/>
          </p:nvSpPr>
          <p:spPr bwMode="auto">
            <a:xfrm>
              <a:off x="5926444" y="2168413"/>
              <a:ext cx="10376" cy="4716"/>
            </a:xfrm>
            <a:custGeom>
              <a:avLst/>
              <a:gdLst>
                <a:gd name="T0" fmla="*/ 108 w 144"/>
                <a:gd name="T1" fmla="*/ 17 h 63"/>
                <a:gd name="T2" fmla="*/ 86 w 144"/>
                <a:gd name="T3" fmla="*/ 17 h 63"/>
                <a:gd name="T4" fmla="*/ 62 w 144"/>
                <a:gd name="T5" fmla="*/ 16 h 63"/>
                <a:gd name="T6" fmla="*/ 51 w 144"/>
                <a:gd name="T7" fmla="*/ 13 h 63"/>
                <a:gd name="T8" fmla="*/ 40 w 144"/>
                <a:gd name="T9" fmla="*/ 11 h 63"/>
                <a:gd name="T10" fmla="*/ 32 w 144"/>
                <a:gd name="T11" fmla="*/ 5 h 63"/>
                <a:gd name="T12" fmla="*/ 24 w 144"/>
                <a:gd name="T13" fmla="*/ 0 h 63"/>
                <a:gd name="T14" fmla="*/ 19 w 144"/>
                <a:gd name="T15" fmla="*/ 1 h 63"/>
                <a:gd name="T16" fmla="*/ 15 w 144"/>
                <a:gd name="T17" fmla="*/ 4 h 63"/>
                <a:gd name="T18" fmla="*/ 12 w 144"/>
                <a:gd name="T19" fmla="*/ 7 h 63"/>
                <a:gd name="T20" fmla="*/ 10 w 144"/>
                <a:gd name="T21" fmla="*/ 9 h 63"/>
                <a:gd name="T22" fmla="*/ 7 w 144"/>
                <a:gd name="T23" fmla="*/ 16 h 63"/>
                <a:gd name="T24" fmla="*/ 0 w 144"/>
                <a:gd name="T25" fmla="*/ 24 h 63"/>
                <a:gd name="T26" fmla="*/ 0 w 144"/>
                <a:gd name="T27" fmla="*/ 60 h 63"/>
                <a:gd name="T28" fmla="*/ 11 w 144"/>
                <a:gd name="T29" fmla="*/ 61 h 63"/>
                <a:gd name="T30" fmla="*/ 22 w 144"/>
                <a:gd name="T31" fmla="*/ 63 h 63"/>
                <a:gd name="T32" fmla="*/ 31 w 144"/>
                <a:gd name="T33" fmla="*/ 63 h 63"/>
                <a:gd name="T34" fmla="*/ 42 w 144"/>
                <a:gd name="T35" fmla="*/ 63 h 63"/>
                <a:gd name="T36" fmla="*/ 68 w 144"/>
                <a:gd name="T37" fmla="*/ 61 h 63"/>
                <a:gd name="T38" fmla="*/ 103 w 144"/>
                <a:gd name="T39" fmla="*/ 60 h 63"/>
                <a:gd name="T40" fmla="*/ 115 w 144"/>
                <a:gd name="T41" fmla="*/ 59 h 63"/>
                <a:gd name="T42" fmla="*/ 123 w 144"/>
                <a:gd name="T43" fmla="*/ 57 h 63"/>
                <a:gd name="T44" fmla="*/ 130 w 144"/>
                <a:gd name="T45" fmla="*/ 53 h 63"/>
                <a:gd name="T46" fmla="*/ 135 w 144"/>
                <a:gd name="T47" fmla="*/ 48 h 63"/>
                <a:gd name="T48" fmla="*/ 140 w 144"/>
                <a:gd name="T49" fmla="*/ 35 h 63"/>
                <a:gd name="T50" fmla="*/ 144 w 144"/>
                <a:gd name="T51" fmla="*/ 17 h 63"/>
                <a:gd name="T52" fmla="*/ 127 w 144"/>
                <a:gd name="T53" fmla="*/ 17 h 63"/>
                <a:gd name="T54" fmla="*/ 108 w 144"/>
                <a:gd name="T55" fmla="*/ 17 h 63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44"/>
                <a:gd name="T85" fmla="*/ 0 h 63"/>
                <a:gd name="T86" fmla="*/ 144 w 144"/>
                <a:gd name="T87" fmla="*/ 63 h 63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44" h="63">
                  <a:moveTo>
                    <a:pt x="108" y="17"/>
                  </a:moveTo>
                  <a:lnTo>
                    <a:pt x="86" y="17"/>
                  </a:lnTo>
                  <a:lnTo>
                    <a:pt x="62" y="16"/>
                  </a:lnTo>
                  <a:lnTo>
                    <a:pt x="51" y="13"/>
                  </a:lnTo>
                  <a:lnTo>
                    <a:pt x="40" y="11"/>
                  </a:lnTo>
                  <a:lnTo>
                    <a:pt x="32" y="5"/>
                  </a:lnTo>
                  <a:lnTo>
                    <a:pt x="24" y="0"/>
                  </a:lnTo>
                  <a:lnTo>
                    <a:pt x="19" y="1"/>
                  </a:lnTo>
                  <a:lnTo>
                    <a:pt x="15" y="4"/>
                  </a:lnTo>
                  <a:lnTo>
                    <a:pt x="12" y="7"/>
                  </a:lnTo>
                  <a:lnTo>
                    <a:pt x="10" y="9"/>
                  </a:lnTo>
                  <a:lnTo>
                    <a:pt x="7" y="16"/>
                  </a:lnTo>
                  <a:lnTo>
                    <a:pt x="0" y="24"/>
                  </a:lnTo>
                  <a:lnTo>
                    <a:pt x="0" y="60"/>
                  </a:lnTo>
                  <a:lnTo>
                    <a:pt x="11" y="61"/>
                  </a:lnTo>
                  <a:lnTo>
                    <a:pt x="22" y="63"/>
                  </a:lnTo>
                  <a:lnTo>
                    <a:pt x="31" y="63"/>
                  </a:lnTo>
                  <a:lnTo>
                    <a:pt x="42" y="63"/>
                  </a:lnTo>
                  <a:lnTo>
                    <a:pt x="68" y="61"/>
                  </a:lnTo>
                  <a:lnTo>
                    <a:pt x="103" y="60"/>
                  </a:lnTo>
                  <a:lnTo>
                    <a:pt x="115" y="59"/>
                  </a:lnTo>
                  <a:lnTo>
                    <a:pt x="123" y="57"/>
                  </a:lnTo>
                  <a:lnTo>
                    <a:pt x="130" y="53"/>
                  </a:lnTo>
                  <a:lnTo>
                    <a:pt x="135" y="48"/>
                  </a:lnTo>
                  <a:lnTo>
                    <a:pt x="140" y="35"/>
                  </a:lnTo>
                  <a:lnTo>
                    <a:pt x="144" y="17"/>
                  </a:lnTo>
                  <a:lnTo>
                    <a:pt x="127" y="17"/>
                  </a:lnTo>
                  <a:lnTo>
                    <a:pt x="108" y="17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accent1">
                  <a:lumMod val="20000"/>
                  <a:lumOff val="8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95" b="0" i="0" u="none" strike="noStrike" kern="1200" cap="none" spc="0" normalizeH="0" baseline="0" noProof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8" name="Freeform 31"/>
            <p:cNvSpPr>
              <a:spLocks/>
            </p:cNvSpPr>
            <p:nvPr/>
          </p:nvSpPr>
          <p:spPr bwMode="auto">
            <a:xfrm>
              <a:off x="5940829" y="2158980"/>
              <a:ext cx="7782" cy="4245"/>
            </a:xfrm>
            <a:custGeom>
              <a:avLst/>
              <a:gdLst>
                <a:gd name="T0" fmla="*/ 42 w 108"/>
                <a:gd name="T1" fmla="*/ 54 h 60"/>
                <a:gd name="T2" fmla="*/ 12 w 108"/>
                <a:gd name="T3" fmla="*/ 60 h 60"/>
                <a:gd name="T4" fmla="*/ 5 w 108"/>
                <a:gd name="T5" fmla="*/ 49 h 60"/>
                <a:gd name="T6" fmla="*/ 0 w 108"/>
                <a:gd name="T7" fmla="*/ 42 h 60"/>
                <a:gd name="T8" fmla="*/ 1 w 108"/>
                <a:gd name="T9" fmla="*/ 33 h 60"/>
                <a:gd name="T10" fmla="*/ 5 w 108"/>
                <a:gd name="T11" fmla="*/ 25 h 60"/>
                <a:gd name="T12" fmla="*/ 12 w 108"/>
                <a:gd name="T13" fmla="*/ 18 h 60"/>
                <a:gd name="T14" fmla="*/ 20 w 108"/>
                <a:gd name="T15" fmla="*/ 12 h 60"/>
                <a:gd name="T16" fmla="*/ 29 w 108"/>
                <a:gd name="T17" fmla="*/ 8 h 60"/>
                <a:gd name="T18" fmla="*/ 40 w 108"/>
                <a:gd name="T19" fmla="*/ 4 h 60"/>
                <a:gd name="T20" fmla="*/ 53 w 108"/>
                <a:gd name="T21" fmla="*/ 1 h 60"/>
                <a:gd name="T22" fmla="*/ 66 w 108"/>
                <a:gd name="T23" fmla="*/ 0 h 60"/>
                <a:gd name="T24" fmla="*/ 80 w 108"/>
                <a:gd name="T25" fmla="*/ 1 h 60"/>
                <a:gd name="T26" fmla="*/ 92 w 108"/>
                <a:gd name="T27" fmla="*/ 2 h 60"/>
                <a:gd name="T28" fmla="*/ 97 w 108"/>
                <a:gd name="T29" fmla="*/ 5 h 60"/>
                <a:gd name="T30" fmla="*/ 101 w 108"/>
                <a:gd name="T31" fmla="*/ 8 h 60"/>
                <a:gd name="T32" fmla="*/ 105 w 108"/>
                <a:gd name="T33" fmla="*/ 12 h 60"/>
                <a:gd name="T34" fmla="*/ 108 w 108"/>
                <a:gd name="T35" fmla="*/ 18 h 60"/>
                <a:gd name="T36" fmla="*/ 96 w 108"/>
                <a:gd name="T37" fmla="*/ 25 h 60"/>
                <a:gd name="T38" fmla="*/ 86 w 108"/>
                <a:gd name="T39" fmla="*/ 28 h 60"/>
                <a:gd name="T40" fmla="*/ 82 w 108"/>
                <a:gd name="T41" fmla="*/ 30 h 60"/>
                <a:gd name="T42" fmla="*/ 80 w 108"/>
                <a:gd name="T43" fmla="*/ 33 h 60"/>
                <a:gd name="T44" fmla="*/ 78 w 108"/>
                <a:gd name="T45" fmla="*/ 37 h 60"/>
                <a:gd name="T46" fmla="*/ 78 w 108"/>
                <a:gd name="T47" fmla="*/ 42 h 60"/>
                <a:gd name="T48" fmla="*/ 42 w 108"/>
                <a:gd name="T49" fmla="*/ 54 h 60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08"/>
                <a:gd name="T76" fmla="*/ 0 h 60"/>
                <a:gd name="T77" fmla="*/ 108 w 108"/>
                <a:gd name="T78" fmla="*/ 60 h 60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08" h="60">
                  <a:moveTo>
                    <a:pt x="42" y="54"/>
                  </a:moveTo>
                  <a:lnTo>
                    <a:pt x="12" y="60"/>
                  </a:lnTo>
                  <a:lnTo>
                    <a:pt x="5" y="49"/>
                  </a:lnTo>
                  <a:lnTo>
                    <a:pt x="0" y="42"/>
                  </a:lnTo>
                  <a:lnTo>
                    <a:pt x="1" y="33"/>
                  </a:lnTo>
                  <a:lnTo>
                    <a:pt x="5" y="25"/>
                  </a:lnTo>
                  <a:lnTo>
                    <a:pt x="12" y="18"/>
                  </a:lnTo>
                  <a:lnTo>
                    <a:pt x="20" y="12"/>
                  </a:lnTo>
                  <a:lnTo>
                    <a:pt x="29" y="8"/>
                  </a:lnTo>
                  <a:lnTo>
                    <a:pt x="40" y="4"/>
                  </a:lnTo>
                  <a:lnTo>
                    <a:pt x="53" y="1"/>
                  </a:lnTo>
                  <a:lnTo>
                    <a:pt x="66" y="0"/>
                  </a:lnTo>
                  <a:lnTo>
                    <a:pt x="80" y="1"/>
                  </a:lnTo>
                  <a:lnTo>
                    <a:pt x="92" y="2"/>
                  </a:lnTo>
                  <a:lnTo>
                    <a:pt x="97" y="5"/>
                  </a:lnTo>
                  <a:lnTo>
                    <a:pt x="101" y="8"/>
                  </a:lnTo>
                  <a:lnTo>
                    <a:pt x="105" y="12"/>
                  </a:lnTo>
                  <a:lnTo>
                    <a:pt x="108" y="18"/>
                  </a:lnTo>
                  <a:lnTo>
                    <a:pt x="96" y="25"/>
                  </a:lnTo>
                  <a:lnTo>
                    <a:pt x="86" y="28"/>
                  </a:lnTo>
                  <a:lnTo>
                    <a:pt x="82" y="30"/>
                  </a:lnTo>
                  <a:lnTo>
                    <a:pt x="80" y="33"/>
                  </a:lnTo>
                  <a:lnTo>
                    <a:pt x="78" y="37"/>
                  </a:lnTo>
                  <a:lnTo>
                    <a:pt x="78" y="42"/>
                  </a:lnTo>
                  <a:lnTo>
                    <a:pt x="42" y="54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accent1">
                  <a:lumMod val="20000"/>
                  <a:lumOff val="8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95" b="0" i="0" u="none" strike="noStrike" kern="1200" cap="none" spc="0" normalizeH="0" baseline="0" noProof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9" name="Freeform 32"/>
            <p:cNvSpPr>
              <a:spLocks/>
            </p:cNvSpPr>
            <p:nvPr/>
          </p:nvSpPr>
          <p:spPr bwMode="auto">
            <a:xfrm>
              <a:off x="5702656" y="1938495"/>
              <a:ext cx="10376" cy="25704"/>
            </a:xfrm>
            <a:custGeom>
              <a:avLst/>
              <a:gdLst>
                <a:gd name="T0" fmla="*/ 144 w 144"/>
                <a:gd name="T1" fmla="*/ 0 h 356"/>
                <a:gd name="T2" fmla="*/ 128 w 144"/>
                <a:gd name="T3" fmla="*/ 8 h 356"/>
                <a:gd name="T4" fmla="*/ 112 w 144"/>
                <a:gd name="T5" fmla="*/ 18 h 356"/>
                <a:gd name="T6" fmla="*/ 97 w 144"/>
                <a:gd name="T7" fmla="*/ 28 h 356"/>
                <a:gd name="T8" fmla="*/ 82 w 144"/>
                <a:gd name="T9" fmla="*/ 39 h 356"/>
                <a:gd name="T10" fmla="*/ 70 w 144"/>
                <a:gd name="T11" fmla="*/ 51 h 356"/>
                <a:gd name="T12" fmla="*/ 58 w 144"/>
                <a:gd name="T13" fmla="*/ 63 h 356"/>
                <a:gd name="T14" fmla="*/ 48 w 144"/>
                <a:gd name="T15" fmla="*/ 78 h 356"/>
                <a:gd name="T16" fmla="*/ 37 w 144"/>
                <a:gd name="T17" fmla="*/ 91 h 356"/>
                <a:gd name="T18" fmla="*/ 29 w 144"/>
                <a:gd name="T19" fmla="*/ 107 h 356"/>
                <a:gd name="T20" fmla="*/ 21 w 144"/>
                <a:gd name="T21" fmla="*/ 123 h 356"/>
                <a:gd name="T22" fmla="*/ 14 w 144"/>
                <a:gd name="T23" fmla="*/ 140 h 356"/>
                <a:gd name="T24" fmla="*/ 9 w 144"/>
                <a:gd name="T25" fmla="*/ 159 h 356"/>
                <a:gd name="T26" fmla="*/ 5 w 144"/>
                <a:gd name="T27" fmla="*/ 178 h 356"/>
                <a:gd name="T28" fmla="*/ 1 w 144"/>
                <a:gd name="T29" fmla="*/ 198 h 356"/>
                <a:gd name="T30" fmla="*/ 0 w 144"/>
                <a:gd name="T31" fmla="*/ 219 h 356"/>
                <a:gd name="T32" fmla="*/ 0 w 144"/>
                <a:gd name="T33" fmla="*/ 242 h 356"/>
                <a:gd name="T34" fmla="*/ 0 w 144"/>
                <a:gd name="T35" fmla="*/ 260 h 356"/>
                <a:gd name="T36" fmla="*/ 2 w 144"/>
                <a:gd name="T37" fmla="*/ 278 h 356"/>
                <a:gd name="T38" fmla="*/ 6 w 144"/>
                <a:gd name="T39" fmla="*/ 292 h 356"/>
                <a:gd name="T40" fmla="*/ 10 w 144"/>
                <a:gd name="T41" fmla="*/ 304 h 356"/>
                <a:gd name="T42" fmla="*/ 17 w 144"/>
                <a:gd name="T43" fmla="*/ 315 h 356"/>
                <a:gd name="T44" fmla="*/ 24 w 144"/>
                <a:gd name="T45" fmla="*/ 324 h 356"/>
                <a:gd name="T46" fmla="*/ 33 w 144"/>
                <a:gd name="T47" fmla="*/ 331 h 356"/>
                <a:gd name="T48" fmla="*/ 42 w 144"/>
                <a:gd name="T49" fmla="*/ 338 h 356"/>
                <a:gd name="T50" fmla="*/ 52 w 144"/>
                <a:gd name="T51" fmla="*/ 342 h 356"/>
                <a:gd name="T52" fmla="*/ 64 w 144"/>
                <a:gd name="T53" fmla="*/ 346 h 356"/>
                <a:gd name="T54" fmla="*/ 76 w 144"/>
                <a:gd name="T55" fmla="*/ 348 h 356"/>
                <a:gd name="T56" fmla="*/ 88 w 144"/>
                <a:gd name="T57" fmla="*/ 351 h 356"/>
                <a:gd name="T58" fmla="*/ 114 w 144"/>
                <a:gd name="T59" fmla="*/ 354 h 356"/>
                <a:gd name="T60" fmla="*/ 144 w 144"/>
                <a:gd name="T61" fmla="*/ 356 h 356"/>
                <a:gd name="T62" fmla="*/ 144 w 144"/>
                <a:gd name="T63" fmla="*/ 0 h 35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44"/>
                <a:gd name="T97" fmla="*/ 0 h 356"/>
                <a:gd name="T98" fmla="*/ 144 w 144"/>
                <a:gd name="T99" fmla="*/ 356 h 35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44" h="356">
                  <a:moveTo>
                    <a:pt x="144" y="0"/>
                  </a:moveTo>
                  <a:lnTo>
                    <a:pt x="128" y="8"/>
                  </a:lnTo>
                  <a:lnTo>
                    <a:pt x="112" y="18"/>
                  </a:lnTo>
                  <a:lnTo>
                    <a:pt x="97" y="28"/>
                  </a:lnTo>
                  <a:lnTo>
                    <a:pt x="82" y="39"/>
                  </a:lnTo>
                  <a:lnTo>
                    <a:pt x="70" y="51"/>
                  </a:lnTo>
                  <a:lnTo>
                    <a:pt x="58" y="63"/>
                  </a:lnTo>
                  <a:lnTo>
                    <a:pt x="48" y="78"/>
                  </a:lnTo>
                  <a:lnTo>
                    <a:pt x="37" y="91"/>
                  </a:lnTo>
                  <a:lnTo>
                    <a:pt x="29" y="107"/>
                  </a:lnTo>
                  <a:lnTo>
                    <a:pt x="21" y="123"/>
                  </a:lnTo>
                  <a:lnTo>
                    <a:pt x="14" y="140"/>
                  </a:lnTo>
                  <a:lnTo>
                    <a:pt x="9" y="159"/>
                  </a:lnTo>
                  <a:lnTo>
                    <a:pt x="5" y="178"/>
                  </a:lnTo>
                  <a:lnTo>
                    <a:pt x="1" y="198"/>
                  </a:lnTo>
                  <a:lnTo>
                    <a:pt x="0" y="219"/>
                  </a:lnTo>
                  <a:lnTo>
                    <a:pt x="0" y="242"/>
                  </a:lnTo>
                  <a:lnTo>
                    <a:pt x="0" y="260"/>
                  </a:lnTo>
                  <a:lnTo>
                    <a:pt x="2" y="278"/>
                  </a:lnTo>
                  <a:lnTo>
                    <a:pt x="6" y="292"/>
                  </a:lnTo>
                  <a:lnTo>
                    <a:pt x="10" y="304"/>
                  </a:lnTo>
                  <a:lnTo>
                    <a:pt x="17" y="315"/>
                  </a:lnTo>
                  <a:lnTo>
                    <a:pt x="24" y="324"/>
                  </a:lnTo>
                  <a:lnTo>
                    <a:pt x="33" y="331"/>
                  </a:lnTo>
                  <a:lnTo>
                    <a:pt x="42" y="338"/>
                  </a:lnTo>
                  <a:lnTo>
                    <a:pt x="52" y="342"/>
                  </a:lnTo>
                  <a:lnTo>
                    <a:pt x="64" y="346"/>
                  </a:lnTo>
                  <a:lnTo>
                    <a:pt x="76" y="348"/>
                  </a:lnTo>
                  <a:lnTo>
                    <a:pt x="88" y="351"/>
                  </a:lnTo>
                  <a:lnTo>
                    <a:pt x="114" y="354"/>
                  </a:lnTo>
                  <a:lnTo>
                    <a:pt x="144" y="356"/>
                  </a:lnTo>
                  <a:lnTo>
                    <a:pt x="144" y="0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accent1">
                  <a:lumMod val="20000"/>
                  <a:lumOff val="8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95" b="0" i="0" u="none" strike="noStrike" kern="1200" cap="none" spc="0" normalizeH="0" baseline="0" noProof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0" name="Freeform 34"/>
            <p:cNvSpPr>
              <a:spLocks/>
            </p:cNvSpPr>
            <p:nvPr/>
          </p:nvSpPr>
          <p:spPr bwMode="auto">
            <a:xfrm>
              <a:off x="5860180" y="2150255"/>
              <a:ext cx="6131" cy="15092"/>
            </a:xfrm>
            <a:custGeom>
              <a:avLst/>
              <a:gdLst>
                <a:gd name="T0" fmla="*/ 18 w 86"/>
                <a:gd name="T1" fmla="*/ 120 h 210"/>
                <a:gd name="T2" fmla="*/ 6 w 86"/>
                <a:gd name="T3" fmla="*/ 48 h 210"/>
                <a:gd name="T4" fmla="*/ 4 w 86"/>
                <a:gd name="T5" fmla="*/ 48 h 210"/>
                <a:gd name="T6" fmla="*/ 2 w 86"/>
                <a:gd name="T7" fmla="*/ 46 h 210"/>
                <a:gd name="T8" fmla="*/ 2 w 86"/>
                <a:gd name="T9" fmla="*/ 44 h 210"/>
                <a:gd name="T10" fmla="*/ 0 w 86"/>
                <a:gd name="T11" fmla="*/ 40 h 210"/>
                <a:gd name="T12" fmla="*/ 0 w 86"/>
                <a:gd name="T13" fmla="*/ 33 h 210"/>
                <a:gd name="T14" fmla="*/ 0 w 86"/>
                <a:gd name="T15" fmla="*/ 24 h 210"/>
                <a:gd name="T16" fmla="*/ 0 w 86"/>
                <a:gd name="T17" fmla="*/ 20 h 210"/>
                <a:gd name="T18" fmla="*/ 2 w 86"/>
                <a:gd name="T19" fmla="*/ 14 h 210"/>
                <a:gd name="T20" fmla="*/ 4 w 86"/>
                <a:gd name="T21" fmla="*/ 10 h 210"/>
                <a:gd name="T22" fmla="*/ 7 w 86"/>
                <a:gd name="T23" fmla="*/ 8 h 210"/>
                <a:gd name="T24" fmla="*/ 12 w 86"/>
                <a:gd name="T25" fmla="*/ 2 h 210"/>
                <a:gd name="T26" fmla="*/ 18 w 86"/>
                <a:gd name="T27" fmla="*/ 0 h 210"/>
                <a:gd name="T28" fmla="*/ 66 w 86"/>
                <a:gd name="T29" fmla="*/ 24 h 210"/>
                <a:gd name="T30" fmla="*/ 66 w 86"/>
                <a:gd name="T31" fmla="*/ 44 h 210"/>
                <a:gd name="T32" fmla="*/ 66 w 86"/>
                <a:gd name="T33" fmla="*/ 58 h 210"/>
                <a:gd name="T34" fmla="*/ 66 w 86"/>
                <a:gd name="T35" fmla="*/ 72 h 210"/>
                <a:gd name="T36" fmla="*/ 66 w 86"/>
                <a:gd name="T37" fmla="*/ 84 h 210"/>
                <a:gd name="T38" fmla="*/ 67 w 86"/>
                <a:gd name="T39" fmla="*/ 98 h 210"/>
                <a:gd name="T40" fmla="*/ 70 w 86"/>
                <a:gd name="T41" fmla="*/ 116 h 210"/>
                <a:gd name="T42" fmla="*/ 74 w 86"/>
                <a:gd name="T43" fmla="*/ 133 h 210"/>
                <a:gd name="T44" fmla="*/ 78 w 86"/>
                <a:gd name="T45" fmla="*/ 152 h 210"/>
                <a:gd name="T46" fmla="*/ 82 w 86"/>
                <a:gd name="T47" fmla="*/ 169 h 210"/>
                <a:gd name="T48" fmla="*/ 84 w 86"/>
                <a:gd name="T49" fmla="*/ 185 h 210"/>
                <a:gd name="T50" fmla="*/ 86 w 86"/>
                <a:gd name="T51" fmla="*/ 200 h 210"/>
                <a:gd name="T52" fmla="*/ 84 w 86"/>
                <a:gd name="T53" fmla="*/ 210 h 210"/>
                <a:gd name="T54" fmla="*/ 79 w 86"/>
                <a:gd name="T55" fmla="*/ 209 h 210"/>
                <a:gd name="T56" fmla="*/ 75 w 86"/>
                <a:gd name="T57" fmla="*/ 202 h 210"/>
                <a:gd name="T58" fmla="*/ 71 w 86"/>
                <a:gd name="T59" fmla="*/ 196 h 210"/>
                <a:gd name="T60" fmla="*/ 66 w 86"/>
                <a:gd name="T61" fmla="*/ 186 h 210"/>
                <a:gd name="T62" fmla="*/ 64 w 86"/>
                <a:gd name="T63" fmla="*/ 181 h 210"/>
                <a:gd name="T64" fmla="*/ 62 w 86"/>
                <a:gd name="T65" fmla="*/ 176 h 210"/>
                <a:gd name="T66" fmla="*/ 59 w 86"/>
                <a:gd name="T67" fmla="*/ 172 h 210"/>
                <a:gd name="T68" fmla="*/ 56 w 86"/>
                <a:gd name="T69" fmla="*/ 166 h 210"/>
                <a:gd name="T70" fmla="*/ 48 w 86"/>
                <a:gd name="T71" fmla="*/ 158 h 210"/>
                <a:gd name="T72" fmla="*/ 40 w 86"/>
                <a:gd name="T73" fmla="*/ 150 h 210"/>
                <a:gd name="T74" fmla="*/ 31 w 86"/>
                <a:gd name="T75" fmla="*/ 144 h 210"/>
                <a:gd name="T76" fmla="*/ 24 w 86"/>
                <a:gd name="T77" fmla="*/ 137 h 210"/>
                <a:gd name="T78" fmla="*/ 22 w 86"/>
                <a:gd name="T79" fmla="*/ 133 h 210"/>
                <a:gd name="T80" fmla="*/ 20 w 86"/>
                <a:gd name="T81" fmla="*/ 129 h 210"/>
                <a:gd name="T82" fmla="*/ 19 w 86"/>
                <a:gd name="T83" fmla="*/ 125 h 210"/>
                <a:gd name="T84" fmla="*/ 18 w 86"/>
                <a:gd name="T85" fmla="*/ 120 h 210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86"/>
                <a:gd name="T130" fmla="*/ 0 h 210"/>
                <a:gd name="T131" fmla="*/ 86 w 86"/>
                <a:gd name="T132" fmla="*/ 210 h 210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86" h="210">
                  <a:moveTo>
                    <a:pt x="18" y="120"/>
                  </a:moveTo>
                  <a:lnTo>
                    <a:pt x="6" y="48"/>
                  </a:lnTo>
                  <a:lnTo>
                    <a:pt x="4" y="48"/>
                  </a:lnTo>
                  <a:lnTo>
                    <a:pt x="2" y="46"/>
                  </a:lnTo>
                  <a:lnTo>
                    <a:pt x="2" y="44"/>
                  </a:lnTo>
                  <a:lnTo>
                    <a:pt x="0" y="40"/>
                  </a:lnTo>
                  <a:lnTo>
                    <a:pt x="0" y="33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2" y="14"/>
                  </a:lnTo>
                  <a:lnTo>
                    <a:pt x="4" y="10"/>
                  </a:lnTo>
                  <a:lnTo>
                    <a:pt x="7" y="8"/>
                  </a:lnTo>
                  <a:lnTo>
                    <a:pt x="12" y="2"/>
                  </a:lnTo>
                  <a:lnTo>
                    <a:pt x="18" y="0"/>
                  </a:lnTo>
                  <a:lnTo>
                    <a:pt x="66" y="24"/>
                  </a:lnTo>
                  <a:lnTo>
                    <a:pt x="66" y="44"/>
                  </a:lnTo>
                  <a:lnTo>
                    <a:pt x="66" y="58"/>
                  </a:lnTo>
                  <a:lnTo>
                    <a:pt x="66" y="72"/>
                  </a:lnTo>
                  <a:lnTo>
                    <a:pt x="66" y="84"/>
                  </a:lnTo>
                  <a:lnTo>
                    <a:pt x="67" y="98"/>
                  </a:lnTo>
                  <a:lnTo>
                    <a:pt x="70" y="116"/>
                  </a:lnTo>
                  <a:lnTo>
                    <a:pt x="74" y="133"/>
                  </a:lnTo>
                  <a:lnTo>
                    <a:pt x="78" y="152"/>
                  </a:lnTo>
                  <a:lnTo>
                    <a:pt x="82" y="169"/>
                  </a:lnTo>
                  <a:lnTo>
                    <a:pt x="84" y="185"/>
                  </a:lnTo>
                  <a:lnTo>
                    <a:pt x="86" y="200"/>
                  </a:lnTo>
                  <a:lnTo>
                    <a:pt x="84" y="210"/>
                  </a:lnTo>
                  <a:lnTo>
                    <a:pt x="79" y="209"/>
                  </a:lnTo>
                  <a:lnTo>
                    <a:pt x="75" y="202"/>
                  </a:lnTo>
                  <a:lnTo>
                    <a:pt x="71" y="196"/>
                  </a:lnTo>
                  <a:lnTo>
                    <a:pt x="66" y="186"/>
                  </a:lnTo>
                  <a:lnTo>
                    <a:pt x="64" y="181"/>
                  </a:lnTo>
                  <a:lnTo>
                    <a:pt x="62" y="176"/>
                  </a:lnTo>
                  <a:lnTo>
                    <a:pt x="59" y="172"/>
                  </a:lnTo>
                  <a:lnTo>
                    <a:pt x="56" y="166"/>
                  </a:lnTo>
                  <a:lnTo>
                    <a:pt x="48" y="158"/>
                  </a:lnTo>
                  <a:lnTo>
                    <a:pt x="40" y="150"/>
                  </a:lnTo>
                  <a:lnTo>
                    <a:pt x="31" y="144"/>
                  </a:lnTo>
                  <a:lnTo>
                    <a:pt x="24" y="137"/>
                  </a:lnTo>
                  <a:lnTo>
                    <a:pt x="22" y="133"/>
                  </a:lnTo>
                  <a:lnTo>
                    <a:pt x="20" y="129"/>
                  </a:lnTo>
                  <a:lnTo>
                    <a:pt x="19" y="125"/>
                  </a:lnTo>
                  <a:lnTo>
                    <a:pt x="18" y="120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accent1">
                  <a:lumMod val="20000"/>
                  <a:lumOff val="8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95" b="0" i="0" u="none" strike="noStrike" kern="1200" cap="none" spc="0" normalizeH="0" baseline="0" noProof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1" name="Freeform 86"/>
            <p:cNvSpPr>
              <a:spLocks/>
            </p:cNvSpPr>
            <p:nvPr/>
          </p:nvSpPr>
          <p:spPr bwMode="auto">
            <a:xfrm>
              <a:off x="5692280" y="1909489"/>
              <a:ext cx="166485" cy="369049"/>
            </a:xfrm>
            <a:custGeom>
              <a:avLst/>
              <a:gdLst>
                <a:gd name="T0" fmla="*/ 500 w 2313"/>
                <a:gd name="T1" fmla="*/ 3142 h 5123"/>
                <a:gd name="T2" fmla="*/ 393 w 2313"/>
                <a:gd name="T3" fmla="*/ 3252 h 5123"/>
                <a:gd name="T4" fmla="*/ 346 w 2313"/>
                <a:gd name="T5" fmla="*/ 3403 h 5123"/>
                <a:gd name="T6" fmla="*/ 367 w 2313"/>
                <a:gd name="T7" fmla="*/ 3522 h 5123"/>
                <a:gd name="T8" fmla="*/ 479 w 2313"/>
                <a:gd name="T9" fmla="*/ 3743 h 5123"/>
                <a:gd name="T10" fmla="*/ 444 w 2313"/>
                <a:gd name="T11" fmla="*/ 3931 h 5123"/>
                <a:gd name="T12" fmla="*/ 314 w 2313"/>
                <a:gd name="T13" fmla="*/ 3981 h 5123"/>
                <a:gd name="T14" fmla="*/ 211 w 2313"/>
                <a:gd name="T15" fmla="*/ 4151 h 5123"/>
                <a:gd name="T16" fmla="*/ 187 w 2313"/>
                <a:gd name="T17" fmla="*/ 4272 h 5123"/>
                <a:gd name="T18" fmla="*/ 231 w 2313"/>
                <a:gd name="T19" fmla="*/ 4597 h 5123"/>
                <a:gd name="T20" fmla="*/ 343 w 2313"/>
                <a:gd name="T21" fmla="*/ 4765 h 5123"/>
                <a:gd name="T22" fmla="*/ 545 w 2313"/>
                <a:gd name="T23" fmla="*/ 4749 h 5123"/>
                <a:gd name="T24" fmla="*/ 719 w 2313"/>
                <a:gd name="T25" fmla="*/ 4970 h 5123"/>
                <a:gd name="T26" fmla="*/ 812 w 2313"/>
                <a:gd name="T27" fmla="*/ 5049 h 5123"/>
                <a:gd name="T28" fmla="*/ 975 w 2313"/>
                <a:gd name="T29" fmla="*/ 5046 h 5123"/>
                <a:gd name="T30" fmla="*/ 1174 w 2313"/>
                <a:gd name="T31" fmla="*/ 4902 h 5123"/>
                <a:gd name="T32" fmla="*/ 1460 w 2313"/>
                <a:gd name="T33" fmla="*/ 4633 h 5123"/>
                <a:gd name="T34" fmla="*/ 1510 w 2313"/>
                <a:gd name="T35" fmla="*/ 4722 h 5123"/>
                <a:gd name="T36" fmla="*/ 1698 w 2313"/>
                <a:gd name="T37" fmla="*/ 4299 h 5123"/>
                <a:gd name="T38" fmla="*/ 1540 w 2313"/>
                <a:gd name="T39" fmla="*/ 4393 h 5123"/>
                <a:gd name="T40" fmla="*/ 1369 w 2313"/>
                <a:gd name="T41" fmla="*/ 3835 h 5123"/>
                <a:gd name="T42" fmla="*/ 1500 w 2313"/>
                <a:gd name="T43" fmla="*/ 3551 h 5123"/>
                <a:gd name="T44" fmla="*/ 1601 w 2313"/>
                <a:gd name="T45" fmla="*/ 3556 h 5123"/>
                <a:gd name="T46" fmla="*/ 1714 w 2313"/>
                <a:gd name="T47" fmla="*/ 3572 h 5123"/>
                <a:gd name="T48" fmla="*/ 1788 w 2313"/>
                <a:gd name="T49" fmla="*/ 3542 h 5123"/>
                <a:gd name="T50" fmla="*/ 1718 w 2313"/>
                <a:gd name="T51" fmla="*/ 3214 h 5123"/>
                <a:gd name="T52" fmla="*/ 1590 w 2313"/>
                <a:gd name="T53" fmla="*/ 3222 h 5123"/>
                <a:gd name="T54" fmla="*/ 1390 w 2313"/>
                <a:gd name="T55" fmla="*/ 3059 h 5123"/>
                <a:gd name="T56" fmla="*/ 1186 w 2313"/>
                <a:gd name="T57" fmla="*/ 2815 h 5123"/>
                <a:gd name="T58" fmla="*/ 1089 w 2313"/>
                <a:gd name="T59" fmla="*/ 2698 h 5123"/>
                <a:gd name="T60" fmla="*/ 1209 w 2313"/>
                <a:gd name="T61" fmla="*/ 2561 h 5123"/>
                <a:gd name="T62" fmla="*/ 1554 w 2313"/>
                <a:gd name="T63" fmla="*/ 2310 h 5123"/>
                <a:gd name="T64" fmla="*/ 1682 w 2313"/>
                <a:gd name="T65" fmla="*/ 2424 h 5123"/>
                <a:gd name="T66" fmla="*/ 1943 w 2313"/>
                <a:gd name="T67" fmla="*/ 2366 h 5123"/>
                <a:gd name="T68" fmla="*/ 2057 w 2313"/>
                <a:gd name="T69" fmla="*/ 2104 h 5123"/>
                <a:gd name="T70" fmla="*/ 2214 w 2313"/>
                <a:gd name="T71" fmla="*/ 1937 h 5123"/>
                <a:gd name="T72" fmla="*/ 2277 w 2313"/>
                <a:gd name="T73" fmla="*/ 1480 h 5123"/>
                <a:gd name="T74" fmla="*/ 2186 w 2313"/>
                <a:gd name="T75" fmla="*/ 1292 h 5123"/>
                <a:gd name="T76" fmla="*/ 1774 w 2313"/>
                <a:gd name="T77" fmla="*/ 1371 h 5123"/>
                <a:gd name="T78" fmla="*/ 1600 w 2313"/>
                <a:gd name="T79" fmla="*/ 1443 h 5123"/>
                <a:gd name="T80" fmla="*/ 1744 w 2313"/>
                <a:gd name="T81" fmla="*/ 1134 h 5123"/>
                <a:gd name="T82" fmla="*/ 1453 w 2313"/>
                <a:gd name="T83" fmla="*/ 959 h 5123"/>
                <a:gd name="T84" fmla="*/ 1658 w 2313"/>
                <a:gd name="T85" fmla="*/ 854 h 5123"/>
                <a:gd name="T86" fmla="*/ 1753 w 2313"/>
                <a:gd name="T87" fmla="*/ 657 h 5123"/>
                <a:gd name="T88" fmla="*/ 1933 w 2313"/>
                <a:gd name="T89" fmla="*/ 531 h 5123"/>
                <a:gd name="T90" fmla="*/ 2066 w 2313"/>
                <a:gd name="T91" fmla="*/ 333 h 5123"/>
                <a:gd name="T92" fmla="*/ 1860 w 2313"/>
                <a:gd name="T93" fmla="*/ 270 h 5123"/>
                <a:gd name="T94" fmla="*/ 1780 w 2313"/>
                <a:gd name="T95" fmla="*/ 186 h 5123"/>
                <a:gd name="T96" fmla="*/ 1460 w 2313"/>
                <a:gd name="T97" fmla="*/ 133 h 5123"/>
                <a:gd name="T98" fmla="*/ 1461 w 2313"/>
                <a:gd name="T99" fmla="*/ 346 h 5123"/>
                <a:gd name="T100" fmla="*/ 1448 w 2313"/>
                <a:gd name="T101" fmla="*/ 475 h 5123"/>
                <a:gd name="T102" fmla="*/ 841 w 2313"/>
                <a:gd name="T103" fmla="*/ 717 h 5123"/>
                <a:gd name="T104" fmla="*/ 343 w 2313"/>
                <a:gd name="T105" fmla="*/ 1324 h 5123"/>
                <a:gd name="T106" fmla="*/ 338 w 2313"/>
                <a:gd name="T107" fmla="*/ 1569 h 5123"/>
                <a:gd name="T108" fmla="*/ 512 w 2313"/>
                <a:gd name="T109" fmla="*/ 1668 h 5123"/>
                <a:gd name="T110" fmla="*/ 315 w 2313"/>
                <a:gd name="T111" fmla="*/ 1771 h 5123"/>
                <a:gd name="T112" fmla="*/ 198 w 2313"/>
                <a:gd name="T113" fmla="*/ 1908 h 5123"/>
                <a:gd name="T114" fmla="*/ 0 w 2313"/>
                <a:gd name="T115" fmla="*/ 2198 h 5123"/>
                <a:gd name="T116" fmla="*/ 230 w 2313"/>
                <a:gd name="T117" fmla="*/ 2317 h 5123"/>
                <a:gd name="T118" fmla="*/ 222 w 2313"/>
                <a:gd name="T119" fmla="*/ 2508 h 5123"/>
                <a:gd name="T120" fmla="*/ 130 w 2313"/>
                <a:gd name="T121" fmla="*/ 2757 h 5123"/>
                <a:gd name="T122" fmla="*/ 227 w 2313"/>
                <a:gd name="T123" fmla="*/ 2873 h 5123"/>
                <a:gd name="T124" fmla="*/ 448 w 2313"/>
                <a:gd name="T125" fmla="*/ 2941 h 5123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313"/>
                <a:gd name="T190" fmla="*/ 0 h 5123"/>
                <a:gd name="T191" fmla="*/ 2313 w 2313"/>
                <a:gd name="T192" fmla="*/ 5123 h 5123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313" h="5123">
                  <a:moveTo>
                    <a:pt x="495" y="2981"/>
                  </a:moveTo>
                  <a:lnTo>
                    <a:pt x="503" y="2991"/>
                  </a:lnTo>
                  <a:lnTo>
                    <a:pt x="517" y="3006"/>
                  </a:lnTo>
                  <a:lnTo>
                    <a:pt x="524" y="3013"/>
                  </a:lnTo>
                  <a:lnTo>
                    <a:pt x="531" y="3021"/>
                  </a:lnTo>
                  <a:lnTo>
                    <a:pt x="535" y="3027"/>
                  </a:lnTo>
                  <a:lnTo>
                    <a:pt x="536" y="3035"/>
                  </a:lnTo>
                  <a:lnTo>
                    <a:pt x="536" y="3041"/>
                  </a:lnTo>
                  <a:lnTo>
                    <a:pt x="535" y="3045"/>
                  </a:lnTo>
                  <a:lnTo>
                    <a:pt x="533" y="3050"/>
                  </a:lnTo>
                  <a:lnTo>
                    <a:pt x="531" y="3054"/>
                  </a:lnTo>
                  <a:lnTo>
                    <a:pt x="525" y="3063"/>
                  </a:lnTo>
                  <a:lnTo>
                    <a:pt x="519" y="3071"/>
                  </a:lnTo>
                  <a:lnTo>
                    <a:pt x="512" y="3079"/>
                  </a:lnTo>
                  <a:lnTo>
                    <a:pt x="505" y="3087"/>
                  </a:lnTo>
                  <a:lnTo>
                    <a:pt x="504" y="3091"/>
                  </a:lnTo>
                  <a:lnTo>
                    <a:pt x="501" y="3097"/>
                  </a:lnTo>
                  <a:lnTo>
                    <a:pt x="500" y="3102"/>
                  </a:lnTo>
                  <a:lnTo>
                    <a:pt x="500" y="3107"/>
                  </a:lnTo>
                  <a:lnTo>
                    <a:pt x="500" y="3127"/>
                  </a:lnTo>
                  <a:lnTo>
                    <a:pt x="500" y="3142"/>
                  </a:lnTo>
                  <a:lnTo>
                    <a:pt x="500" y="3156"/>
                  </a:lnTo>
                  <a:lnTo>
                    <a:pt x="500" y="3172"/>
                  </a:lnTo>
                  <a:lnTo>
                    <a:pt x="495" y="3175"/>
                  </a:lnTo>
                  <a:lnTo>
                    <a:pt x="489" y="3175"/>
                  </a:lnTo>
                  <a:lnTo>
                    <a:pt x="484" y="3175"/>
                  </a:lnTo>
                  <a:lnTo>
                    <a:pt x="477" y="3175"/>
                  </a:lnTo>
                  <a:lnTo>
                    <a:pt x="463" y="3174"/>
                  </a:lnTo>
                  <a:lnTo>
                    <a:pt x="445" y="3172"/>
                  </a:lnTo>
                  <a:lnTo>
                    <a:pt x="441" y="3174"/>
                  </a:lnTo>
                  <a:lnTo>
                    <a:pt x="437" y="3174"/>
                  </a:lnTo>
                  <a:lnTo>
                    <a:pt x="433" y="3176"/>
                  </a:lnTo>
                  <a:lnTo>
                    <a:pt x="431" y="3178"/>
                  </a:lnTo>
                  <a:lnTo>
                    <a:pt x="428" y="3184"/>
                  </a:lnTo>
                  <a:lnTo>
                    <a:pt x="427" y="3191"/>
                  </a:lnTo>
                  <a:lnTo>
                    <a:pt x="425" y="3199"/>
                  </a:lnTo>
                  <a:lnTo>
                    <a:pt x="424" y="3208"/>
                  </a:lnTo>
                  <a:lnTo>
                    <a:pt x="421" y="3218"/>
                  </a:lnTo>
                  <a:lnTo>
                    <a:pt x="416" y="3227"/>
                  </a:lnTo>
                  <a:lnTo>
                    <a:pt x="409" y="3236"/>
                  </a:lnTo>
                  <a:lnTo>
                    <a:pt x="401" y="3246"/>
                  </a:lnTo>
                  <a:lnTo>
                    <a:pt x="393" y="3252"/>
                  </a:lnTo>
                  <a:lnTo>
                    <a:pt x="384" y="3259"/>
                  </a:lnTo>
                  <a:lnTo>
                    <a:pt x="364" y="3271"/>
                  </a:lnTo>
                  <a:lnTo>
                    <a:pt x="344" y="3283"/>
                  </a:lnTo>
                  <a:lnTo>
                    <a:pt x="335" y="3288"/>
                  </a:lnTo>
                  <a:lnTo>
                    <a:pt x="326" y="3295"/>
                  </a:lnTo>
                  <a:lnTo>
                    <a:pt x="318" y="3302"/>
                  </a:lnTo>
                  <a:lnTo>
                    <a:pt x="310" y="3308"/>
                  </a:lnTo>
                  <a:lnTo>
                    <a:pt x="304" y="3316"/>
                  </a:lnTo>
                  <a:lnTo>
                    <a:pt x="299" y="3326"/>
                  </a:lnTo>
                  <a:lnTo>
                    <a:pt x="296" y="3336"/>
                  </a:lnTo>
                  <a:lnTo>
                    <a:pt x="295" y="3347"/>
                  </a:lnTo>
                  <a:lnTo>
                    <a:pt x="296" y="3355"/>
                  </a:lnTo>
                  <a:lnTo>
                    <a:pt x="298" y="3362"/>
                  </a:lnTo>
                  <a:lnTo>
                    <a:pt x="300" y="3366"/>
                  </a:lnTo>
                  <a:lnTo>
                    <a:pt x="303" y="3371"/>
                  </a:lnTo>
                  <a:lnTo>
                    <a:pt x="311" y="3378"/>
                  </a:lnTo>
                  <a:lnTo>
                    <a:pt x="320" y="3383"/>
                  </a:lnTo>
                  <a:lnTo>
                    <a:pt x="330" y="3388"/>
                  </a:lnTo>
                  <a:lnTo>
                    <a:pt x="339" y="3394"/>
                  </a:lnTo>
                  <a:lnTo>
                    <a:pt x="343" y="3398"/>
                  </a:lnTo>
                  <a:lnTo>
                    <a:pt x="346" y="3403"/>
                  </a:lnTo>
                  <a:lnTo>
                    <a:pt x="348" y="3408"/>
                  </a:lnTo>
                  <a:lnTo>
                    <a:pt x="350" y="3414"/>
                  </a:lnTo>
                  <a:lnTo>
                    <a:pt x="344" y="3418"/>
                  </a:lnTo>
                  <a:lnTo>
                    <a:pt x="338" y="3423"/>
                  </a:lnTo>
                  <a:lnTo>
                    <a:pt x="331" y="3428"/>
                  </a:lnTo>
                  <a:lnTo>
                    <a:pt x="324" y="3436"/>
                  </a:lnTo>
                  <a:lnTo>
                    <a:pt x="318" y="3444"/>
                  </a:lnTo>
                  <a:lnTo>
                    <a:pt x="312" y="3452"/>
                  </a:lnTo>
                  <a:lnTo>
                    <a:pt x="310" y="3460"/>
                  </a:lnTo>
                  <a:lnTo>
                    <a:pt x="308" y="3468"/>
                  </a:lnTo>
                  <a:lnTo>
                    <a:pt x="308" y="3478"/>
                  </a:lnTo>
                  <a:lnTo>
                    <a:pt x="310" y="3486"/>
                  </a:lnTo>
                  <a:lnTo>
                    <a:pt x="312" y="3492"/>
                  </a:lnTo>
                  <a:lnTo>
                    <a:pt x="316" y="3498"/>
                  </a:lnTo>
                  <a:lnTo>
                    <a:pt x="320" y="3502"/>
                  </a:lnTo>
                  <a:lnTo>
                    <a:pt x="326" y="3504"/>
                  </a:lnTo>
                  <a:lnTo>
                    <a:pt x="331" y="3508"/>
                  </a:lnTo>
                  <a:lnTo>
                    <a:pt x="338" y="3510"/>
                  </a:lnTo>
                  <a:lnTo>
                    <a:pt x="350" y="3515"/>
                  </a:lnTo>
                  <a:lnTo>
                    <a:pt x="362" y="3519"/>
                  </a:lnTo>
                  <a:lnTo>
                    <a:pt x="367" y="3522"/>
                  </a:lnTo>
                  <a:lnTo>
                    <a:pt x="372" y="3526"/>
                  </a:lnTo>
                  <a:lnTo>
                    <a:pt x="376" y="3530"/>
                  </a:lnTo>
                  <a:lnTo>
                    <a:pt x="380" y="3535"/>
                  </a:lnTo>
                  <a:lnTo>
                    <a:pt x="385" y="3547"/>
                  </a:lnTo>
                  <a:lnTo>
                    <a:pt x="389" y="3563"/>
                  </a:lnTo>
                  <a:lnTo>
                    <a:pt x="392" y="3580"/>
                  </a:lnTo>
                  <a:lnTo>
                    <a:pt x="392" y="3598"/>
                  </a:lnTo>
                  <a:lnTo>
                    <a:pt x="392" y="3632"/>
                  </a:lnTo>
                  <a:lnTo>
                    <a:pt x="392" y="3660"/>
                  </a:lnTo>
                  <a:lnTo>
                    <a:pt x="395" y="3667"/>
                  </a:lnTo>
                  <a:lnTo>
                    <a:pt x="399" y="3674"/>
                  </a:lnTo>
                  <a:lnTo>
                    <a:pt x="404" y="3679"/>
                  </a:lnTo>
                  <a:lnTo>
                    <a:pt x="411" y="3684"/>
                  </a:lnTo>
                  <a:lnTo>
                    <a:pt x="425" y="3694"/>
                  </a:lnTo>
                  <a:lnTo>
                    <a:pt x="441" y="3703"/>
                  </a:lnTo>
                  <a:lnTo>
                    <a:pt x="449" y="3708"/>
                  </a:lnTo>
                  <a:lnTo>
                    <a:pt x="456" y="3714"/>
                  </a:lnTo>
                  <a:lnTo>
                    <a:pt x="464" y="3720"/>
                  </a:lnTo>
                  <a:lnTo>
                    <a:pt x="469" y="3727"/>
                  </a:lnTo>
                  <a:lnTo>
                    <a:pt x="475" y="3735"/>
                  </a:lnTo>
                  <a:lnTo>
                    <a:pt x="479" y="3743"/>
                  </a:lnTo>
                  <a:lnTo>
                    <a:pt x="481" y="3752"/>
                  </a:lnTo>
                  <a:lnTo>
                    <a:pt x="483" y="3763"/>
                  </a:lnTo>
                  <a:lnTo>
                    <a:pt x="483" y="3768"/>
                  </a:lnTo>
                  <a:lnTo>
                    <a:pt x="485" y="3772"/>
                  </a:lnTo>
                  <a:lnTo>
                    <a:pt x="488" y="3777"/>
                  </a:lnTo>
                  <a:lnTo>
                    <a:pt x="491" y="3781"/>
                  </a:lnTo>
                  <a:lnTo>
                    <a:pt x="495" y="3787"/>
                  </a:lnTo>
                  <a:lnTo>
                    <a:pt x="497" y="3792"/>
                  </a:lnTo>
                  <a:lnTo>
                    <a:pt x="500" y="3799"/>
                  </a:lnTo>
                  <a:lnTo>
                    <a:pt x="500" y="3805"/>
                  </a:lnTo>
                  <a:lnTo>
                    <a:pt x="493" y="3809"/>
                  </a:lnTo>
                  <a:lnTo>
                    <a:pt x="487" y="3813"/>
                  </a:lnTo>
                  <a:lnTo>
                    <a:pt x="481" y="3819"/>
                  </a:lnTo>
                  <a:lnTo>
                    <a:pt x="476" y="3824"/>
                  </a:lnTo>
                  <a:lnTo>
                    <a:pt x="468" y="3836"/>
                  </a:lnTo>
                  <a:lnTo>
                    <a:pt x="461" y="3851"/>
                  </a:lnTo>
                  <a:lnTo>
                    <a:pt x="457" y="3865"/>
                  </a:lnTo>
                  <a:lnTo>
                    <a:pt x="453" y="3883"/>
                  </a:lnTo>
                  <a:lnTo>
                    <a:pt x="451" y="3899"/>
                  </a:lnTo>
                  <a:lnTo>
                    <a:pt x="448" y="3915"/>
                  </a:lnTo>
                  <a:lnTo>
                    <a:pt x="444" y="3931"/>
                  </a:lnTo>
                  <a:lnTo>
                    <a:pt x="441" y="3947"/>
                  </a:lnTo>
                  <a:lnTo>
                    <a:pt x="436" y="3960"/>
                  </a:lnTo>
                  <a:lnTo>
                    <a:pt x="431" y="3973"/>
                  </a:lnTo>
                  <a:lnTo>
                    <a:pt x="427" y="3979"/>
                  </a:lnTo>
                  <a:lnTo>
                    <a:pt x="423" y="3983"/>
                  </a:lnTo>
                  <a:lnTo>
                    <a:pt x="419" y="3988"/>
                  </a:lnTo>
                  <a:lnTo>
                    <a:pt x="413" y="3991"/>
                  </a:lnTo>
                  <a:lnTo>
                    <a:pt x="408" y="3995"/>
                  </a:lnTo>
                  <a:lnTo>
                    <a:pt x="401" y="3996"/>
                  </a:lnTo>
                  <a:lnTo>
                    <a:pt x="393" y="3997"/>
                  </a:lnTo>
                  <a:lnTo>
                    <a:pt x="385" y="3997"/>
                  </a:lnTo>
                  <a:lnTo>
                    <a:pt x="373" y="3997"/>
                  </a:lnTo>
                  <a:lnTo>
                    <a:pt x="364" y="3995"/>
                  </a:lnTo>
                  <a:lnTo>
                    <a:pt x="358" y="3992"/>
                  </a:lnTo>
                  <a:lnTo>
                    <a:pt x="351" y="3989"/>
                  </a:lnTo>
                  <a:lnTo>
                    <a:pt x="344" y="3985"/>
                  </a:lnTo>
                  <a:lnTo>
                    <a:pt x="338" y="3983"/>
                  </a:lnTo>
                  <a:lnTo>
                    <a:pt x="330" y="3980"/>
                  </a:lnTo>
                  <a:lnTo>
                    <a:pt x="320" y="3980"/>
                  </a:lnTo>
                  <a:lnTo>
                    <a:pt x="316" y="3980"/>
                  </a:lnTo>
                  <a:lnTo>
                    <a:pt x="314" y="3981"/>
                  </a:lnTo>
                  <a:lnTo>
                    <a:pt x="311" y="3984"/>
                  </a:lnTo>
                  <a:lnTo>
                    <a:pt x="310" y="3987"/>
                  </a:lnTo>
                  <a:lnTo>
                    <a:pt x="306" y="3993"/>
                  </a:lnTo>
                  <a:lnTo>
                    <a:pt x="303" y="4003"/>
                  </a:lnTo>
                  <a:lnTo>
                    <a:pt x="299" y="4020"/>
                  </a:lnTo>
                  <a:lnTo>
                    <a:pt x="295" y="4035"/>
                  </a:lnTo>
                  <a:lnTo>
                    <a:pt x="291" y="4043"/>
                  </a:lnTo>
                  <a:lnTo>
                    <a:pt x="287" y="4051"/>
                  </a:lnTo>
                  <a:lnTo>
                    <a:pt x="280" y="4057"/>
                  </a:lnTo>
                  <a:lnTo>
                    <a:pt x="274" y="4064"/>
                  </a:lnTo>
                  <a:lnTo>
                    <a:pt x="259" y="4075"/>
                  </a:lnTo>
                  <a:lnTo>
                    <a:pt x="244" y="4085"/>
                  </a:lnTo>
                  <a:lnTo>
                    <a:pt x="230" y="4096"/>
                  </a:lnTo>
                  <a:lnTo>
                    <a:pt x="216" y="4107"/>
                  </a:lnTo>
                  <a:lnTo>
                    <a:pt x="212" y="4113"/>
                  </a:lnTo>
                  <a:lnTo>
                    <a:pt x="208" y="4120"/>
                  </a:lnTo>
                  <a:lnTo>
                    <a:pt x="206" y="4128"/>
                  </a:lnTo>
                  <a:lnTo>
                    <a:pt x="206" y="4136"/>
                  </a:lnTo>
                  <a:lnTo>
                    <a:pt x="206" y="4141"/>
                  </a:lnTo>
                  <a:lnTo>
                    <a:pt x="208" y="4147"/>
                  </a:lnTo>
                  <a:lnTo>
                    <a:pt x="211" y="4151"/>
                  </a:lnTo>
                  <a:lnTo>
                    <a:pt x="215" y="4155"/>
                  </a:lnTo>
                  <a:lnTo>
                    <a:pt x="224" y="4161"/>
                  </a:lnTo>
                  <a:lnTo>
                    <a:pt x="235" y="4169"/>
                  </a:lnTo>
                  <a:lnTo>
                    <a:pt x="247" y="4177"/>
                  </a:lnTo>
                  <a:lnTo>
                    <a:pt x="256" y="4187"/>
                  </a:lnTo>
                  <a:lnTo>
                    <a:pt x="260" y="4192"/>
                  </a:lnTo>
                  <a:lnTo>
                    <a:pt x="263" y="4199"/>
                  </a:lnTo>
                  <a:lnTo>
                    <a:pt x="264" y="4207"/>
                  </a:lnTo>
                  <a:lnTo>
                    <a:pt x="266" y="4215"/>
                  </a:lnTo>
                  <a:lnTo>
                    <a:pt x="264" y="4228"/>
                  </a:lnTo>
                  <a:lnTo>
                    <a:pt x="263" y="4236"/>
                  </a:lnTo>
                  <a:lnTo>
                    <a:pt x="262" y="4240"/>
                  </a:lnTo>
                  <a:lnTo>
                    <a:pt x="260" y="4241"/>
                  </a:lnTo>
                  <a:lnTo>
                    <a:pt x="258" y="4243"/>
                  </a:lnTo>
                  <a:lnTo>
                    <a:pt x="255" y="4244"/>
                  </a:lnTo>
                  <a:lnTo>
                    <a:pt x="240" y="4247"/>
                  </a:lnTo>
                  <a:lnTo>
                    <a:pt x="218" y="4251"/>
                  </a:lnTo>
                  <a:lnTo>
                    <a:pt x="210" y="4255"/>
                  </a:lnTo>
                  <a:lnTo>
                    <a:pt x="202" y="4260"/>
                  </a:lnTo>
                  <a:lnTo>
                    <a:pt x="195" y="4265"/>
                  </a:lnTo>
                  <a:lnTo>
                    <a:pt x="187" y="4272"/>
                  </a:lnTo>
                  <a:lnTo>
                    <a:pt x="180" y="4280"/>
                  </a:lnTo>
                  <a:lnTo>
                    <a:pt x="174" y="4288"/>
                  </a:lnTo>
                  <a:lnTo>
                    <a:pt x="168" y="4297"/>
                  </a:lnTo>
                  <a:lnTo>
                    <a:pt x="163" y="4307"/>
                  </a:lnTo>
                  <a:lnTo>
                    <a:pt x="152" y="4326"/>
                  </a:lnTo>
                  <a:lnTo>
                    <a:pt x="146" y="4348"/>
                  </a:lnTo>
                  <a:lnTo>
                    <a:pt x="143" y="4358"/>
                  </a:lnTo>
                  <a:lnTo>
                    <a:pt x="140" y="4369"/>
                  </a:lnTo>
                  <a:lnTo>
                    <a:pt x="139" y="4378"/>
                  </a:lnTo>
                  <a:lnTo>
                    <a:pt x="139" y="4389"/>
                  </a:lnTo>
                  <a:lnTo>
                    <a:pt x="140" y="4412"/>
                  </a:lnTo>
                  <a:lnTo>
                    <a:pt x="142" y="4433"/>
                  </a:lnTo>
                  <a:lnTo>
                    <a:pt x="146" y="4452"/>
                  </a:lnTo>
                  <a:lnTo>
                    <a:pt x="150" y="4468"/>
                  </a:lnTo>
                  <a:lnTo>
                    <a:pt x="156" y="4484"/>
                  </a:lnTo>
                  <a:lnTo>
                    <a:pt x="162" y="4498"/>
                  </a:lnTo>
                  <a:lnTo>
                    <a:pt x="170" y="4512"/>
                  </a:lnTo>
                  <a:lnTo>
                    <a:pt x="178" y="4525"/>
                  </a:lnTo>
                  <a:lnTo>
                    <a:pt x="195" y="4549"/>
                  </a:lnTo>
                  <a:lnTo>
                    <a:pt x="212" y="4572"/>
                  </a:lnTo>
                  <a:lnTo>
                    <a:pt x="231" y="4597"/>
                  </a:lnTo>
                  <a:lnTo>
                    <a:pt x="247" y="4624"/>
                  </a:lnTo>
                  <a:lnTo>
                    <a:pt x="251" y="4630"/>
                  </a:lnTo>
                  <a:lnTo>
                    <a:pt x="256" y="4636"/>
                  </a:lnTo>
                  <a:lnTo>
                    <a:pt x="263" y="4641"/>
                  </a:lnTo>
                  <a:lnTo>
                    <a:pt x="270" y="4645"/>
                  </a:lnTo>
                  <a:lnTo>
                    <a:pt x="284" y="4652"/>
                  </a:lnTo>
                  <a:lnTo>
                    <a:pt x="299" y="4658"/>
                  </a:lnTo>
                  <a:lnTo>
                    <a:pt x="314" y="4666"/>
                  </a:lnTo>
                  <a:lnTo>
                    <a:pt x="326" y="4674"/>
                  </a:lnTo>
                  <a:lnTo>
                    <a:pt x="331" y="4681"/>
                  </a:lnTo>
                  <a:lnTo>
                    <a:pt x="335" y="4686"/>
                  </a:lnTo>
                  <a:lnTo>
                    <a:pt x="338" y="4694"/>
                  </a:lnTo>
                  <a:lnTo>
                    <a:pt x="338" y="4702"/>
                  </a:lnTo>
                  <a:lnTo>
                    <a:pt x="338" y="4717"/>
                  </a:lnTo>
                  <a:lnTo>
                    <a:pt x="338" y="4730"/>
                  </a:lnTo>
                  <a:lnTo>
                    <a:pt x="338" y="4741"/>
                  </a:lnTo>
                  <a:lnTo>
                    <a:pt x="338" y="4745"/>
                  </a:lnTo>
                  <a:lnTo>
                    <a:pt x="338" y="4750"/>
                  </a:lnTo>
                  <a:lnTo>
                    <a:pt x="339" y="4756"/>
                  </a:lnTo>
                  <a:lnTo>
                    <a:pt x="342" y="4760"/>
                  </a:lnTo>
                  <a:lnTo>
                    <a:pt x="343" y="4765"/>
                  </a:lnTo>
                  <a:lnTo>
                    <a:pt x="350" y="4774"/>
                  </a:lnTo>
                  <a:lnTo>
                    <a:pt x="356" y="4782"/>
                  </a:lnTo>
                  <a:lnTo>
                    <a:pt x="363" y="4793"/>
                  </a:lnTo>
                  <a:lnTo>
                    <a:pt x="368" y="4805"/>
                  </a:lnTo>
                  <a:lnTo>
                    <a:pt x="371" y="4812"/>
                  </a:lnTo>
                  <a:lnTo>
                    <a:pt x="372" y="4818"/>
                  </a:lnTo>
                  <a:lnTo>
                    <a:pt x="373" y="4826"/>
                  </a:lnTo>
                  <a:lnTo>
                    <a:pt x="373" y="4834"/>
                  </a:lnTo>
                  <a:lnTo>
                    <a:pt x="404" y="4834"/>
                  </a:lnTo>
                  <a:lnTo>
                    <a:pt x="416" y="4826"/>
                  </a:lnTo>
                  <a:lnTo>
                    <a:pt x="431" y="4813"/>
                  </a:lnTo>
                  <a:lnTo>
                    <a:pt x="445" y="4798"/>
                  </a:lnTo>
                  <a:lnTo>
                    <a:pt x="460" y="4782"/>
                  </a:lnTo>
                  <a:lnTo>
                    <a:pt x="475" y="4769"/>
                  </a:lnTo>
                  <a:lnTo>
                    <a:pt x="489" y="4756"/>
                  </a:lnTo>
                  <a:lnTo>
                    <a:pt x="496" y="4752"/>
                  </a:lnTo>
                  <a:lnTo>
                    <a:pt x="501" y="4748"/>
                  </a:lnTo>
                  <a:lnTo>
                    <a:pt x="507" y="4745"/>
                  </a:lnTo>
                  <a:lnTo>
                    <a:pt x="512" y="4745"/>
                  </a:lnTo>
                  <a:lnTo>
                    <a:pt x="528" y="4745"/>
                  </a:lnTo>
                  <a:lnTo>
                    <a:pt x="545" y="4749"/>
                  </a:lnTo>
                  <a:lnTo>
                    <a:pt x="564" y="4753"/>
                  </a:lnTo>
                  <a:lnTo>
                    <a:pt x="583" y="4760"/>
                  </a:lnTo>
                  <a:lnTo>
                    <a:pt x="601" y="4769"/>
                  </a:lnTo>
                  <a:lnTo>
                    <a:pt x="620" y="4778"/>
                  </a:lnTo>
                  <a:lnTo>
                    <a:pt x="637" y="4789"/>
                  </a:lnTo>
                  <a:lnTo>
                    <a:pt x="655" y="4802"/>
                  </a:lnTo>
                  <a:lnTo>
                    <a:pt x="672" y="4816"/>
                  </a:lnTo>
                  <a:lnTo>
                    <a:pt x="687" y="4830"/>
                  </a:lnTo>
                  <a:lnTo>
                    <a:pt x="700" y="4845"/>
                  </a:lnTo>
                  <a:lnTo>
                    <a:pt x="712" y="4861"/>
                  </a:lnTo>
                  <a:lnTo>
                    <a:pt x="721" y="4878"/>
                  </a:lnTo>
                  <a:lnTo>
                    <a:pt x="729" y="4896"/>
                  </a:lnTo>
                  <a:lnTo>
                    <a:pt x="732" y="4905"/>
                  </a:lnTo>
                  <a:lnTo>
                    <a:pt x="733" y="4913"/>
                  </a:lnTo>
                  <a:lnTo>
                    <a:pt x="735" y="4922"/>
                  </a:lnTo>
                  <a:lnTo>
                    <a:pt x="735" y="4931"/>
                  </a:lnTo>
                  <a:lnTo>
                    <a:pt x="735" y="4939"/>
                  </a:lnTo>
                  <a:lnTo>
                    <a:pt x="731" y="4947"/>
                  </a:lnTo>
                  <a:lnTo>
                    <a:pt x="728" y="4954"/>
                  </a:lnTo>
                  <a:lnTo>
                    <a:pt x="723" y="4962"/>
                  </a:lnTo>
                  <a:lnTo>
                    <a:pt x="719" y="4970"/>
                  </a:lnTo>
                  <a:lnTo>
                    <a:pt x="715" y="4978"/>
                  </a:lnTo>
                  <a:lnTo>
                    <a:pt x="712" y="4987"/>
                  </a:lnTo>
                  <a:lnTo>
                    <a:pt x="711" y="4997"/>
                  </a:lnTo>
                  <a:lnTo>
                    <a:pt x="712" y="5014"/>
                  </a:lnTo>
                  <a:lnTo>
                    <a:pt x="715" y="5029"/>
                  </a:lnTo>
                  <a:lnTo>
                    <a:pt x="716" y="5035"/>
                  </a:lnTo>
                  <a:lnTo>
                    <a:pt x="719" y="5041"/>
                  </a:lnTo>
                  <a:lnTo>
                    <a:pt x="721" y="5047"/>
                  </a:lnTo>
                  <a:lnTo>
                    <a:pt x="725" y="5051"/>
                  </a:lnTo>
                  <a:lnTo>
                    <a:pt x="729" y="5055"/>
                  </a:lnTo>
                  <a:lnTo>
                    <a:pt x="733" y="5059"/>
                  </a:lnTo>
                  <a:lnTo>
                    <a:pt x="739" y="5062"/>
                  </a:lnTo>
                  <a:lnTo>
                    <a:pt x="744" y="5065"/>
                  </a:lnTo>
                  <a:lnTo>
                    <a:pt x="756" y="5069"/>
                  </a:lnTo>
                  <a:lnTo>
                    <a:pt x="771" y="5070"/>
                  </a:lnTo>
                  <a:lnTo>
                    <a:pt x="780" y="5069"/>
                  </a:lnTo>
                  <a:lnTo>
                    <a:pt x="787" y="5067"/>
                  </a:lnTo>
                  <a:lnTo>
                    <a:pt x="793" y="5066"/>
                  </a:lnTo>
                  <a:lnTo>
                    <a:pt x="797" y="5063"/>
                  </a:lnTo>
                  <a:lnTo>
                    <a:pt x="805" y="5057"/>
                  </a:lnTo>
                  <a:lnTo>
                    <a:pt x="812" y="5049"/>
                  </a:lnTo>
                  <a:lnTo>
                    <a:pt x="817" y="5041"/>
                  </a:lnTo>
                  <a:lnTo>
                    <a:pt x="824" y="5034"/>
                  </a:lnTo>
                  <a:lnTo>
                    <a:pt x="828" y="5031"/>
                  </a:lnTo>
                  <a:lnTo>
                    <a:pt x="832" y="5029"/>
                  </a:lnTo>
                  <a:lnTo>
                    <a:pt x="837" y="5027"/>
                  </a:lnTo>
                  <a:lnTo>
                    <a:pt x="844" y="5027"/>
                  </a:lnTo>
                  <a:lnTo>
                    <a:pt x="853" y="5027"/>
                  </a:lnTo>
                  <a:lnTo>
                    <a:pt x="863" y="5029"/>
                  </a:lnTo>
                  <a:lnTo>
                    <a:pt x="869" y="5031"/>
                  </a:lnTo>
                  <a:lnTo>
                    <a:pt x="876" y="5034"/>
                  </a:lnTo>
                  <a:lnTo>
                    <a:pt x="883" y="5035"/>
                  </a:lnTo>
                  <a:lnTo>
                    <a:pt x="888" y="5038"/>
                  </a:lnTo>
                  <a:lnTo>
                    <a:pt x="896" y="5039"/>
                  </a:lnTo>
                  <a:lnTo>
                    <a:pt x="904" y="5039"/>
                  </a:lnTo>
                  <a:lnTo>
                    <a:pt x="923" y="5039"/>
                  </a:lnTo>
                  <a:lnTo>
                    <a:pt x="936" y="5039"/>
                  </a:lnTo>
                  <a:lnTo>
                    <a:pt x="947" y="5039"/>
                  </a:lnTo>
                  <a:lnTo>
                    <a:pt x="957" y="5039"/>
                  </a:lnTo>
                  <a:lnTo>
                    <a:pt x="964" y="5041"/>
                  </a:lnTo>
                  <a:lnTo>
                    <a:pt x="969" y="5042"/>
                  </a:lnTo>
                  <a:lnTo>
                    <a:pt x="975" y="5046"/>
                  </a:lnTo>
                  <a:lnTo>
                    <a:pt x="979" y="5050"/>
                  </a:lnTo>
                  <a:lnTo>
                    <a:pt x="985" y="5061"/>
                  </a:lnTo>
                  <a:lnTo>
                    <a:pt x="992" y="5074"/>
                  </a:lnTo>
                  <a:lnTo>
                    <a:pt x="999" y="5087"/>
                  </a:lnTo>
                  <a:lnTo>
                    <a:pt x="1007" y="5101"/>
                  </a:lnTo>
                  <a:lnTo>
                    <a:pt x="1011" y="5106"/>
                  </a:lnTo>
                  <a:lnTo>
                    <a:pt x="1016" y="5111"/>
                  </a:lnTo>
                  <a:lnTo>
                    <a:pt x="1023" y="5115"/>
                  </a:lnTo>
                  <a:lnTo>
                    <a:pt x="1031" y="5118"/>
                  </a:lnTo>
                  <a:lnTo>
                    <a:pt x="1031" y="5123"/>
                  </a:lnTo>
                  <a:lnTo>
                    <a:pt x="1072" y="5091"/>
                  </a:lnTo>
                  <a:lnTo>
                    <a:pt x="1120" y="5055"/>
                  </a:lnTo>
                  <a:lnTo>
                    <a:pt x="1145" y="5035"/>
                  </a:lnTo>
                  <a:lnTo>
                    <a:pt x="1172" y="5014"/>
                  </a:lnTo>
                  <a:lnTo>
                    <a:pt x="1197" y="4989"/>
                  </a:lnTo>
                  <a:lnTo>
                    <a:pt x="1222" y="4961"/>
                  </a:lnTo>
                  <a:lnTo>
                    <a:pt x="1218" y="4958"/>
                  </a:lnTo>
                  <a:lnTo>
                    <a:pt x="1209" y="4947"/>
                  </a:lnTo>
                  <a:lnTo>
                    <a:pt x="1196" y="4931"/>
                  </a:lnTo>
                  <a:lnTo>
                    <a:pt x="1181" y="4913"/>
                  </a:lnTo>
                  <a:lnTo>
                    <a:pt x="1174" y="4902"/>
                  </a:lnTo>
                  <a:lnTo>
                    <a:pt x="1168" y="4890"/>
                  </a:lnTo>
                  <a:lnTo>
                    <a:pt x="1164" y="4880"/>
                  </a:lnTo>
                  <a:lnTo>
                    <a:pt x="1160" y="4868"/>
                  </a:lnTo>
                  <a:lnTo>
                    <a:pt x="1157" y="4856"/>
                  </a:lnTo>
                  <a:lnTo>
                    <a:pt x="1157" y="4845"/>
                  </a:lnTo>
                  <a:lnTo>
                    <a:pt x="1158" y="4833"/>
                  </a:lnTo>
                  <a:lnTo>
                    <a:pt x="1162" y="4822"/>
                  </a:lnTo>
                  <a:lnTo>
                    <a:pt x="1172" y="4810"/>
                  </a:lnTo>
                  <a:lnTo>
                    <a:pt x="1184" y="4800"/>
                  </a:lnTo>
                  <a:lnTo>
                    <a:pt x="1197" y="4788"/>
                  </a:lnTo>
                  <a:lnTo>
                    <a:pt x="1213" y="4777"/>
                  </a:lnTo>
                  <a:lnTo>
                    <a:pt x="1249" y="4756"/>
                  </a:lnTo>
                  <a:lnTo>
                    <a:pt x="1289" y="4733"/>
                  </a:lnTo>
                  <a:lnTo>
                    <a:pt x="1332" y="4710"/>
                  </a:lnTo>
                  <a:lnTo>
                    <a:pt x="1374" y="4686"/>
                  </a:lnTo>
                  <a:lnTo>
                    <a:pt x="1394" y="4673"/>
                  </a:lnTo>
                  <a:lnTo>
                    <a:pt x="1414" y="4660"/>
                  </a:lnTo>
                  <a:lnTo>
                    <a:pt x="1434" y="4645"/>
                  </a:lnTo>
                  <a:lnTo>
                    <a:pt x="1452" y="4630"/>
                  </a:lnTo>
                  <a:lnTo>
                    <a:pt x="1456" y="4632"/>
                  </a:lnTo>
                  <a:lnTo>
                    <a:pt x="1460" y="4633"/>
                  </a:lnTo>
                  <a:lnTo>
                    <a:pt x="1462" y="4636"/>
                  </a:lnTo>
                  <a:lnTo>
                    <a:pt x="1465" y="4640"/>
                  </a:lnTo>
                  <a:lnTo>
                    <a:pt x="1466" y="4650"/>
                  </a:lnTo>
                  <a:lnTo>
                    <a:pt x="1466" y="4662"/>
                  </a:lnTo>
                  <a:lnTo>
                    <a:pt x="1461" y="4692"/>
                  </a:lnTo>
                  <a:lnTo>
                    <a:pt x="1453" y="4724"/>
                  </a:lnTo>
                  <a:lnTo>
                    <a:pt x="1449" y="4738"/>
                  </a:lnTo>
                  <a:lnTo>
                    <a:pt x="1446" y="4753"/>
                  </a:lnTo>
                  <a:lnTo>
                    <a:pt x="1445" y="4766"/>
                  </a:lnTo>
                  <a:lnTo>
                    <a:pt x="1446" y="4776"/>
                  </a:lnTo>
                  <a:lnTo>
                    <a:pt x="1448" y="4780"/>
                  </a:lnTo>
                  <a:lnTo>
                    <a:pt x="1450" y="4784"/>
                  </a:lnTo>
                  <a:lnTo>
                    <a:pt x="1453" y="4785"/>
                  </a:lnTo>
                  <a:lnTo>
                    <a:pt x="1457" y="4786"/>
                  </a:lnTo>
                  <a:lnTo>
                    <a:pt x="1461" y="4786"/>
                  </a:lnTo>
                  <a:lnTo>
                    <a:pt x="1468" y="4786"/>
                  </a:lnTo>
                  <a:lnTo>
                    <a:pt x="1474" y="4784"/>
                  </a:lnTo>
                  <a:lnTo>
                    <a:pt x="1482" y="4781"/>
                  </a:lnTo>
                  <a:lnTo>
                    <a:pt x="1490" y="4760"/>
                  </a:lnTo>
                  <a:lnTo>
                    <a:pt x="1500" y="4740"/>
                  </a:lnTo>
                  <a:lnTo>
                    <a:pt x="1510" y="4722"/>
                  </a:lnTo>
                  <a:lnTo>
                    <a:pt x="1521" y="4705"/>
                  </a:lnTo>
                  <a:lnTo>
                    <a:pt x="1542" y="4674"/>
                  </a:lnTo>
                  <a:lnTo>
                    <a:pt x="1564" y="4646"/>
                  </a:lnTo>
                  <a:lnTo>
                    <a:pt x="1572" y="4632"/>
                  </a:lnTo>
                  <a:lnTo>
                    <a:pt x="1580" y="4616"/>
                  </a:lnTo>
                  <a:lnTo>
                    <a:pt x="1586" y="4601"/>
                  </a:lnTo>
                  <a:lnTo>
                    <a:pt x="1592" y="4584"/>
                  </a:lnTo>
                  <a:lnTo>
                    <a:pt x="1594" y="4565"/>
                  </a:lnTo>
                  <a:lnTo>
                    <a:pt x="1596" y="4545"/>
                  </a:lnTo>
                  <a:lnTo>
                    <a:pt x="1594" y="4522"/>
                  </a:lnTo>
                  <a:lnTo>
                    <a:pt x="1590" y="4497"/>
                  </a:lnTo>
                  <a:lnTo>
                    <a:pt x="1626" y="4449"/>
                  </a:lnTo>
                  <a:lnTo>
                    <a:pt x="1660" y="4405"/>
                  </a:lnTo>
                  <a:lnTo>
                    <a:pt x="1668" y="4394"/>
                  </a:lnTo>
                  <a:lnTo>
                    <a:pt x="1674" y="4382"/>
                  </a:lnTo>
                  <a:lnTo>
                    <a:pt x="1681" y="4370"/>
                  </a:lnTo>
                  <a:lnTo>
                    <a:pt x="1686" y="4358"/>
                  </a:lnTo>
                  <a:lnTo>
                    <a:pt x="1690" y="4345"/>
                  </a:lnTo>
                  <a:lnTo>
                    <a:pt x="1694" y="4330"/>
                  </a:lnTo>
                  <a:lnTo>
                    <a:pt x="1697" y="4316"/>
                  </a:lnTo>
                  <a:lnTo>
                    <a:pt x="1698" y="4299"/>
                  </a:lnTo>
                  <a:lnTo>
                    <a:pt x="1698" y="4295"/>
                  </a:lnTo>
                  <a:lnTo>
                    <a:pt x="1697" y="4291"/>
                  </a:lnTo>
                  <a:lnTo>
                    <a:pt x="1696" y="4288"/>
                  </a:lnTo>
                  <a:lnTo>
                    <a:pt x="1693" y="4288"/>
                  </a:lnTo>
                  <a:lnTo>
                    <a:pt x="1690" y="4288"/>
                  </a:lnTo>
                  <a:lnTo>
                    <a:pt x="1686" y="4289"/>
                  </a:lnTo>
                  <a:lnTo>
                    <a:pt x="1682" y="4292"/>
                  </a:lnTo>
                  <a:lnTo>
                    <a:pt x="1677" y="4295"/>
                  </a:lnTo>
                  <a:lnTo>
                    <a:pt x="1656" y="4313"/>
                  </a:lnTo>
                  <a:lnTo>
                    <a:pt x="1629" y="4340"/>
                  </a:lnTo>
                  <a:lnTo>
                    <a:pt x="1614" y="4353"/>
                  </a:lnTo>
                  <a:lnTo>
                    <a:pt x="1601" y="4366"/>
                  </a:lnTo>
                  <a:lnTo>
                    <a:pt x="1588" y="4377"/>
                  </a:lnTo>
                  <a:lnTo>
                    <a:pt x="1574" y="4386"/>
                  </a:lnTo>
                  <a:lnTo>
                    <a:pt x="1568" y="4390"/>
                  </a:lnTo>
                  <a:lnTo>
                    <a:pt x="1562" y="4393"/>
                  </a:lnTo>
                  <a:lnTo>
                    <a:pt x="1557" y="4396"/>
                  </a:lnTo>
                  <a:lnTo>
                    <a:pt x="1552" y="4397"/>
                  </a:lnTo>
                  <a:lnTo>
                    <a:pt x="1546" y="4397"/>
                  </a:lnTo>
                  <a:lnTo>
                    <a:pt x="1542" y="4396"/>
                  </a:lnTo>
                  <a:lnTo>
                    <a:pt x="1540" y="4393"/>
                  </a:lnTo>
                  <a:lnTo>
                    <a:pt x="1536" y="4389"/>
                  </a:lnTo>
                  <a:lnTo>
                    <a:pt x="1526" y="4368"/>
                  </a:lnTo>
                  <a:lnTo>
                    <a:pt x="1517" y="4342"/>
                  </a:lnTo>
                  <a:lnTo>
                    <a:pt x="1508" y="4313"/>
                  </a:lnTo>
                  <a:lnTo>
                    <a:pt x="1500" y="4279"/>
                  </a:lnTo>
                  <a:lnTo>
                    <a:pt x="1485" y="4205"/>
                  </a:lnTo>
                  <a:lnTo>
                    <a:pt x="1470" y="4125"/>
                  </a:lnTo>
                  <a:lnTo>
                    <a:pt x="1454" y="4049"/>
                  </a:lnTo>
                  <a:lnTo>
                    <a:pt x="1440" y="3980"/>
                  </a:lnTo>
                  <a:lnTo>
                    <a:pt x="1432" y="3949"/>
                  </a:lnTo>
                  <a:lnTo>
                    <a:pt x="1422" y="3924"/>
                  </a:lnTo>
                  <a:lnTo>
                    <a:pt x="1418" y="3913"/>
                  </a:lnTo>
                  <a:lnTo>
                    <a:pt x="1413" y="3904"/>
                  </a:lnTo>
                  <a:lnTo>
                    <a:pt x="1409" y="3896"/>
                  </a:lnTo>
                  <a:lnTo>
                    <a:pt x="1404" y="3889"/>
                  </a:lnTo>
                  <a:lnTo>
                    <a:pt x="1394" y="3881"/>
                  </a:lnTo>
                  <a:lnTo>
                    <a:pt x="1388" y="3872"/>
                  </a:lnTo>
                  <a:lnTo>
                    <a:pt x="1381" y="3863"/>
                  </a:lnTo>
                  <a:lnTo>
                    <a:pt x="1376" y="3853"/>
                  </a:lnTo>
                  <a:lnTo>
                    <a:pt x="1372" y="3844"/>
                  </a:lnTo>
                  <a:lnTo>
                    <a:pt x="1369" y="3835"/>
                  </a:lnTo>
                  <a:lnTo>
                    <a:pt x="1366" y="3825"/>
                  </a:lnTo>
                  <a:lnTo>
                    <a:pt x="1364" y="3816"/>
                  </a:lnTo>
                  <a:lnTo>
                    <a:pt x="1364" y="3805"/>
                  </a:lnTo>
                  <a:lnTo>
                    <a:pt x="1364" y="3796"/>
                  </a:lnTo>
                  <a:lnTo>
                    <a:pt x="1364" y="3785"/>
                  </a:lnTo>
                  <a:lnTo>
                    <a:pt x="1365" y="3775"/>
                  </a:lnTo>
                  <a:lnTo>
                    <a:pt x="1369" y="3753"/>
                  </a:lnTo>
                  <a:lnTo>
                    <a:pt x="1374" y="3732"/>
                  </a:lnTo>
                  <a:lnTo>
                    <a:pt x="1390" y="3688"/>
                  </a:lnTo>
                  <a:lnTo>
                    <a:pt x="1410" y="3643"/>
                  </a:lnTo>
                  <a:lnTo>
                    <a:pt x="1420" y="3620"/>
                  </a:lnTo>
                  <a:lnTo>
                    <a:pt x="1429" y="3598"/>
                  </a:lnTo>
                  <a:lnTo>
                    <a:pt x="1438" y="3575"/>
                  </a:lnTo>
                  <a:lnTo>
                    <a:pt x="1445" y="3552"/>
                  </a:lnTo>
                  <a:lnTo>
                    <a:pt x="1456" y="3555"/>
                  </a:lnTo>
                  <a:lnTo>
                    <a:pt x="1466" y="3556"/>
                  </a:lnTo>
                  <a:lnTo>
                    <a:pt x="1474" y="3558"/>
                  </a:lnTo>
                  <a:lnTo>
                    <a:pt x="1482" y="3558"/>
                  </a:lnTo>
                  <a:lnTo>
                    <a:pt x="1489" y="3556"/>
                  </a:lnTo>
                  <a:lnTo>
                    <a:pt x="1494" y="3554"/>
                  </a:lnTo>
                  <a:lnTo>
                    <a:pt x="1500" y="3551"/>
                  </a:lnTo>
                  <a:lnTo>
                    <a:pt x="1504" y="3547"/>
                  </a:lnTo>
                  <a:lnTo>
                    <a:pt x="1508" y="3543"/>
                  </a:lnTo>
                  <a:lnTo>
                    <a:pt x="1510" y="3538"/>
                  </a:lnTo>
                  <a:lnTo>
                    <a:pt x="1512" y="3534"/>
                  </a:lnTo>
                  <a:lnTo>
                    <a:pt x="1514" y="3527"/>
                  </a:lnTo>
                  <a:lnTo>
                    <a:pt x="1516" y="3515"/>
                  </a:lnTo>
                  <a:lnTo>
                    <a:pt x="1517" y="3502"/>
                  </a:lnTo>
                  <a:lnTo>
                    <a:pt x="1516" y="3476"/>
                  </a:lnTo>
                  <a:lnTo>
                    <a:pt x="1513" y="3454"/>
                  </a:lnTo>
                  <a:lnTo>
                    <a:pt x="1513" y="3444"/>
                  </a:lnTo>
                  <a:lnTo>
                    <a:pt x="1516" y="3439"/>
                  </a:lnTo>
                  <a:lnTo>
                    <a:pt x="1517" y="3438"/>
                  </a:lnTo>
                  <a:lnTo>
                    <a:pt x="1518" y="3436"/>
                  </a:lnTo>
                  <a:lnTo>
                    <a:pt x="1521" y="3436"/>
                  </a:lnTo>
                  <a:lnTo>
                    <a:pt x="1524" y="3438"/>
                  </a:lnTo>
                  <a:lnTo>
                    <a:pt x="1532" y="3446"/>
                  </a:lnTo>
                  <a:lnTo>
                    <a:pt x="1541" y="3456"/>
                  </a:lnTo>
                  <a:lnTo>
                    <a:pt x="1550" y="3470"/>
                  </a:lnTo>
                  <a:lnTo>
                    <a:pt x="1560" y="3486"/>
                  </a:lnTo>
                  <a:lnTo>
                    <a:pt x="1580" y="3520"/>
                  </a:lnTo>
                  <a:lnTo>
                    <a:pt x="1601" y="3556"/>
                  </a:lnTo>
                  <a:lnTo>
                    <a:pt x="1610" y="3574"/>
                  </a:lnTo>
                  <a:lnTo>
                    <a:pt x="1621" y="3590"/>
                  </a:lnTo>
                  <a:lnTo>
                    <a:pt x="1630" y="3602"/>
                  </a:lnTo>
                  <a:lnTo>
                    <a:pt x="1640" y="3612"/>
                  </a:lnTo>
                  <a:lnTo>
                    <a:pt x="1644" y="3616"/>
                  </a:lnTo>
                  <a:lnTo>
                    <a:pt x="1648" y="3619"/>
                  </a:lnTo>
                  <a:lnTo>
                    <a:pt x="1652" y="3622"/>
                  </a:lnTo>
                  <a:lnTo>
                    <a:pt x="1656" y="3622"/>
                  </a:lnTo>
                  <a:lnTo>
                    <a:pt x="1658" y="3622"/>
                  </a:lnTo>
                  <a:lnTo>
                    <a:pt x="1662" y="3620"/>
                  </a:lnTo>
                  <a:lnTo>
                    <a:pt x="1665" y="3618"/>
                  </a:lnTo>
                  <a:lnTo>
                    <a:pt x="1669" y="3612"/>
                  </a:lnTo>
                  <a:lnTo>
                    <a:pt x="1678" y="3594"/>
                  </a:lnTo>
                  <a:lnTo>
                    <a:pt x="1688" y="3582"/>
                  </a:lnTo>
                  <a:lnTo>
                    <a:pt x="1692" y="3578"/>
                  </a:lnTo>
                  <a:lnTo>
                    <a:pt x="1696" y="3574"/>
                  </a:lnTo>
                  <a:lnTo>
                    <a:pt x="1700" y="3572"/>
                  </a:lnTo>
                  <a:lnTo>
                    <a:pt x="1704" y="3571"/>
                  </a:lnTo>
                  <a:lnTo>
                    <a:pt x="1706" y="3571"/>
                  </a:lnTo>
                  <a:lnTo>
                    <a:pt x="1710" y="3571"/>
                  </a:lnTo>
                  <a:lnTo>
                    <a:pt x="1714" y="3572"/>
                  </a:lnTo>
                  <a:lnTo>
                    <a:pt x="1717" y="3575"/>
                  </a:lnTo>
                  <a:lnTo>
                    <a:pt x="1724" y="3580"/>
                  </a:lnTo>
                  <a:lnTo>
                    <a:pt x="1730" y="3588"/>
                  </a:lnTo>
                  <a:lnTo>
                    <a:pt x="1742" y="3606"/>
                  </a:lnTo>
                  <a:lnTo>
                    <a:pt x="1754" y="3622"/>
                  </a:lnTo>
                  <a:lnTo>
                    <a:pt x="1761" y="3628"/>
                  </a:lnTo>
                  <a:lnTo>
                    <a:pt x="1768" y="3632"/>
                  </a:lnTo>
                  <a:lnTo>
                    <a:pt x="1772" y="3634"/>
                  </a:lnTo>
                  <a:lnTo>
                    <a:pt x="1776" y="3634"/>
                  </a:lnTo>
                  <a:lnTo>
                    <a:pt x="1780" y="3632"/>
                  </a:lnTo>
                  <a:lnTo>
                    <a:pt x="1782" y="3631"/>
                  </a:lnTo>
                  <a:lnTo>
                    <a:pt x="1790" y="3627"/>
                  </a:lnTo>
                  <a:lnTo>
                    <a:pt x="1796" y="3622"/>
                  </a:lnTo>
                  <a:lnTo>
                    <a:pt x="1800" y="3616"/>
                  </a:lnTo>
                  <a:lnTo>
                    <a:pt x="1802" y="3610"/>
                  </a:lnTo>
                  <a:lnTo>
                    <a:pt x="1804" y="3603"/>
                  </a:lnTo>
                  <a:lnTo>
                    <a:pt x="1805" y="3595"/>
                  </a:lnTo>
                  <a:lnTo>
                    <a:pt x="1804" y="3587"/>
                  </a:lnTo>
                  <a:lnTo>
                    <a:pt x="1802" y="3579"/>
                  </a:lnTo>
                  <a:lnTo>
                    <a:pt x="1797" y="3560"/>
                  </a:lnTo>
                  <a:lnTo>
                    <a:pt x="1788" y="3542"/>
                  </a:lnTo>
                  <a:lnTo>
                    <a:pt x="1778" y="3520"/>
                  </a:lnTo>
                  <a:lnTo>
                    <a:pt x="1766" y="3498"/>
                  </a:lnTo>
                  <a:lnTo>
                    <a:pt x="1754" y="3474"/>
                  </a:lnTo>
                  <a:lnTo>
                    <a:pt x="1742" y="3450"/>
                  </a:lnTo>
                  <a:lnTo>
                    <a:pt x="1732" y="3426"/>
                  </a:lnTo>
                  <a:lnTo>
                    <a:pt x="1724" y="3402"/>
                  </a:lnTo>
                  <a:lnTo>
                    <a:pt x="1720" y="3388"/>
                  </a:lnTo>
                  <a:lnTo>
                    <a:pt x="1717" y="3376"/>
                  </a:lnTo>
                  <a:lnTo>
                    <a:pt x="1716" y="3364"/>
                  </a:lnTo>
                  <a:lnTo>
                    <a:pt x="1714" y="3352"/>
                  </a:lnTo>
                  <a:lnTo>
                    <a:pt x="1716" y="3340"/>
                  </a:lnTo>
                  <a:lnTo>
                    <a:pt x="1717" y="3328"/>
                  </a:lnTo>
                  <a:lnTo>
                    <a:pt x="1718" y="3316"/>
                  </a:lnTo>
                  <a:lnTo>
                    <a:pt x="1722" y="3306"/>
                  </a:lnTo>
                  <a:lnTo>
                    <a:pt x="1729" y="3292"/>
                  </a:lnTo>
                  <a:lnTo>
                    <a:pt x="1732" y="3279"/>
                  </a:lnTo>
                  <a:lnTo>
                    <a:pt x="1734" y="3266"/>
                  </a:lnTo>
                  <a:lnTo>
                    <a:pt x="1734" y="3252"/>
                  </a:lnTo>
                  <a:lnTo>
                    <a:pt x="1733" y="3227"/>
                  </a:lnTo>
                  <a:lnTo>
                    <a:pt x="1729" y="3203"/>
                  </a:lnTo>
                  <a:lnTo>
                    <a:pt x="1718" y="3214"/>
                  </a:lnTo>
                  <a:lnTo>
                    <a:pt x="1706" y="3226"/>
                  </a:lnTo>
                  <a:lnTo>
                    <a:pt x="1700" y="3231"/>
                  </a:lnTo>
                  <a:lnTo>
                    <a:pt x="1692" y="3235"/>
                  </a:lnTo>
                  <a:lnTo>
                    <a:pt x="1684" y="3238"/>
                  </a:lnTo>
                  <a:lnTo>
                    <a:pt x="1674" y="3239"/>
                  </a:lnTo>
                  <a:lnTo>
                    <a:pt x="1668" y="3239"/>
                  </a:lnTo>
                  <a:lnTo>
                    <a:pt x="1660" y="3236"/>
                  </a:lnTo>
                  <a:lnTo>
                    <a:pt x="1653" y="3232"/>
                  </a:lnTo>
                  <a:lnTo>
                    <a:pt x="1646" y="3228"/>
                  </a:lnTo>
                  <a:lnTo>
                    <a:pt x="1641" y="3223"/>
                  </a:lnTo>
                  <a:lnTo>
                    <a:pt x="1637" y="3216"/>
                  </a:lnTo>
                  <a:lnTo>
                    <a:pt x="1633" y="3210"/>
                  </a:lnTo>
                  <a:lnTo>
                    <a:pt x="1633" y="3203"/>
                  </a:lnTo>
                  <a:lnTo>
                    <a:pt x="1626" y="3204"/>
                  </a:lnTo>
                  <a:lnTo>
                    <a:pt x="1621" y="3206"/>
                  </a:lnTo>
                  <a:lnTo>
                    <a:pt x="1617" y="3208"/>
                  </a:lnTo>
                  <a:lnTo>
                    <a:pt x="1613" y="3212"/>
                  </a:lnTo>
                  <a:lnTo>
                    <a:pt x="1609" y="3215"/>
                  </a:lnTo>
                  <a:lnTo>
                    <a:pt x="1605" y="3218"/>
                  </a:lnTo>
                  <a:lnTo>
                    <a:pt x="1598" y="3220"/>
                  </a:lnTo>
                  <a:lnTo>
                    <a:pt x="1590" y="3222"/>
                  </a:lnTo>
                  <a:lnTo>
                    <a:pt x="1585" y="3220"/>
                  </a:lnTo>
                  <a:lnTo>
                    <a:pt x="1581" y="3216"/>
                  </a:lnTo>
                  <a:lnTo>
                    <a:pt x="1577" y="3211"/>
                  </a:lnTo>
                  <a:lnTo>
                    <a:pt x="1574" y="3203"/>
                  </a:lnTo>
                  <a:lnTo>
                    <a:pt x="1568" y="3184"/>
                  </a:lnTo>
                  <a:lnTo>
                    <a:pt x="1562" y="3163"/>
                  </a:lnTo>
                  <a:lnTo>
                    <a:pt x="1558" y="3152"/>
                  </a:lnTo>
                  <a:lnTo>
                    <a:pt x="1556" y="3142"/>
                  </a:lnTo>
                  <a:lnTo>
                    <a:pt x="1550" y="3131"/>
                  </a:lnTo>
                  <a:lnTo>
                    <a:pt x="1545" y="3122"/>
                  </a:lnTo>
                  <a:lnTo>
                    <a:pt x="1538" y="3114"/>
                  </a:lnTo>
                  <a:lnTo>
                    <a:pt x="1532" y="3107"/>
                  </a:lnTo>
                  <a:lnTo>
                    <a:pt x="1522" y="3103"/>
                  </a:lnTo>
                  <a:lnTo>
                    <a:pt x="1512" y="3101"/>
                  </a:lnTo>
                  <a:lnTo>
                    <a:pt x="1461" y="3097"/>
                  </a:lnTo>
                  <a:lnTo>
                    <a:pt x="1421" y="3090"/>
                  </a:lnTo>
                  <a:lnTo>
                    <a:pt x="1413" y="3087"/>
                  </a:lnTo>
                  <a:lnTo>
                    <a:pt x="1406" y="3082"/>
                  </a:lnTo>
                  <a:lnTo>
                    <a:pt x="1400" y="3077"/>
                  </a:lnTo>
                  <a:lnTo>
                    <a:pt x="1394" y="3069"/>
                  </a:lnTo>
                  <a:lnTo>
                    <a:pt x="1390" y="3059"/>
                  </a:lnTo>
                  <a:lnTo>
                    <a:pt x="1388" y="3047"/>
                  </a:lnTo>
                  <a:lnTo>
                    <a:pt x="1386" y="3034"/>
                  </a:lnTo>
                  <a:lnTo>
                    <a:pt x="1385" y="3017"/>
                  </a:lnTo>
                  <a:lnTo>
                    <a:pt x="1277" y="2926"/>
                  </a:lnTo>
                  <a:lnTo>
                    <a:pt x="1262" y="2926"/>
                  </a:lnTo>
                  <a:lnTo>
                    <a:pt x="1249" y="2926"/>
                  </a:lnTo>
                  <a:lnTo>
                    <a:pt x="1234" y="2925"/>
                  </a:lnTo>
                  <a:lnTo>
                    <a:pt x="1221" y="2922"/>
                  </a:lnTo>
                  <a:lnTo>
                    <a:pt x="1214" y="2919"/>
                  </a:lnTo>
                  <a:lnTo>
                    <a:pt x="1208" y="2918"/>
                  </a:lnTo>
                  <a:lnTo>
                    <a:pt x="1202" y="2914"/>
                  </a:lnTo>
                  <a:lnTo>
                    <a:pt x="1198" y="2911"/>
                  </a:lnTo>
                  <a:lnTo>
                    <a:pt x="1194" y="2907"/>
                  </a:lnTo>
                  <a:lnTo>
                    <a:pt x="1190" y="2902"/>
                  </a:lnTo>
                  <a:lnTo>
                    <a:pt x="1188" y="2897"/>
                  </a:lnTo>
                  <a:lnTo>
                    <a:pt x="1186" y="2890"/>
                  </a:lnTo>
                  <a:lnTo>
                    <a:pt x="1189" y="2866"/>
                  </a:lnTo>
                  <a:lnTo>
                    <a:pt x="1192" y="2841"/>
                  </a:lnTo>
                  <a:lnTo>
                    <a:pt x="1192" y="2830"/>
                  </a:lnTo>
                  <a:lnTo>
                    <a:pt x="1189" y="2819"/>
                  </a:lnTo>
                  <a:lnTo>
                    <a:pt x="1186" y="2815"/>
                  </a:lnTo>
                  <a:lnTo>
                    <a:pt x="1184" y="2811"/>
                  </a:lnTo>
                  <a:lnTo>
                    <a:pt x="1180" y="2809"/>
                  </a:lnTo>
                  <a:lnTo>
                    <a:pt x="1174" y="2806"/>
                  </a:lnTo>
                  <a:lnTo>
                    <a:pt x="1153" y="2803"/>
                  </a:lnTo>
                  <a:lnTo>
                    <a:pt x="1128" y="2803"/>
                  </a:lnTo>
                  <a:lnTo>
                    <a:pt x="1115" y="2803"/>
                  </a:lnTo>
                  <a:lnTo>
                    <a:pt x="1103" y="2802"/>
                  </a:lnTo>
                  <a:lnTo>
                    <a:pt x="1092" y="2802"/>
                  </a:lnTo>
                  <a:lnTo>
                    <a:pt x="1084" y="2799"/>
                  </a:lnTo>
                  <a:lnTo>
                    <a:pt x="1091" y="2799"/>
                  </a:lnTo>
                  <a:lnTo>
                    <a:pt x="1084" y="2799"/>
                  </a:lnTo>
                  <a:lnTo>
                    <a:pt x="1083" y="2795"/>
                  </a:lnTo>
                  <a:lnTo>
                    <a:pt x="1081" y="2789"/>
                  </a:lnTo>
                  <a:lnTo>
                    <a:pt x="1081" y="2782"/>
                  </a:lnTo>
                  <a:lnTo>
                    <a:pt x="1083" y="2775"/>
                  </a:lnTo>
                  <a:lnTo>
                    <a:pt x="1084" y="2759"/>
                  </a:lnTo>
                  <a:lnTo>
                    <a:pt x="1084" y="2746"/>
                  </a:lnTo>
                  <a:lnTo>
                    <a:pt x="1085" y="2730"/>
                  </a:lnTo>
                  <a:lnTo>
                    <a:pt x="1085" y="2717"/>
                  </a:lnTo>
                  <a:lnTo>
                    <a:pt x="1088" y="2706"/>
                  </a:lnTo>
                  <a:lnTo>
                    <a:pt x="1089" y="2698"/>
                  </a:lnTo>
                  <a:lnTo>
                    <a:pt x="1093" y="2690"/>
                  </a:lnTo>
                  <a:lnTo>
                    <a:pt x="1096" y="2685"/>
                  </a:lnTo>
                  <a:lnTo>
                    <a:pt x="1101" y="2681"/>
                  </a:lnTo>
                  <a:lnTo>
                    <a:pt x="1105" y="2677"/>
                  </a:lnTo>
                  <a:lnTo>
                    <a:pt x="1117" y="2671"/>
                  </a:lnTo>
                  <a:lnTo>
                    <a:pt x="1131" y="2667"/>
                  </a:lnTo>
                  <a:lnTo>
                    <a:pt x="1137" y="2663"/>
                  </a:lnTo>
                  <a:lnTo>
                    <a:pt x="1145" y="2659"/>
                  </a:lnTo>
                  <a:lnTo>
                    <a:pt x="1153" y="2655"/>
                  </a:lnTo>
                  <a:lnTo>
                    <a:pt x="1162" y="2649"/>
                  </a:lnTo>
                  <a:lnTo>
                    <a:pt x="1165" y="2647"/>
                  </a:lnTo>
                  <a:lnTo>
                    <a:pt x="1168" y="2643"/>
                  </a:lnTo>
                  <a:lnTo>
                    <a:pt x="1169" y="2641"/>
                  </a:lnTo>
                  <a:lnTo>
                    <a:pt x="1170" y="2637"/>
                  </a:lnTo>
                  <a:lnTo>
                    <a:pt x="1172" y="2630"/>
                  </a:lnTo>
                  <a:lnTo>
                    <a:pt x="1170" y="2621"/>
                  </a:lnTo>
                  <a:lnTo>
                    <a:pt x="1170" y="2613"/>
                  </a:lnTo>
                  <a:lnTo>
                    <a:pt x="1170" y="2605"/>
                  </a:lnTo>
                  <a:lnTo>
                    <a:pt x="1172" y="2597"/>
                  </a:lnTo>
                  <a:lnTo>
                    <a:pt x="1174" y="2589"/>
                  </a:lnTo>
                  <a:lnTo>
                    <a:pt x="1209" y="2561"/>
                  </a:lnTo>
                  <a:lnTo>
                    <a:pt x="1241" y="2537"/>
                  </a:lnTo>
                  <a:lnTo>
                    <a:pt x="1256" y="2525"/>
                  </a:lnTo>
                  <a:lnTo>
                    <a:pt x="1270" y="2512"/>
                  </a:lnTo>
                  <a:lnTo>
                    <a:pt x="1284" y="2497"/>
                  </a:lnTo>
                  <a:lnTo>
                    <a:pt x="1294" y="2481"/>
                  </a:lnTo>
                  <a:lnTo>
                    <a:pt x="1306" y="2465"/>
                  </a:lnTo>
                  <a:lnTo>
                    <a:pt x="1318" y="2449"/>
                  </a:lnTo>
                  <a:lnTo>
                    <a:pt x="1330" y="2436"/>
                  </a:lnTo>
                  <a:lnTo>
                    <a:pt x="1342" y="2422"/>
                  </a:lnTo>
                  <a:lnTo>
                    <a:pt x="1356" y="2410"/>
                  </a:lnTo>
                  <a:lnTo>
                    <a:pt x="1369" y="2400"/>
                  </a:lnTo>
                  <a:lnTo>
                    <a:pt x="1382" y="2389"/>
                  </a:lnTo>
                  <a:lnTo>
                    <a:pt x="1397" y="2380"/>
                  </a:lnTo>
                  <a:lnTo>
                    <a:pt x="1413" y="2372"/>
                  </a:lnTo>
                  <a:lnTo>
                    <a:pt x="1428" y="2364"/>
                  </a:lnTo>
                  <a:lnTo>
                    <a:pt x="1444" y="2356"/>
                  </a:lnTo>
                  <a:lnTo>
                    <a:pt x="1461" y="2349"/>
                  </a:lnTo>
                  <a:lnTo>
                    <a:pt x="1497" y="2336"/>
                  </a:lnTo>
                  <a:lnTo>
                    <a:pt x="1536" y="2324"/>
                  </a:lnTo>
                  <a:lnTo>
                    <a:pt x="1546" y="2318"/>
                  </a:lnTo>
                  <a:lnTo>
                    <a:pt x="1554" y="2310"/>
                  </a:lnTo>
                  <a:lnTo>
                    <a:pt x="1562" y="2302"/>
                  </a:lnTo>
                  <a:lnTo>
                    <a:pt x="1570" y="2293"/>
                  </a:lnTo>
                  <a:lnTo>
                    <a:pt x="1578" y="2284"/>
                  </a:lnTo>
                  <a:lnTo>
                    <a:pt x="1589" y="2277"/>
                  </a:lnTo>
                  <a:lnTo>
                    <a:pt x="1594" y="2274"/>
                  </a:lnTo>
                  <a:lnTo>
                    <a:pt x="1600" y="2272"/>
                  </a:lnTo>
                  <a:lnTo>
                    <a:pt x="1606" y="2270"/>
                  </a:lnTo>
                  <a:lnTo>
                    <a:pt x="1614" y="2270"/>
                  </a:lnTo>
                  <a:lnTo>
                    <a:pt x="1620" y="2270"/>
                  </a:lnTo>
                  <a:lnTo>
                    <a:pt x="1625" y="2272"/>
                  </a:lnTo>
                  <a:lnTo>
                    <a:pt x="1629" y="2274"/>
                  </a:lnTo>
                  <a:lnTo>
                    <a:pt x="1633" y="2277"/>
                  </a:lnTo>
                  <a:lnTo>
                    <a:pt x="1640" y="2286"/>
                  </a:lnTo>
                  <a:lnTo>
                    <a:pt x="1645" y="2297"/>
                  </a:lnTo>
                  <a:lnTo>
                    <a:pt x="1653" y="2325"/>
                  </a:lnTo>
                  <a:lnTo>
                    <a:pt x="1660" y="2357"/>
                  </a:lnTo>
                  <a:lnTo>
                    <a:pt x="1664" y="2373"/>
                  </a:lnTo>
                  <a:lnTo>
                    <a:pt x="1668" y="2389"/>
                  </a:lnTo>
                  <a:lnTo>
                    <a:pt x="1672" y="2404"/>
                  </a:lnTo>
                  <a:lnTo>
                    <a:pt x="1678" y="2417"/>
                  </a:lnTo>
                  <a:lnTo>
                    <a:pt x="1682" y="2424"/>
                  </a:lnTo>
                  <a:lnTo>
                    <a:pt x="1686" y="2429"/>
                  </a:lnTo>
                  <a:lnTo>
                    <a:pt x="1692" y="2433"/>
                  </a:lnTo>
                  <a:lnTo>
                    <a:pt x="1696" y="2437"/>
                  </a:lnTo>
                  <a:lnTo>
                    <a:pt x="1702" y="2441"/>
                  </a:lnTo>
                  <a:lnTo>
                    <a:pt x="1708" y="2442"/>
                  </a:lnTo>
                  <a:lnTo>
                    <a:pt x="1716" y="2444"/>
                  </a:lnTo>
                  <a:lnTo>
                    <a:pt x="1722" y="2445"/>
                  </a:lnTo>
                  <a:lnTo>
                    <a:pt x="1729" y="2444"/>
                  </a:lnTo>
                  <a:lnTo>
                    <a:pt x="1734" y="2442"/>
                  </a:lnTo>
                  <a:lnTo>
                    <a:pt x="1741" y="2441"/>
                  </a:lnTo>
                  <a:lnTo>
                    <a:pt x="1746" y="2438"/>
                  </a:lnTo>
                  <a:lnTo>
                    <a:pt x="1760" y="2430"/>
                  </a:lnTo>
                  <a:lnTo>
                    <a:pt x="1773" y="2422"/>
                  </a:lnTo>
                  <a:lnTo>
                    <a:pt x="1796" y="2404"/>
                  </a:lnTo>
                  <a:lnTo>
                    <a:pt x="1813" y="2390"/>
                  </a:lnTo>
                  <a:lnTo>
                    <a:pt x="1826" y="2385"/>
                  </a:lnTo>
                  <a:lnTo>
                    <a:pt x="1841" y="2380"/>
                  </a:lnTo>
                  <a:lnTo>
                    <a:pt x="1857" y="2377"/>
                  </a:lnTo>
                  <a:lnTo>
                    <a:pt x="1874" y="2374"/>
                  </a:lnTo>
                  <a:lnTo>
                    <a:pt x="1909" y="2370"/>
                  </a:lnTo>
                  <a:lnTo>
                    <a:pt x="1943" y="2366"/>
                  </a:lnTo>
                  <a:lnTo>
                    <a:pt x="1959" y="2364"/>
                  </a:lnTo>
                  <a:lnTo>
                    <a:pt x="1974" y="2358"/>
                  </a:lnTo>
                  <a:lnTo>
                    <a:pt x="1987" y="2353"/>
                  </a:lnTo>
                  <a:lnTo>
                    <a:pt x="1999" y="2345"/>
                  </a:lnTo>
                  <a:lnTo>
                    <a:pt x="2005" y="2340"/>
                  </a:lnTo>
                  <a:lnTo>
                    <a:pt x="2010" y="2334"/>
                  </a:lnTo>
                  <a:lnTo>
                    <a:pt x="2014" y="2329"/>
                  </a:lnTo>
                  <a:lnTo>
                    <a:pt x="2017" y="2322"/>
                  </a:lnTo>
                  <a:lnTo>
                    <a:pt x="2019" y="2314"/>
                  </a:lnTo>
                  <a:lnTo>
                    <a:pt x="2022" y="2306"/>
                  </a:lnTo>
                  <a:lnTo>
                    <a:pt x="2023" y="2298"/>
                  </a:lnTo>
                  <a:lnTo>
                    <a:pt x="2023" y="2288"/>
                  </a:lnTo>
                  <a:lnTo>
                    <a:pt x="2023" y="2269"/>
                  </a:lnTo>
                  <a:lnTo>
                    <a:pt x="2023" y="2253"/>
                  </a:lnTo>
                  <a:lnTo>
                    <a:pt x="2023" y="2241"/>
                  </a:lnTo>
                  <a:lnTo>
                    <a:pt x="2023" y="2228"/>
                  </a:lnTo>
                  <a:lnTo>
                    <a:pt x="2025" y="2204"/>
                  </a:lnTo>
                  <a:lnTo>
                    <a:pt x="2029" y="2182"/>
                  </a:lnTo>
                  <a:lnTo>
                    <a:pt x="2034" y="2161"/>
                  </a:lnTo>
                  <a:lnTo>
                    <a:pt x="2041" y="2142"/>
                  </a:lnTo>
                  <a:lnTo>
                    <a:pt x="2057" y="2104"/>
                  </a:lnTo>
                  <a:lnTo>
                    <a:pt x="2071" y="2065"/>
                  </a:lnTo>
                  <a:lnTo>
                    <a:pt x="2077" y="2030"/>
                  </a:lnTo>
                  <a:lnTo>
                    <a:pt x="2081" y="1997"/>
                  </a:lnTo>
                  <a:lnTo>
                    <a:pt x="2082" y="1982"/>
                  </a:lnTo>
                  <a:lnTo>
                    <a:pt x="2086" y="1967"/>
                  </a:lnTo>
                  <a:lnTo>
                    <a:pt x="2089" y="1960"/>
                  </a:lnTo>
                  <a:lnTo>
                    <a:pt x="2093" y="1953"/>
                  </a:lnTo>
                  <a:lnTo>
                    <a:pt x="2097" y="1945"/>
                  </a:lnTo>
                  <a:lnTo>
                    <a:pt x="2102" y="1939"/>
                  </a:lnTo>
                  <a:lnTo>
                    <a:pt x="2114" y="1948"/>
                  </a:lnTo>
                  <a:lnTo>
                    <a:pt x="2123" y="1956"/>
                  </a:lnTo>
                  <a:lnTo>
                    <a:pt x="2129" y="1959"/>
                  </a:lnTo>
                  <a:lnTo>
                    <a:pt x="2135" y="1961"/>
                  </a:lnTo>
                  <a:lnTo>
                    <a:pt x="2142" y="1963"/>
                  </a:lnTo>
                  <a:lnTo>
                    <a:pt x="2150" y="1963"/>
                  </a:lnTo>
                  <a:lnTo>
                    <a:pt x="2162" y="1961"/>
                  </a:lnTo>
                  <a:lnTo>
                    <a:pt x="2174" y="1959"/>
                  </a:lnTo>
                  <a:lnTo>
                    <a:pt x="2183" y="1953"/>
                  </a:lnTo>
                  <a:lnTo>
                    <a:pt x="2193" y="1948"/>
                  </a:lnTo>
                  <a:lnTo>
                    <a:pt x="2203" y="1943"/>
                  </a:lnTo>
                  <a:lnTo>
                    <a:pt x="2214" y="1937"/>
                  </a:lnTo>
                  <a:lnTo>
                    <a:pt x="2226" y="1935"/>
                  </a:lnTo>
                  <a:lnTo>
                    <a:pt x="2241" y="1933"/>
                  </a:lnTo>
                  <a:lnTo>
                    <a:pt x="2231" y="1896"/>
                  </a:lnTo>
                  <a:lnTo>
                    <a:pt x="2223" y="1857"/>
                  </a:lnTo>
                  <a:lnTo>
                    <a:pt x="2215" y="1817"/>
                  </a:lnTo>
                  <a:lnTo>
                    <a:pt x="2207" y="1777"/>
                  </a:lnTo>
                  <a:lnTo>
                    <a:pt x="2199" y="1736"/>
                  </a:lnTo>
                  <a:lnTo>
                    <a:pt x="2191" y="1693"/>
                  </a:lnTo>
                  <a:lnTo>
                    <a:pt x="2183" y="1651"/>
                  </a:lnTo>
                  <a:lnTo>
                    <a:pt x="2174" y="1608"/>
                  </a:lnTo>
                  <a:lnTo>
                    <a:pt x="2173" y="1603"/>
                  </a:lnTo>
                  <a:lnTo>
                    <a:pt x="2173" y="1597"/>
                  </a:lnTo>
                  <a:lnTo>
                    <a:pt x="2174" y="1592"/>
                  </a:lnTo>
                  <a:lnTo>
                    <a:pt x="2175" y="1587"/>
                  </a:lnTo>
                  <a:lnTo>
                    <a:pt x="2181" y="1576"/>
                  </a:lnTo>
                  <a:lnTo>
                    <a:pt x="2189" y="1565"/>
                  </a:lnTo>
                  <a:lnTo>
                    <a:pt x="2210" y="1543"/>
                  </a:lnTo>
                  <a:lnTo>
                    <a:pt x="2237" y="1519"/>
                  </a:lnTo>
                  <a:lnTo>
                    <a:pt x="2250" y="1507"/>
                  </a:lnTo>
                  <a:lnTo>
                    <a:pt x="2265" y="1493"/>
                  </a:lnTo>
                  <a:lnTo>
                    <a:pt x="2277" y="1480"/>
                  </a:lnTo>
                  <a:lnTo>
                    <a:pt x="2289" y="1465"/>
                  </a:lnTo>
                  <a:lnTo>
                    <a:pt x="2298" y="1451"/>
                  </a:lnTo>
                  <a:lnTo>
                    <a:pt x="2306" y="1436"/>
                  </a:lnTo>
                  <a:lnTo>
                    <a:pt x="2309" y="1428"/>
                  </a:lnTo>
                  <a:lnTo>
                    <a:pt x="2311" y="1420"/>
                  </a:lnTo>
                  <a:lnTo>
                    <a:pt x="2313" y="1411"/>
                  </a:lnTo>
                  <a:lnTo>
                    <a:pt x="2313" y="1403"/>
                  </a:lnTo>
                  <a:lnTo>
                    <a:pt x="2313" y="1392"/>
                  </a:lnTo>
                  <a:lnTo>
                    <a:pt x="2310" y="1382"/>
                  </a:lnTo>
                  <a:lnTo>
                    <a:pt x="2307" y="1371"/>
                  </a:lnTo>
                  <a:lnTo>
                    <a:pt x="2303" y="1360"/>
                  </a:lnTo>
                  <a:lnTo>
                    <a:pt x="2298" y="1351"/>
                  </a:lnTo>
                  <a:lnTo>
                    <a:pt x="2291" y="1340"/>
                  </a:lnTo>
                  <a:lnTo>
                    <a:pt x="2283" y="1331"/>
                  </a:lnTo>
                  <a:lnTo>
                    <a:pt x="2274" y="1322"/>
                  </a:lnTo>
                  <a:lnTo>
                    <a:pt x="2263" y="1314"/>
                  </a:lnTo>
                  <a:lnTo>
                    <a:pt x="2250" y="1307"/>
                  </a:lnTo>
                  <a:lnTo>
                    <a:pt x="2237" y="1300"/>
                  </a:lnTo>
                  <a:lnTo>
                    <a:pt x="2221" y="1296"/>
                  </a:lnTo>
                  <a:lnTo>
                    <a:pt x="2205" y="1294"/>
                  </a:lnTo>
                  <a:lnTo>
                    <a:pt x="2186" y="1292"/>
                  </a:lnTo>
                  <a:lnTo>
                    <a:pt x="2166" y="1292"/>
                  </a:lnTo>
                  <a:lnTo>
                    <a:pt x="2145" y="1295"/>
                  </a:lnTo>
                  <a:lnTo>
                    <a:pt x="2109" y="1300"/>
                  </a:lnTo>
                  <a:lnTo>
                    <a:pt x="2074" y="1303"/>
                  </a:lnTo>
                  <a:lnTo>
                    <a:pt x="2042" y="1304"/>
                  </a:lnTo>
                  <a:lnTo>
                    <a:pt x="2010" y="1304"/>
                  </a:lnTo>
                  <a:lnTo>
                    <a:pt x="1981" y="1303"/>
                  </a:lnTo>
                  <a:lnTo>
                    <a:pt x="1951" y="1303"/>
                  </a:lnTo>
                  <a:lnTo>
                    <a:pt x="1925" y="1303"/>
                  </a:lnTo>
                  <a:lnTo>
                    <a:pt x="1898" y="1306"/>
                  </a:lnTo>
                  <a:lnTo>
                    <a:pt x="1885" y="1307"/>
                  </a:lnTo>
                  <a:lnTo>
                    <a:pt x="1873" y="1310"/>
                  </a:lnTo>
                  <a:lnTo>
                    <a:pt x="1861" y="1312"/>
                  </a:lnTo>
                  <a:lnTo>
                    <a:pt x="1849" y="1316"/>
                  </a:lnTo>
                  <a:lnTo>
                    <a:pt x="1837" y="1320"/>
                  </a:lnTo>
                  <a:lnTo>
                    <a:pt x="1826" y="1326"/>
                  </a:lnTo>
                  <a:lnTo>
                    <a:pt x="1816" y="1332"/>
                  </a:lnTo>
                  <a:lnTo>
                    <a:pt x="1805" y="1340"/>
                  </a:lnTo>
                  <a:lnTo>
                    <a:pt x="1794" y="1350"/>
                  </a:lnTo>
                  <a:lnTo>
                    <a:pt x="1784" y="1359"/>
                  </a:lnTo>
                  <a:lnTo>
                    <a:pt x="1774" y="1371"/>
                  </a:lnTo>
                  <a:lnTo>
                    <a:pt x="1765" y="1384"/>
                  </a:lnTo>
                  <a:lnTo>
                    <a:pt x="1756" y="1397"/>
                  </a:lnTo>
                  <a:lnTo>
                    <a:pt x="1746" y="1413"/>
                  </a:lnTo>
                  <a:lnTo>
                    <a:pt x="1737" y="1432"/>
                  </a:lnTo>
                  <a:lnTo>
                    <a:pt x="1729" y="1451"/>
                  </a:lnTo>
                  <a:lnTo>
                    <a:pt x="1722" y="1459"/>
                  </a:lnTo>
                  <a:lnTo>
                    <a:pt x="1714" y="1465"/>
                  </a:lnTo>
                  <a:lnTo>
                    <a:pt x="1708" y="1471"/>
                  </a:lnTo>
                  <a:lnTo>
                    <a:pt x="1701" y="1475"/>
                  </a:lnTo>
                  <a:lnTo>
                    <a:pt x="1693" y="1479"/>
                  </a:lnTo>
                  <a:lnTo>
                    <a:pt x="1686" y="1483"/>
                  </a:lnTo>
                  <a:lnTo>
                    <a:pt x="1680" y="1484"/>
                  </a:lnTo>
                  <a:lnTo>
                    <a:pt x="1672" y="1485"/>
                  </a:lnTo>
                  <a:lnTo>
                    <a:pt x="1658" y="1487"/>
                  </a:lnTo>
                  <a:lnTo>
                    <a:pt x="1645" y="1485"/>
                  </a:lnTo>
                  <a:lnTo>
                    <a:pt x="1633" y="1483"/>
                  </a:lnTo>
                  <a:lnTo>
                    <a:pt x="1622" y="1476"/>
                  </a:lnTo>
                  <a:lnTo>
                    <a:pt x="1613" y="1469"/>
                  </a:lnTo>
                  <a:lnTo>
                    <a:pt x="1606" y="1461"/>
                  </a:lnTo>
                  <a:lnTo>
                    <a:pt x="1601" y="1452"/>
                  </a:lnTo>
                  <a:lnTo>
                    <a:pt x="1600" y="1443"/>
                  </a:lnTo>
                  <a:lnTo>
                    <a:pt x="1598" y="1437"/>
                  </a:lnTo>
                  <a:lnTo>
                    <a:pt x="1600" y="1432"/>
                  </a:lnTo>
                  <a:lnTo>
                    <a:pt x="1601" y="1427"/>
                  </a:lnTo>
                  <a:lnTo>
                    <a:pt x="1602" y="1423"/>
                  </a:lnTo>
                  <a:lnTo>
                    <a:pt x="1606" y="1417"/>
                  </a:lnTo>
                  <a:lnTo>
                    <a:pt x="1610" y="1412"/>
                  </a:lnTo>
                  <a:lnTo>
                    <a:pt x="1614" y="1408"/>
                  </a:lnTo>
                  <a:lnTo>
                    <a:pt x="1620" y="1403"/>
                  </a:lnTo>
                  <a:lnTo>
                    <a:pt x="1673" y="1366"/>
                  </a:lnTo>
                  <a:lnTo>
                    <a:pt x="1721" y="1331"/>
                  </a:lnTo>
                  <a:lnTo>
                    <a:pt x="1732" y="1322"/>
                  </a:lnTo>
                  <a:lnTo>
                    <a:pt x="1741" y="1311"/>
                  </a:lnTo>
                  <a:lnTo>
                    <a:pt x="1748" y="1299"/>
                  </a:lnTo>
                  <a:lnTo>
                    <a:pt x="1754" y="1286"/>
                  </a:lnTo>
                  <a:lnTo>
                    <a:pt x="1758" y="1270"/>
                  </a:lnTo>
                  <a:lnTo>
                    <a:pt x="1761" y="1252"/>
                  </a:lnTo>
                  <a:lnTo>
                    <a:pt x="1761" y="1232"/>
                  </a:lnTo>
                  <a:lnTo>
                    <a:pt x="1758" y="1211"/>
                  </a:lnTo>
                  <a:lnTo>
                    <a:pt x="1754" y="1183"/>
                  </a:lnTo>
                  <a:lnTo>
                    <a:pt x="1750" y="1158"/>
                  </a:lnTo>
                  <a:lnTo>
                    <a:pt x="1744" y="1134"/>
                  </a:lnTo>
                  <a:lnTo>
                    <a:pt x="1737" y="1114"/>
                  </a:lnTo>
                  <a:lnTo>
                    <a:pt x="1729" y="1095"/>
                  </a:lnTo>
                  <a:lnTo>
                    <a:pt x="1721" y="1079"/>
                  </a:lnTo>
                  <a:lnTo>
                    <a:pt x="1712" y="1066"/>
                  </a:lnTo>
                  <a:lnTo>
                    <a:pt x="1702" y="1052"/>
                  </a:lnTo>
                  <a:lnTo>
                    <a:pt x="1692" y="1042"/>
                  </a:lnTo>
                  <a:lnTo>
                    <a:pt x="1681" y="1032"/>
                  </a:lnTo>
                  <a:lnTo>
                    <a:pt x="1669" y="1026"/>
                  </a:lnTo>
                  <a:lnTo>
                    <a:pt x="1658" y="1019"/>
                  </a:lnTo>
                  <a:lnTo>
                    <a:pt x="1646" y="1014"/>
                  </a:lnTo>
                  <a:lnTo>
                    <a:pt x="1633" y="1008"/>
                  </a:lnTo>
                  <a:lnTo>
                    <a:pt x="1621" y="1006"/>
                  </a:lnTo>
                  <a:lnTo>
                    <a:pt x="1608" y="1003"/>
                  </a:lnTo>
                  <a:lnTo>
                    <a:pt x="1557" y="995"/>
                  </a:lnTo>
                  <a:lnTo>
                    <a:pt x="1510" y="988"/>
                  </a:lnTo>
                  <a:lnTo>
                    <a:pt x="1498" y="986"/>
                  </a:lnTo>
                  <a:lnTo>
                    <a:pt x="1488" y="982"/>
                  </a:lnTo>
                  <a:lnTo>
                    <a:pt x="1478" y="978"/>
                  </a:lnTo>
                  <a:lnTo>
                    <a:pt x="1469" y="972"/>
                  </a:lnTo>
                  <a:lnTo>
                    <a:pt x="1461" y="967"/>
                  </a:lnTo>
                  <a:lnTo>
                    <a:pt x="1453" y="959"/>
                  </a:lnTo>
                  <a:lnTo>
                    <a:pt x="1446" y="950"/>
                  </a:lnTo>
                  <a:lnTo>
                    <a:pt x="1440" y="939"/>
                  </a:lnTo>
                  <a:lnTo>
                    <a:pt x="1440" y="927"/>
                  </a:lnTo>
                  <a:lnTo>
                    <a:pt x="1441" y="916"/>
                  </a:lnTo>
                  <a:lnTo>
                    <a:pt x="1444" y="907"/>
                  </a:lnTo>
                  <a:lnTo>
                    <a:pt x="1448" y="899"/>
                  </a:lnTo>
                  <a:lnTo>
                    <a:pt x="1454" y="892"/>
                  </a:lnTo>
                  <a:lnTo>
                    <a:pt x="1461" y="888"/>
                  </a:lnTo>
                  <a:lnTo>
                    <a:pt x="1469" y="884"/>
                  </a:lnTo>
                  <a:lnTo>
                    <a:pt x="1478" y="882"/>
                  </a:lnTo>
                  <a:lnTo>
                    <a:pt x="1498" y="878"/>
                  </a:lnTo>
                  <a:lnTo>
                    <a:pt x="1521" y="878"/>
                  </a:lnTo>
                  <a:lnTo>
                    <a:pt x="1545" y="878"/>
                  </a:lnTo>
                  <a:lnTo>
                    <a:pt x="1569" y="878"/>
                  </a:lnTo>
                  <a:lnTo>
                    <a:pt x="1593" y="878"/>
                  </a:lnTo>
                  <a:lnTo>
                    <a:pt x="1616" y="875"/>
                  </a:lnTo>
                  <a:lnTo>
                    <a:pt x="1625" y="874"/>
                  </a:lnTo>
                  <a:lnTo>
                    <a:pt x="1636" y="870"/>
                  </a:lnTo>
                  <a:lnTo>
                    <a:pt x="1644" y="866"/>
                  </a:lnTo>
                  <a:lnTo>
                    <a:pt x="1652" y="860"/>
                  </a:lnTo>
                  <a:lnTo>
                    <a:pt x="1658" y="854"/>
                  </a:lnTo>
                  <a:lnTo>
                    <a:pt x="1664" y="846"/>
                  </a:lnTo>
                  <a:lnTo>
                    <a:pt x="1668" y="836"/>
                  </a:lnTo>
                  <a:lnTo>
                    <a:pt x="1670" y="824"/>
                  </a:lnTo>
                  <a:lnTo>
                    <a:pt x="1670" y="811"/>
                  </a:lnTo>
                  <a:lnTo>
                    <a:pt x="1670" y="797"/>
                  </a:lnTo>
                  <a:lnTo>
                    <a:pt x="1668" y="778"/>
                  </a:lnTo>
                  <a:lnTo>
                    <a:pt x="1662" y="759"/>
                  </a:lnTo>
                  <a:lnTo>
                    <a:pt x="1660" y="735"/>
                  </a:lnTo>
                  <a:lnTo>
                    <a:pt x="1660" y="717"/>
                  </a:lnTo>
                  <a:lnTo>
                    <a:pt x="1661" y="699"/>
                  </a:lnTo>
                  <a:lnTo>
                    <a:pt x="1664" y="686"/>
                  </a:lnTo>
                  <a:lnTo>
                    <a:pt x="1666" y="675"/>
                  </a:lnTo>
                  <a:lnTo>
                    <a:pt x="1672" y="667"/>
                  </a:lnTo>
                  <a:lnTo>
                    <a:pt x="1678" y="661"/>
                  </a:lnTo>
                  <a:lnTo>
                    <a:pt x="1685" y="655"/>
                  </a:lnTo>
                  <a:lnTo>
                    <a:pt x="1693" y="653"/>
                  </a:lnTo>
                  <a:lnTo>
                    <a:pt x="1701" y="651"/>
                  </a:lnTo>
                  <a:lnTo>
                    <a:pt x="1709" y="651"/>
                  </a:lnTo>
                  <a:lnTo>
                    <a:pt x="1718" y="651"/>
                  </a:lnTo>
                  <a:lnTo>
                    <a:pt x="1736" y="654"/>
                  </a:lnTo>
                  <a:lnTo>
                    <a:pt x="1753" y="657"/>
                  </a:lnTo>
                  <a:lnTo>
                    <a:pt x="1770" y="659"/>
                  </a:lnTo>
                  <a:lnTo>
                    <a:pt x="1786" y="661"/>
                  </a:lnTo>
                  <a:lnTo>
                    <a:pt x="1800" y="661"/>
                  </a:lnTo>
                  <a:lnTo>
                    <a:pt x="1813" y="661"/>
                  </a:lnTo>
                  <a:lnTo>
                    <a:pt x="1825" y="659"/>
                  </a:lnTo>
                  <a:lnTo>
                    <a:pt x="1834" y="657"/>
                  </a:lnTo>
                  <a:lnTo>
                    <a:pt x="1844" y="654"/>
                  </a:lnTo>
                  <a:lnTo>
                    <a:pt x="1852" y="651"/>
                  </a:lnTo>
                  <a:lnTo>
                    <a:pt x="1860" y="647"/>
                  </a:lnTo>
                  <a:lnTo>
                    <a:pt x="1866" y="643"/>
                  </a:lnTo>
                  <a:lnTo>
                    <a:pt x="1872" y="638"/>
                  </a:lnTo>
                  <a:lnTo>
                    <a:pt x="1876" y="633"/>
                  </a:lnTo>
                  <a:lnTo>
                    <a:pt x="1884" y="622"/>
                  </a:lnTo>
                  <a:lnTo>
                    <a:pt x="1889" y="609"/>
                  </a:lnTo>
                  <a:lnTo>
                    <a:pt x="1897" y="583"/>
                  </a:lnTo>
                  <a:lnTo>
                    <a:pt x="1905" y="559"/>
                  </a:lnTo>
                  <a:lnTo>
                    <a:pt x="1910" y="549"/>
                  </a:lnTo>
                  <a:lnTo>
                    <a:pt x="1917" y="541"/>
                  </a:lnTo>
                  <a:lnTo>
                    <a:pt x="1921" y="537"/>
                  </a:lnTo>
                  <a:lnTo>
                    <a:pt x="1926" y="534"/>
                  </a:lnTo>
                  <a:lnTo>
                    <a:pt x="1933" y="531"/>
                  </a:lnTo>
                  <a:lnTo>
                    <a:pt x="1939" y="530"/>
                  </a:lnTo>
                  <a:lnTo>
                    <a:pt x="1950" y="527"/>
                  </a:lnTo>
                  <a:lnTo>
                    <a:pt x="1961" y="525"/>
                  </a:lnTo>
                  <a:lnTo>
                    <a:pt x="1971" y="522"/>
                  </a:lnTo>
                  <a:lnTo>
                    <a:pt x="1981" y="517"/>
                  </a:lnTo>
                  <a:lnTo>
                    <a:pt x="1990" y="513"/>
                  </a:lnTo>
                  <a:lnTo>
                    <a:pt x="1999" y="507"/>
                  </a:lnTo>
                  <a:lnTo>
                    <a:pt x="2007" y="501"/>
                  </a:lnTo>
                  <a:lnTo>
                    <a:pt x="2015" y="494"/>
                  </a:lnTo>
                  <a:lnTo>
                    <a:pt x="2029" y="481"/>
                  </a:lnTo>
                  <a:lnTo>
                    <a:pt x="2042" y="465"/>
                  </a:lnTo>
                  <a:lnTo>
                    <a:pt x="2051" y="449"/>
                  </a:lnTo>
                  <a:lnTo>
                    <a:pt x="2061" y="433"/>
                  </a:lnTo>
                  <a:lnTo>
                    <a:pt x="2067" y="415"/>
                  </a:lnTo>
                  <a:lnTo>
                    <a:pt x="2071" y="398"/>
                  </a:lnTo>
                  <a:lnTo>
                    <a:pt x="2075" y="382"/>
                  </a:lnTo>
                  <a:lnTo>
                    <a:pt x="2075" y="367"/>
                  </a:lnTo>
                  <a:lnTo>
                    <a:pt x="2074" y="354"/>
                  </a:lnTo>
                  <a:lnTo>
                    <a:pt x="2071" y="342"/>
                  </a:lnTo>
                  <a:lnTo>
                    <a:pt x="2070" y="337"/>
                  </a:lnTo>
                  <a:lnTo>
                    <a:pt x="2066" y="333"/>
                  </a:lnTo>
                  <a:lnTo>
                    <a:pt x="2063" y="329"/>
                  </a:lnTo>
                  <a:lnTo>
                    <a:pt x="2059" y="325"/>
                  </a:lnTo>
                  <a:lnTo>
                    <a:pt x="2043" y="333"/>
                  </a:lnTo>
                  <a:lnTo>
                    <a:pt x="2029" y="339"/>
                  </a:lnTo>
                  <a:lnTo>
                    <a:pt x="2014" y="345"/>
                  </a:lnTo>
                  <a:lnTo>
                    <a:pt x="2002" y="347"/>
                  </a:lnTo>
                  <a:lnTo>
                    <a:pt x="1990" y="349"/>
                  </a:lnTo>
                  <a:lnTo>
                    <a:pt x="1979" y="350"/>
                  </a:lnTo>
                  <a:lnTo>
                    <a:pt x="1969" y="349"/>
                  </a:lnTo>
                  <a:lnTo>
                    <a:pt x="1961" y="346"/>
                  </a:lnTo>
                  <a:lnTo>
                    <a:pt x="1951" y="343"/>
                  </a:lnTo>
                  <a:lnTo>
                    <a:pt x="1943" y="341"/>
                  </a:lnTo>
                  <a:lnTo>
                    <a:pt x="1937" y="335"/>
                  </a:lnTo>
                  <a:lnTo>
                    <a:pt x="1930" y="331"/>
                  </a:lnTo>
                  <a:lnTo>
                    <a:pt x="1917" y="319"/>
                  </a:lnTo>
                  <a:lnTo>
                    <a:pt x="1905" y="307"/>
                  </a:lnTo>
                  <a:lnTo>
                    <a:pt x="1893" y="295"/>
                  </a:lnTo>
                  <a:lnTo>
                    <a:pt x="1881" y="283"/>
                  </a:lnTo>
                  <a:lnTo>
                    <a:pt x="1874" y="278"/>
                  </a:lnTo>
                  <a:lnTo>
                    <a:pt x="1868" y="274"/>
                  </a:lnTo>
                  <a:lnTo>
                    <a:pt x="1860" y="270"/>
                  </a:lnTo>
                  <a:lnTo>
                    <a:pt x="1852" y="267"/>
                  </a:lnTo>
                  <a:lnTo>
                    <a:pt x="1844" y="266"/>
                  </a:lnTo>
                  <a:lnTo>
                    <a:pt x="1834" y="265"/>
                  </a:lnTo>
                  <a:lnTo>
                    <a:pt x="1824" y="265"/>
                  </a:lnTo>
                  <a:lnTo>
                    <a:pt x="1813" y="267"/>
                  </a:lnTo>
                  <a:lnTo>
                    <a:pt x="1801" y="270"/>
                  </a:lnTo>
                  <a:lnTo>
                    <a:pt x="1788" y="274"/>
                  </a:lnTo>
                  <a:lnTo>
                    <a:pt x="1774" y="281"/>
                  </a:lnTo>
                  <a:lnTo>
                    <a:pt x="1758" y="289"/>
                  </a:lnTo>
                  <a:lnTo>
                    <a:pt x="1752" y="293"/>
                  </a:lnTo>
                  <a:lnTo>
                    <a:pt x="1745" y="295"/>
                  </a:lnTo>
                  <a:lnTo>
                    <a:pt x="1741" y="297"/>
                  </a:lnTo>
                  <a:lnTo>
                    <a:pt x="1740" y="295"/>
                  </a:lnTo>
                  <a:lnTo>
                    <a:pt x="1738" y="294"/>
                  </a:lnTo>
                  <a:lnTo>
                    <a:pt x="1738" y="291"/>
                  </a:lnTo>
                  <a:lnTo>
                    <a:pt x="1740" y="287"/>
                  </a:lnTo>
                  <a:lnTo>
                    <a:pt x="1741" y="282"/>
                  </a:lnTo>
                  <a:lnTo>
                    <a:pt x="1756" y="253"/>
                  </a:lnTo>
                  <a:lnTo>
                    <a:pt x="1773" y="210"/>
                  </a:lnTo>
                  <a:lnTo>
                    <a:pt x="1777" y="198"/>
                  </a:lnTo>
                  <a:lnTo>
                    <a:pt x="1780" y="186"/>
                  </a:lnTo>
                  <a:lnTo>
                    <a:pt x="1782" y="173"/>
                  </a:lnTo>
                  <a:lnTo>
                    <a:pt x="1784" y="160"/>
                  </a:lnTo>
                  <a:lnTo>
                    <a:pt x="1784" y="146"/>
                  </a:lnTo>
                  <a:lnTo>
                    <a:pt x="1782" y="133"/>
                  </a:lnTo>
                  <a:lnTo>
                    <a:pt x="1781" y="120"/>
                  </a:lnTo>
                  <a:lnTo>
                    <a:pt x="1777" y="105"/>
                  </a:lnTo>
                  <a:lnTo>
                    <a:pt x="1772" y="92"/>
                  </a:lnTo>
                  <a:lnTo>
                    <a:pt x="1764" y="78"/>
                  </a:lnTo>
                  <a:lnTo>
                    <a:pt x="1754" y="65"/>
                  </a:lnTo>
                  <a:lnTo>
                    <a:pt x="1744" y="50"/>
                  </a:lnTo>
                  <a:lnTo>
                    <a:pt x="1730" y="38"/>
                  </a:lnTo>
                  <a:lnTo>
                    <a:pt x="1714" y="25"/>
                  </a:lnTo>
                  <a:lnTo>
                    <a:pt x="1696" y="12"/>
                  </a:lnTo>
                  <a:lnTo>
                    <a:pt x="1674" y="0"/>
                  </a:lnTo>
                  <a:lnTo>
                    <a:pt x="1618" y="32"/>
                  </a:lnTo>
                  <a:lnTo>
                    <a:pt x="1565" y="61"/>
                  </a:lnTo>
                  <a:lnTo>
                    <a:pt x="1540" y="76"/>
                  </a:lnTo>
                  <a:lnTo>
                    <a:pt x="1514" y="90"/>
                  </a:lnTo>
                  <a:lnTo>
                    <a:pt x="1492" y="106"/>
                  </a:lnTo>
                  <a:lnTo>
                    <a:pt x="1470" y="124"/>
                  </a:lnTo>
                  <a:lnTo>
                    <a:pt x="1460" y="133"/>
                  </a:lnTo>
                  <a:lnTo>
                    <a:pt x="1449" y="142"/>
                  </a:lnTo>
                  <a:lnTo>
                    <a:pt x="1441" y="153"/>
                  </a:lnTo>
                  <a:lnTo>
                    <a:pt x="1432" y="164"/>
                  </a:lnTo>
                  <a:lnTo>
                    <a:pt x="1424" y="176"/>
                  </a:lnTo>
                  <a:lnTo>
                    <a:pt x="1416" y="188"/>
                  </a:lnTo>
                  <a:lnTo>
                    <a:pt x="1408" y="200"/>
                  </a:lnTo>
                  <a:lnTo>
                    <a:pt x="1402" y="214"/>
                  </a:lnTo>
                  <a:lnTo>
                    <a:pt x="1396" y="227"/>
                  </a:lnTo>
                  <a:lnTo>
                    <a:pt x="1390" y="243"/>
                  </a:lnTo>
                  <a:lnTo>
                    <a:pt x="1386" y="259"/>
                  </a:lnTo>
                  <a:lnTo>
                    <a:pt x="1382" y="277"/>
                  </a:lnTo>
                  <a:lnTo>
                    <a:pt x="1378" y="294"/>
                  </a:lnTo>
                  <a:lnTo>
                    <a:pt x="1376" y="314"/>
                  </a:lnTo>
                  <a:lnTo>
                    <a:pt x="1374" y="334"/>
                  </a:lnTo>
                  <a:lnTo>
                    <a:pt x="1373" y="355"/>
                  </a:lnTo>
                  <a:lnTo>
                    <a:pt x="1378" y="354"/>
                  </a:lnTo>
                  <a:lnTo>
                    <a:pt x="1390" y="351"/>
                  </a:lnTo>
                  <a:lnTo>
                    <a:pt x="1409" y="349"/>
                  </a:lnTo>
                  <a:lnTo>
                    <a:pt x="1433" y="346"/>
                  </a:lnTo>
                  <a:lnTo>
                    <a:pt x="1446" y="346"/>
                  </a:lnTo>
                  <a:lnTo>
                    <a:pt x="1461" y="346"/>
                  </a:lnTo>
                  <a:lnTo>
                    <a:pt x="1476" y="347"/>
                  </a:lnTo>
                  <a:lnTo>
                    <a:pt x="1490" y="350"/>
                  </a:lnTo>
                  <a:lnTo>
                    <a:pt x="1505" y="354"/>
                  </a:lnTo>
                  <a:lnTo>
                    <a:pt x="1520" y="359"/>
                  </a:lnTo>
                  <a:lnTo>
                    <a:pt x="1534" y="365"/>
                  </a:lnTo>
                  <a:lnTo>
                    <a:pt x="1548" y="374"/>
                  </a:lnTo>
                  <a:lnTo>
                    <a:pt x="1546" y="402"/>
                  </a:lnTo>
                  <a:lnTo>
                    <a:pt x="1544" y="425"/>
                  </a:lnTo>
                  <a:lnTo>
                    <a:pt x="1542" y="434"/>
                  </a:lnTo>
                  <a:lnTo>
                    <a:pt x="1541" y="443"/>
                  </a:lnTo>
                  <a:lnTo>
                    <a:pt x="1538" y="450"/>
                  </a:lnTo>
                  <a:lnTo>
                    <a:pt x="1534" y="457"/>
                  </a:lnTo>
                  <a:lnTo>
                    <a:pt x="1530" y="462"/>
                  </a:lnTo>
                  <a:lnTo>
                    <a:pt x="1525" y="466"/>
                  </a:lnTo>
                  <a:lnTo>
                    <a:pt x="1517" y="469"/>
                  </a:lnTo>
                  <a:lnTo>
                    <a:pt x="1509" y="471"/>
                  </a:lnTo>
                  <a:lnTo>
                    <a:pt x="1498" y="474"/>
                  </a:lnTo>
                  <a:lnTo>
                    <a:pt x="1488" y="475"/>
                  </a:lnTo>
                  <a:lnTo>
                    <a:pt x="1473" y="475"/>
                  </a:lnTo>
                  <a:lnTo>
                    <a:pt x="1457" y="475"/>
                  </a:lnTo>
                  <a:lnTo>
                    <a:pt x="1448" y="475"/>
                  </a:lnTo>
                  <a:lnTo>
                    <a:pt x="1437" y="473"/>
                  </a:lnTo>
                  <a:lnTo>
                    <a:pt x="1426" y="467"/>
                  </a:lnTo>
                  <a:lnTo>
                    <a:pt x="1416" y="463"/>
                  </a:lnTo>
                  <a:lnTo>
                    <a:pt x="1390" y="451"/>
                  </a:lnTo>
                  <a:lnTo>
                    <a:pt x="1362" y="439"/>
                  </a:lnTo>
                  <a:lnTo>
                    <a:pt x="1346" y="434"/>
                  </a:lnTo>
                  <a:lnTo>
                    <a:pt x="1329" y="430"/>
                  </a:lnTo>
                  <a:lnTo>
                    <a:pt x="1310" y="427"/>
                  </a:lnTo>
                  <a:lnTo>
                    <a:pt x="1290" y="427"/>
                  </a:lnTo>
                  <a:lnTo>
                    <a:pt x="1268" y="429"/>
                  </a:lnTo>
                  <a:lnTo>
                    <a:pt x="1242" y="434"/>
                  </a:lnTo>
                  <a:lnTo>
                    <a:pt x="1216" y="441"/>
                  </a:lnTo>
                  <a:lnTo>
                    <a:pt x="1186" y="451"/>
                  </a:lnTo>
                  <a:lnTo>
                    <a:pt x="1168" y="473"/>
                  </a:lnTo>
                  <a:lnTo>
                    <a:pt x="1148" y="491"/>
                  </a:lnTo>
                  <a:lnTo>
                    <a:pt x="1127" y="511"/>
                  </a:lnTo>
                  <a:lnTo>
                    <a:pt x="1107" y="529"/>
                  </a:lnTo>
                  <a:lnTo>
                    <a:pt x="1064" y="563"/>
                  </a:lnTo>
                  <a:lnTo>
                    <a:pt x="1020" y="597"/>
                  </a:lnTo>
                  <a:lnTo>
                    <a:pt x="932" y="658"/>
                  </a:lnTo>
                  <a:lnTo>
                    <a:pt x="841" y="717"/>
                  </a:lnTo>
                  <a:lnTo>
                    <a:pt x="796" y="746"/>
                  </a:lnTo>
                  <a:lnTo>
                    <a:pt x="752" y="777"/>
                  </a:lnTo>
                  <a:lnTo>
                    <a:pt x="709" y="809"/>
                  </a:lnTo>
                  <a:lnTo>
                    <a:pt x="668" y="842"/>
                  </a:lnTo>
                  <a:lnTo>
                    <a:pt x="647" y="859"/>
                  </a:lnTo>
                  <a:lnTo>
                    <a:pt x="627" y="876"/>
                  </a:lnTo>
                  <a:lnTo>
                    <a:pt x="608" y="895"/>
                  </a:lnTo>
                  <a:lnTo>
                    <a:pt x="589" y="914"/>
                  </a:lnTo>
                  <a:lnTo>
                    <a:pt x="571" y="934"/>
                  </a:lnTo>
                  <a:lnTo>
                    <a:pt x="552" y="955"/>
                  </a:lnTo>
                  <a:lnTo>
                    <a:pt x="535" y="976"/>
                  </a:lnTo>
                  <a:lnTo>
                    <a:pt x="519" y="999"/>
                  </a:lnTo>
                  <a:lnTo>
                    <a:pt x="500" y="1028"/>
                  </a:lnTo>
                  <a:lnTo>
                    <a:pt x="483" y="1062"/>
                  </a:lnTo>
                  <a:lnTo>
                    <a:pt x="465" y="1096"/>
                  </a:lnTo>
                  <a:lnTo>
                    <a:pt x="448" y="1134"/>
                  </a:lnTo>
                  <a:lnTo>
                    <a:pt x="431" y="1171"/>
                  </a:lnTo>
                  <a:lnTo>
                    <a:pt x="412" y="1208"/>
                  </a:lnTo>
                  <a:lnTo>
                    <a:pt x="393" y="1243"/>
                  </a:lnTo>
                  <a:lnTo>
                    <a:pt x="373" y="1276"/>
                  </a:lnTo>
                  <a:lnTo>
                    <a:pt x="343" y="1324"/>
                  </a:lnTo>
                  <a:lnTo>
                    <a:pt x="314" y="1368"/>
                  </a:lnTo>
                  <a:lnTo>
                    <a:pt x="287" y="1407"/>
                  </a:lnTo>
                  <a:lnTo>
                    <a:pt x="264" y="1440"/>
                  </a:lnTo>
                  <a:lnTo>
                    <a:pt x="255" y="1456"/>
                  </a:lnTo>
                  <a:lnTo>
                    <a:pt x="248" y="1469"/>
                  </a:lnTo>
                  <a:lnTo>
                    <a:pt x="242" y="1483"/>
                  </a:lnTo>
                  <a:lnTo>
                    <a:pt x="238" y="1493"/>
                  </a:lnTo>
                  <a:lnTo>
                    <a:pt x="235" y="1503"/>
                  </a:lnTo>
                  <a:lnTo>
                    <a:pt x="235" y="1511"/>
                  </a:lnTo>
                  <a:lnTo>
                    <a:pt x="236" y="1515"/>
                  </a:lnTo>
                  <a:lnTo>
                    <a:pt x="238" y="1519"/>
                  </a:lnTo>
                  <a:lnTo>
                    <a:pt x="239" y="1521"/>
                  </a:lnTo>
                  <a:lnTo>
                    <a:pt x="242" y="1523"/>
                  </a:lnTo>
                  <a:lnTo>
                    <a:pt x="259" y="1536"/>
                  </a:lnTo>
                  <a:lnTo>
                    <a:pt x="274" y="1545"/>
                  </a:lnTo>
                  <a:lnTo>
                    <a:pt x="287" y="1553"/>
                  </a:lnTo>
                  <a:lnTo>
                    <a:pt x="299" y="1560"/>
                  </a:lnTo>
                  <a:lnTo>
                    <a:pt x="310" y="1564"/>
                  </a:lnTo>
                  <a:lnTo>
                    <a:pt x="319" y="1567"/>
                  </a:lnTo>
                  <a:lnTo>
                    <a:pt x="328" y="1569"/>
                  </a:lnTo>
                  <a:lnTo>
                    <a:pt x="338" y="1569"/>
                  </a:lnTo>
                  <a:lnTo>
                    <a:pt x="355" y="1571"/>
                  </a:lnTo>
                  <a:lnTo>
                    <a:pt x="375" y="1569"/>
                  </a:lnTo>
                  <a:lnTo>
                    <a:pt x="397" y="1569"/>
                  </a:lnTo>
                  <a:lnTo>
                    <a:pt x="428" y="1572"/>
                  </a:lnTo>
                  <a:lnTo>
                    <a:pt x="435" y="1568"/>
                  </a:lnTo>
                  <a:lnTo>
                    <a:pt x="441" y="1565"/>
                  </a:lnTo>
                  <a:lnTo>
                    <a:pt x="448" y="1564"/>
                  </a:lnTo>
                  <a:lnTo>
                    <a:pt x="455" y="1563"/>
                  </a:lnTo>
                  <a:lnTo>
                    <a:pt x="460" y="1564"/>
                  </a:lnTo>
                  <a:lnTo>
                    <a:pt x="465" y="1564"/>
                  </a:lnTo>
                  <a:lnTo>
                    <a:pt x="471" y="1565"/>
                  </a:lnTo>
                  <a:lnTo>
                    <a:pt x="475" y="1568"/>
                  </a:lnTo>
                  <a:lnTo>
                    <a:pt x="484" y="1573"/>
                  </a:lnTo>
                  <a:lnTo>
                    <a:pt x="491" y="1581"/>
                  </a:lnTo>
                  <a:lnTo>
                    <a:pt x="497" y="1591"/>
                  </a:lnTo>
                  <a:lnTo>
                    <a:pt x="503" y="1601"/>
                  </a:lnTo>
                  <a:lnTo>
                    <a:pt x="511" y="1623"/>
                  </a:lnTo>
                  <a:lnTo>
                    <a:pt x="515" y="1641"/>
                  </a:lnTo>
                  <a:lnTo>
                    <a:pt x="517" y="1656"/>
                  </a:lnTo>
                  <a:lnTo>
                    <a:pt x="519" y="1661"/>
                  </a:lnTo>
                  <a:lnTo>
                    <a:pt x="512" y="1668"/>
                  </a:lnTo>
                  <a:lnTo>
                    <a:pt x="508" y="1675"/>
                  </a:lnTo>
                  <a:lnTo>
                    <a:pt x="505" y="1683"/>
                  </a:lnTo>
                  <a:lnTo>
                    <a:pt x="503" y="1689"/>
                  </a:lnTo>
                  <a:lnTo>
                    <a:pt x="499" y="1705"/>
                  </a:lnTo>
                  <a:lnTo>
                    <a:pt x="495" y="1719"/>
                  </a:lnTo>
                  <a:lnTo>
                    <a:pt x="491" y="1724"/>
                  </a:lnTo>
                  <a:lnTo>
                    <a:pt x="484" y="1728"/>
                  </a:lnTo>
                  <a:lnTo>
                    <a:pt x="477" y="1731"/>
                  </a:lnTo>
                  <a:lnTo>
                    <a:pt x="468" y="1732"/>
                  </a:lnTo>
                  <a:lnTo>
                    <a:pt x="455" y="1732"/>
                  </a:lnTo>
                  <a:lnTo>
                    <a:pt x="440" y="1729"/>
                  </a:lnTo>
                  <a:lnTo>
                    <a:pt x="420" y="1724"/>
                  </a:lnTo>
                  <a:lnTo>
                    <a:pt x="397" y="1716"/>
                  </a:lnTo>
                  <a:lnTo>
                    <a:pt x="388" y="1729"/>
                  </a:lnTo>
                  <a:lnTo>
                    <a:pt x="379" y="1741"/>
                  </a:lnTo>
                  <a:lnTo>
                    <a:pt x="370" y="1751"/>
                  </a:lnTo>
                  <a:lnTo>
                    <a:pt x="359" y="1757"/>
                  </a:lnTo>
                  <a:lnTo>
                    <a:pt x="348" y="1764"/>
                  </a:lnTo>
                  <a:lnTo>
                    <a:pt x="338" y="1768"/>
                  </a:lnTo>
                  <a:lnTo>
                    <a:pt x="326" y="1769"/>
                  </a:lnTo>
                  <a:lnTo>
                    <a:pt x="315" y="1771"/>
                  </a:lnTo>
                  <a:lnTo>
                    <a:pt x="303" y="1769"/>
                  </a:lnTo>
                  <a:lnTo>
                    <a:pt x="291" y="1768"/>
                  </a:lnTo>
                  <a:lnTo>
                    <a:pt x="279" y="1764"/>
                  </a:lnTo>
                  <a:lnTo>
                    <a:pt x="267" y="1760"/>
                  </a:lnTo>
                  <a:lnTo>
                    <a:pt x="242" y="1749"/>
                  </a:lnTo>
                  <a:lnTo>
                    <a:pt x="218" y="1735"/>
                  </a:lnTo>
                  <a:lnTo>
                    <a:pt x="208" y="1731"/>
                  </a:lnTo>
                  <a:lnTo>
                    <a:pt x="202" y="1729"/>
                  </a:lnTo>
                  <a:lnTo>
                    <a:pt x="199" y="1731"/>
                  </a:lnTo>
                  <a:lnTo>
                    <a:pt x="198" y="1732"/>
                  </a:lnTo>
                  <a:lnTo>
                    <a:pt x="196" y="1735"/>
                  </a:lnTo>
                  <a:lnTo>
                    <a:pt x="195" y="1739"/>
                  </a:lnTo>
                  <a:lnTo>
                    <a:pt x="194" y="1747"/>
                  </a:lnTo>
                  <a:lnTo>
                    <a:pt x="194" y="1756"/>
                  </a:lnTo>
                  <a:lnTo>
                    <a:pt x="195" y="1769"/>
                  </a:lnTo>
                  <a:lnTo>
                    <a:pt x="196" y="1783"/>
                  </a:lnTo>
                  <a:lnTo>
                    <a:pt x="200" y="1816"/>
                  </a:lnTo>
                  <a:lnTo>
                    <a:pt x="202" y="1852"/>
                  </a:lnTo>
                  <a:lnTo>
                    <a:pt x="202" y="1871"/>
                  </a:lnTo>
                  <a:lnTo>
                    <a:pt x="200" y="1889"/>
                  </a:lnTo>
                  <a:lnTo>
                    <a:pt x="198" y="1908"/>
                  </a:lnTo>
                  <a:lnTo>
                    <a:pt x="194" y="1927"/>
                  </a:lnTo>
                  <a:lnTo>
                    <a:pt x="190" y="1936"/>
                  </a:lnTo>
                  <a:lnTo>
                    <a:pt x="186" y="1945"/>
                  </a:lnTo>
                  <a:lnTo>
                    <a:pt x="182" y="1953"/>
                  </a:lnTo>
                  <a:lnTo>
                    <a:pt x="176" y="1963"/>
                  </a:lnTo>
                  <a:lnTo>
                    <a:pt x="164" y="1977"/>
                  </a:lnTo>
                  <a:lnTo>
                    <a:pt x="151" y="1992"/>
                  </a:lnTo>
                  <a:lnTo>
                    <a:pt x="119" y="2020"/>
                  </a:lnTo>
                  <a:lnTo>
                    <a:pt x="86" y="2046"/>
                  </a:lnTo>
                  <a:lnTo>
                    <a:pt x="70" y="2061"/>
                  </a:lnTo>
                  <a:lnTo>
                    <a:pt x="54" y="2076"/>
                  </a:lnTo>
                  <a:lnTo>
                    <a:pt x="39" y="2092"/>
                  </a:lnTo>
                  <a:lnTo>
                    <a:pt x="27" y="2109"/>
                  </a:lnTo>
                  <a:lnTo>
                    <a:pt x="20" y="2118"/>
                  </a:lnTo>
                  <a:lnTo>
                    <a:pt x="16" y="2128"/>
                  </a:lnTo>
                  <a:lnTo>
                    <a:pt x="11" y="2138"/>
                  </a:lnTo>
                  <a:lnTo>
                    <a:pt x="7" y="2149"/>
                  </a:lnTo>
                  <a:lnTo>
                    <a:pt x="4" y="2160"/>
                  </a:lnTo>
                  <a:lnTo>
                    <a:pt x="2" y="2172"/>
                  </a:lnTo>
                  <a:lnTo>
                    <a:pt x="0" y="2185"/>
                  </a:lnTo>
                  <a:lnTo>
                    <a:pt x="0" y="2198"/>
                  </a:lnTo>
                  <a:lnTo>
                    <a:pt x="0" y="2204"/>
                  </a:lnTo>
                  <a:lnTo>
                    <a:pt x="2" y="2210"/>
                  </a:lnTo>
                  <a:lnTo>
                    <a:pt x="3" y="2218"/>
                  </a:lnTo>
                  <a:lnTo>
                    <a:pt x="7" y="2228"/>
                  </a:lnTo>
                  <a:lnTo>
                    <a:pt x="16" y="2226"/>
                  </a:lnTo>
                  <a:lnTo>
                    <a:pt x="26" y="2226"/>
                  </a:lnTo>
                  <a:lnTo>
                    <a:pt x="32" y="2228"/>
                  </a:lnTo>
                  <a:lnTo>
                    <a:pt x="38" y="2229"/>
                  </a:lnTo>
                  <a:lnTo>
                    <a:pt x="46" y="2232"/>
                  </a:lnTo>
                  <a:lnTo>
                    <a:pt x="55" y="2234"/>
                  </a:lnTo>
                  <a:lnTo>
                    <a:pt x="68" y="2234"/>
                  </a:lnTo>
                  <a:lnTo>
                    <a:pt x="83" y="2237"/>
                  </a:lnTo>
                  <a:lnTo>
                    <a:pt x="99" y="2241"/>
                  </a:lnTo>
                  <a:lnTo>
                    <a:pt x="115" y="2248"/>
                  </a:lnTo>
                  <a:lnTo>
                    <a:pt x="132" y="2254"/>
                  </a:lnTo>
                  <a:lnTo>
                    <a:pt x="151" y="2262"/>
                  </a:lnTo>
                  <a:lnTo>
                    <a:pt x="168" y="2272"/>
                  </a:lnTo>
                  <a:lnTo>
                    <a:pt x="184" y="2282"/>
                  </a:lnTo>
                  <a:lnTo>
                    <a:pt x="202" y="2293"/>
                  </a:lnTo>
                  <a:lnTo>
                    <a:pt x="216" y="2305"/>
                  </a:lnTo>
                  <a:lnTo>
                    <a:pt x="230" y="2317"/>
                  </a:lnTo>
                  <a:lnTo>
                    <a:pt x="242" y="2330"/>
                  </a:lnTo>
                  <a:lnTo>
                    <a:pt x="252" y="2344"/>
                  </a:lnTo>
                  <a:lnTo>
                    <a:pt x="259" y="2357"/>
                  </a:lnTo>
                  <a:lnTo>
                    <a:pt x="262" y="2364"/>
                  </a:lnTo>
                  <a:lnTo>
                    <a:pt x="264" y="2370"/>
                  </a:lnTo>
                  <a:lnTo>
                    <a:pt x="266" y="2377"/>
                  </a:lnTo>
                  <a:lnTo>
                    <a:pt x="266" y="2385"/>
                  </a:lnTo>
                  <a:lnTo>
                    <a:pt x="266" y="2396"/>
                  </a:lnTo>
                  <a:lnTo>
                    <a:pt x="264" y="2405"/>
                  </a:lnTo>
                  <a:lnTo>
                    <a:pt x="262" y="2413"/>
                  </a:lnTo>
                  <a:lnTo>
                    <a:pt x="260" y="2420"/>
                  </a:lnTo>
                  <a:lnTo>
                    <a:pt x="254" y="2432"/>
                  </a:lnTo>
                  <a:lnTo>
                    <a:pt x="247" y="2441"/>
                  </a:lnTo>
                  <a:lnTo>
                    <a:pt x="239" y="2449"/>
                  </a:lnTo>
                  <a:lnTo>
                    <a:pt x="232" y="2457"/>
                  </a:lnTo>
                  <a:lnTo>
                    <a:pt x="227" y="2465"/>
                  </a:lnTo>
                  <a:lnTo>
                    <a:pt x="223" y="2474"/>
                  </a:lnTo>
                  <a:lnTo>
                    <a:pt x="220" y="2484"/>
                  </a:lnTo>
                  <a:lnTo>
                    <a:pt x="219" y="2492"/>
                  </a:lnTo>
                  <a:lnTo>
                    <a:pt x="219" y="2500"/>
                  </a:lnTo>
                  <a:lnTo>
                    <a:pt x="222" y="2508"/>
                  </a:lnTo>
                  <a:lnTo>
                    <a:pt x="223" y="2516"/>
                  </a:lnTo>
                  <a:lnTo>
                    <a:pt x="224" y="2524"/>
                  </a:lnTo>
                  <a:lnTo>
                    <a:pt x="224" y="2532"/>
                  </a:lnTo>
                  <a:lnTo>
                    <a:pt x="223" y="2541"/>
                  </a:lnTo>
                  <a:lnTo>
                    <a:pt x="218" y="2554"/>
                  </a:lnTo>
                  <a:lnTo>
                    <a:pt x="212" y="2566"/>
                  </a:lnTo>
                  <a:lnTo>
                    <a:pt x="206" y="2578"/>
                  </a:lnTo>
                  <a:lnTo>
                    <a:pt x="198" y="2590"/>
                  </a:lnTo>
                  <a:lnTo>
                    <a:pt x="182" y="2611"/>
                  </a:lnTo>
                  <a:lnTo>
                    <a:pt x="166" y="2633"/>
                  </a:lnTo>
                  <a:lnTo>
                    <a:pt x="159" y="2643"/>
                  </a:lnTo>
                  <a:lnTo>
                    <a:pt x="151" y="2654"/>
                  </a:lnTo>
                  <a:lnTo>
                    <a:pt x="144" y="2666"/>
                  </a:lnTo>
                  <a:lnTo>
                    <a:pt x="139" y="2678"/>
                  </a:lnTo>
                  <a:lnTo>
                    <a:pt x="134" y="2690"/>
                  </a:lnTo>
                  <a:lnTo>
                    <a:pt x="130" y="2703"/>
                  </a:lnTo>
                  <a:lnTo>
                    <a:pt x="128" y="2718"/>
                  </a:lnTo>
                  <a:lnTo>
                    <a:pt x="127" y="2734"/>
                  </a:lnTo>
                  <a:lnTo>
                    <a:pt x="127" y="2742"/>
                  </a:lnTo>
                  <a:lnTo>
                    <a:pt x="128" y="2750"/>
                  </a:lnTo>
                  <a:lnTo>
                    <a:pt x="130" y="2757"/>
                  </a:lnTo>
                  <a:lnTo>
                    <a:pt x="131" y="2762"/>
                  </a:lnTo>
                  <a:lnTo>
                    <a:pt x="134" y="2767"/>
                  </a:lnTo>
                  <a:lnTo>
                    <a:pt x="136" y="2771"/>
                  </a:lnTo>
                  <a:lnTo>
                    <a:pt x="140" y="2775"/>
                  </a:lnTo>
                  <a:lnTo>
                    <a:pt x="144" y="2778"/>
                  </a:lnTo>
                  <a:lnTo>
                    <a:pt x="154" y="2782"/>
                  </a:lnTo>
                  <a:lnTo>
                    <a:pt x="166" y="2783"/>
                  </a:lnTo>
                  <a:lnTo>
                    <a:pt x="178" y="2783"/>
                  </a:lnTo>
                  <a:lnTo>
                    <a:pt x="194" y="2782"/>
                  </a:lnTo>
                  <a:lnTo>
                    <a:pt x="196" y="2790"/>
                  </a:lnTo>
                  <a:lnTo>
                    <a:pt x="199" y="2799"/>
                  </a:lnTo>
                  <a:lnTo>
                    <a:pt x="200" y="2806"/>
                  </a:lnTo>
                  <a:lnTo>
                    <a:pt x="200" y="2814"/>
                  </a:lnTo>
                  <a:lnTo>
                    <a:pt x="200" y="2829"/>
                  </a:lnTo>
                  <a:lnTo>
                    <a:pt x="199" y="2842"/>
                  </a:lnTo>
                  <a:lnTo>
                    <a:pt x="200" y="2846"/>
                  </a:lnTo>
                  <a:lnTo>
                    <a:pt x="202" y="2849"/>
                  </a:lnTo>
                  <a:lnTo>
                    <a:pt x="203" y="2853"/>
                  </a:lnTo>
                  <a:lnTo>
                    <a:pt x="207" y="2857"/>
                  </a:lnTo>
                  <a:lnTo>
                    <a:pt x="215" y="2865"/>
                  </a:lnTo>
                  <a:lnTo>
                    <a:pt x="227" y="2873"/>
                  </a:lnTo>
                  <a:lnTo>
                    <a:pt x="240" y="2879"/>
                  </a:lnTo>
                  <a:lnTo>
                    <a:pt x="255" y="2885"/>
                  </a:lnTo>
                  <a:lnTo>
                    <a:pt x="272" y="2889"/>
                  </a:lnTo>
                  <a:lnTo>
                    <a:pt x="290" y="2890"/>
                  </a:lnTo>
                  <a:lnTo>
                    <a:pt x="300" y="2890"/>
                  </a:lnTo>
                  <a:lnTo>
                    <a:pt x="311" y="2887"/>
                  </a:lnTo>
                  <a:lnTo>
                    <a:pt x="322" y="2885"/>
                  </a:lnTo>
                  <a:lnTo>
                    <a:pt x="332" y="2881"/>
                  </a:lnTo>
                  <a:lnTo>
                    <a:pt x="342" y="2878"/>
                  </a:lnTo>
                  <a:lnTo>
                    <a:pt x="352" y="2875"/>
                  </a:lnTo>
                  <a:lnTo>
                    <a:pt x="363" y="2873"/>
                  </a:lnTo>
                  <a:lnTo>
                    <a:pt x="373" y="2873"/>
                  </a:lnTo>
                  <a:lnTo>
                    <a:pt x="389" y="2873"/>
                  </a:lnTo>
                  <a:lnTo>
                    <a:pt x="403" y="2877"/>
                  </a:lnTo>
                  <a:lnTo>
                    <a:pt x="412" y="2881"/>
                  </a:lnTo>
                  <a:lnTo>
                    <a:pt x="421" y="2887"/>
                  </a:lnTo>
                  <a:lnTo>
                    <a:pt x="428" y="2895"/>
                  </a:lnTo>
                  <a:lnTo>
                    <a:pt x="433" y="2903"/>
                  </a:lnTo>
                  <a:lnTo>
                    <a:pt x="437" y="2913"/>
                  </a:lnTo>
                  <a:lnTo>
                    <a:pt x="441" y="2922"/>
                  </a:lnTo>
                  <a:lnTo>
                    <a:pt x="448" y="2941"/>
                  </a:lnTo>
                  <a:lnTo>
                    <a:pt x="455" y="2958"/>
                  </a:lnTo>
                  <a:lnTo>
                    <a:pt x="460" y="2966"/>
                  </a:lnTo>
                  <a:lnTo>
                    <a:pt x="465" y="2973"/>
                  </a:lnTo>
                  <a:lnTo>
                    <a:pt x="473" y="2977"/>
                  </a:lnTo>
                  <a:lnTo>
                    <a:pt x="483" y="2981"/>
                  </a:lnTo>
                  <a:lnTo>
                    <a:pt x="495" y="2981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accent1">
                  <a:lumMod val="20000"/>
                  <a:lumOff val="8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95" b="0" i="0" u="none" strike="noStrike" kern="1200" cap="none" spc="0" normalizeH="0" baseline="0" noProof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2" name="Freeform 91"/>
            <p:cNvSpPr>
              <a:spLocks/>
            </p:cNvSpPr>
            <p:nvPr/>
          </p:nvSpPr>
          <p:spPr bwMode="auto">
            <a:xfrm>
              <a:off x="5770099" y="2048855"/>
              <a:ext cx="170965" cy="249491"/>
            </a:xfrm>
            <a:custGeom>
              <a:avLst/>
              <a:gdLst>
                <a:gd name="T0" fmla="*/ 1634 w 2375"/>
                <a:gd name="T1" fmla="*/ 3110 h 3468"/>
                <a:gd name="T2" fmla="*/ 2372 w 2375"/>
                <a:gd name="T3" fmla="*/ 3406 h 3468"/>
                <a:gd name="T4" fmla="*/ 2278 w 2375"/>
                <a:gd name="T5" fmla="*/ 3050 h 3468"/>
                <a:gd name="T6" fmla="*/ 2149 w 2375"/>
                <a:gd name="T7" fmla="*/ 2965 h 3468"/>
                <a:gd name="T8" fmla="*/ 2131 w 2375"/>
                <a:gd name="T9" fmla="*/ 2827 h 3468"/>
                <a:gd name="T10" fmla="*/ 2222 w 2375"/>
                <a:gd name="T11" fmla="*/ 2741 h 3468"/>
                <a:gd name="T12" fmla="*/ 2091 w 2375"/>
                <a:gd name="T13" fmla="*/ 2675 h 3468"/>
                <a:gd name="T14" fmla="*/ 1978 w 2375"/>
                <a:gd name="T15" fmla="*/ 2481 h 3468"/>
                <a:gd name="T16" fmla="*/ 2045 w 2375"/>
                <a:gd name="T17" fmla="*/ 2344 h 3468"/>
                <a:gd name="T18" fmla="*/ 2001 w 2375"/>
                <a:gd name="T19" fmla="*/ 2238 h 3468"/>
                <a:gd name="T20" fmla="*/ 1746 w 2375"/>
                <a:gd name="T21" fmla="*/ 2026 h 3468"/>
                <a:gd name="T22" fmla="*/ 1775 w 2375"/>
                <a:gd name="T23" fmla="*/ 1995 h 3468"/>
                <a:gd name="T24" fmla="*/ 1841 w 2375"/>
                <a:gd name="T25" fmla="*/ 1958 h 3468"/>
                <a:gd name="T26" fmla="*/ 1658 w 2375"/>
                <a:gd name="T27" fmla="*/ 1880 h 3468"/>
                <a:gd name="T28" fmla="*/ 1538 w 2375"/>
                <a:gd name="T29" fmla="*/ 1824 h 3468"/>
                <a:gd name="T30" fmla="*/ 1497 w 2375"/>
                <a:gd name="T31" fmla="*/ 1717 h 3468"/>
                <a:gd name="T32" fmla="*/ 1418 w 2375"/>
                <a:gd name="T33" fmla="*/ 1758 h 3468"/>
                <a:gd name="T34" fmla="*/ 1429 w 2375"/>
                <a:gd name="T35" fmla="*/ 1862 h 3468"/>
                <a:gd name="T36" fmla="*/ 1326 w 2375"/>
                <a:gd name="T37" fmla="*/ 1803 h 3468"/>
                <a:gd name="T38" fmla="*/ 1058 w 2375"/>
                <a:gd name="T39" fmla="*/ 1407 h 3468"/>
                <a:gd name="T40" fmla="*/ 1088 w 2375"/>
                <a:gd name="T41" fmla="*/ 1309 h 3468"/>
                <a:gd name="T42" fmla="*/ 1133 w 2375"/>
                <a:gd name="T43" fmla="*/ 1239 h 3468"/>
                <a:gd name="T44" fmla="*/ 1114 w 2375"/>
                <a:gd name="T45" fmla="*/ 1054 h 3468"/>
                <a:gd name="T46" fmla="*/ 1220 w 2375"/>
                <a:gd name="T47" fmla="*/ 1150 h 3468"/>
                <a:gd name="T48" fmla="*/ 1218 w 2375"/>
                <a:gd name="T49" fmla="*/ 1081 h 3468"/>
                <a:gd name="T50" fmla="*/ 1146 w 2375"/>
                <a:gd name="T51" fmla="*/ 886 h 3468"/>
                <a:gd name="T52" fmla="*/ 1250 w 2375"/>
                <a:gd name="T53" fmla="*/ 714 h 3468"/>
                <a:gd name="T54" fmla="*/ 1414 w 2375"/>
                <a:gd name="T55" fmla="*/ 686 h 3468"/>
                <a:gd name="T56" fmla="*/ 1282 w 2375"/>
                <a:gd name="T57" fmla="*/ 400 h 3468"/>
                <a:gd name="T58" fmla="*/ 1114 w 2375"/>
                <a:gd name="T59" fmla="*/ 15 h 3468"/>
                <a:gd name="T60" fmla="*/ 1016 w 2375"/>
                <a:gd name="T61" fmla="*/ 12 h 3468"/>
                <a:gd name="T62" fmla="*/ 948 w 2375"/>
                <a:gd name="T63" fmla="*/ 249 h 3468"/>
                <a:gd name="T64" fmla="*/ 933 w 2375"/>
                <a:gd name="T65" fmla="*/ 396 h 3468"/>
                <a:gd name="T66" fmla="*/ 760 w 2375"/>
                <a:gd name="T67" fmla="*/ 447 h 3468"/>
                <a:gd name="T68" fmla="*/ 635 w 2375"/>
                <a:gd name="T69" fmla="*/ 511 h 3468"/>
                <a:gd name="T70" fmla="*/ 579 w 2375"/>
                <a:gd name="T71" fmla="*/ 424 h 3468"/>
                <a:gd name="T72" fmla="*/ 513 w 2375"/>
                <a:gd name="T73" fmla="*/ 341 h 3468"/>
                <a:gd name="T74" fmla="*/ 347 w 2375"/>
                <a:gd name="T75" fmla="*/ 431 h 3468"/>
                <a:gd name="T76" fmla="*/ 203 w 2375"/>
                <a:gd name="T77" fmla="*/ 564 h 3468"/>
                <a:gd name="T78" fmla="*/ 89 w 2375"/>
                <a:gd name="T79" fmla="*/ 704 h 3468"/>
                <a:gd name="T80" fmla="*/ 20 w 2375"/>
                <a:gd name="T81" fmla="*/ 748 h 3468"/>
                <a:gd name="T82" fmla="*/ 0 w 2375"/>
                <a:gd name="T83" fmla="*/ 856 h 3468"/>
                <a:gd name="T84" fmla="*/ 105 w 2375"/>
                <a:gd name="T85" fmla="*/ 882 h 3468"/>
                <a:gd name="T86" fmla="*/ 127 w 2375"/>
                <a:gd name="T87" fmla="*/ 985 h 3468"/>
                <a:gd name="T88" fmla="*/ 313 w 2375"/>
                <a:gd name="T89" fmla="*/ 1136 h 3468"/>
                <a:gd name="T90" fmla="*/ 469 w 2375"/>
                <a:gd name="T91" fmla="*/ 1198 h 3468"/>
                <a:gd name="T92" fmla="*/ 524 w 2375"/>
                <a:gd name="T93" fmla="*/ 1285 h 3468"/>
                <a:gd name="T94" fmla="*/ 572 w 2375"/>
                <a:gd name="T95" fmla="*/ 1299 h 3468"/>
                <a:gd name="T96" fmla="*/ 629 w 2375"/>
                <a:gd name="T97" fmla="*/ 1234 h 3468"/>
                <a:gd name="T98" fmla="*/ 473 w 2375"/>
                <a:gd name="T99" fmla="*/ 1070 h 3468"/>
                <a:gd name="T100" fmla="*/ 569 w 2375"/>
                <a:gd name="T101" fmla="*/ 913 h 3468"/>
                <a:gd name="T102" fmla="*/ 580 w 2375"/>
                <a:gd name="T103" fmla="*/ 1009 h 3468"/>
                <a:gd name="T104" fmla="*/ 653 w 2375"/>
                <a:gd name="T105" fmla="*/ 1156 h 3468"/>
                <a:gd name="T106" fmla="*/ 829 w 2375"/>
                <a:gd name="T107" fmla="*/ 1310 h 3468"/>
                <a:gd name="T108" fmla="*/ 893 w 2375"/>
                <a:gd name="T109" fmla="*/ 1710 h 3468"/>
                <a:gd name="T110" fmla="*/ 1052 w 2375"/>
                <a:gd name="T111" fmla="*/ 2156 h 3468"/>
                <a:gd name="T112" fmla="*/ 1046 w 2375"/>
                <a:gd name="T113" fmla="*/ 2374 h 3468"/>
                <a:gd name="T114" fmla="*/ 1084 w 2375"/>
                <a:gd name="T115" fmla="*/ 2479 h 3468"/>
                <a:gd name="T116" fmla="*/ 1166 w 2375"/>
                <a:gd name="T117" fmla="*/ 2631 h 3468"/>
                <a:gd name="T118" fmla="*/ 1262 w 2375"/>
                <a:gd name="T119" fmla="*/ 2811 h 346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2375"/>
                <a:gd name="T181" fmla="*/ 0 h 3468"/>
                <a:gd name="T182" fmla="*/ 2375 w 2375"/>
                <a:gd name="T183" fmla="*/ 3468 h 346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2375" h="3468">
                  <a:moveTo>
                    <a:pt x="1316" y="2865"/>
                  </a:moveTo>
                  <a:lnTo>
                    <a:pt x="1324" y="2875"/>
                  </a:lnTo>
                  <a:lnTo>
                    <a:pt x="1348" y="2897"/>
                  </a:lnTo>
                  <a:lnTo>
                    <a:pt x="1385" y="2932"/>
                  </a:lnTo>
                  <a:lnTo>
                    <a:pt x="1433" y="2973"/>
                  </a:lnTo>
                  <a:lnTo>
                    <a:pt x="1462" y="2996"/>
                  </a:lnTo>
                  <a:lnTo>
                    <a:pt x="1493" y="3020"/>
                  </a:lnTo>
                  <a:lnTo>
                    <a:pt x="1525" y="3042"/>
                  </a:lnTo>
                  <a:lnTo>
                    <a:pt x="1560" y="3066"/>
                  </a:lnTo>
                  <a:lnTo>
                    <a:pt x="1597" y="3089"/>
                  </a:lnTo>
                  <a:lnTo>
                    <a:pt x="1634" y="3110"/>
                  </a:lnTo>
                  <a:lnTo>
                    <a:pt x="1673" y="3130"/>
                  </a:lnTo>
                  <a:lnTo>
                    <a:pt x="1713" y="3149"/>
                  </a:lnTo>
                  <a:lnTo>
                    <a:pt x="1783" y="3180"/>
                  </a:lnTo>
                  <a:lnTo>
                    <a:pt x="1862" y="3217"/>
                  </a:lnTo>
                  <a:lnTo>
                    <a:pt x="1950" y="3260"/>
                  </a:lnTo>
                  <a:lnTo>
                    <a:pt x="2041" y="3304"/>
                  </a:lnTo>
                  <a:lnTo>
                    <a:pt x="2131" y="3349"/>
                  </a:lnTo>
                  <a:lnTo>
                    <a:pt x="2219" y="3393"/>
                  </a:lnTo>
                  <a:lnTo>
                    <a:pt x="2302" y="3433"/>
                  </a:lnTo>
                  <a:lnTo>
                    <a:pt x="2375" y="3468"/>
                  </a:lnTo>
                  <a:lnTo>
                    <a:pt x="2372" y="3406"/>
                  </a:lnTo>
                  <a:lnTo>
                    <a:pt x="2367" y="3350"/>
                  </a:lnTo>
                  <a:lnTo>
                    <a:pt x="2359" y="3297"/>
                  </a:lnTo>
                  <a:lnTo>
                    <a:pt x="2350" y="3248"/>
                  </a:lnTo>
                  <a:lnTo>
                    <a:pt x="2343" y="3225"/>
                  </a:lnTo>
                  <a:lnTo>
                    <a:pt x="2338" y="3202"/>
                  </a:lnTo>
                  <a:lnTo>
                    <a:pt x="2331" y="3181"/>
                  </a:lnTo>
                  <a:lnTo>
                    <a:pt x="2325" y="3160"/>
                  </a:lnTo>
                  <a:lnTo>
                    <a:pt x="2309" y="3120"/>
                  </a:lnTo>
                  <a:lnTo>
                    <a:pt x="2291" y="3082"/>
                  </a:lnTo>
                  <a:lnTo>
                    <a:pt x="2285" y="3065"/>
                  </a:lnTo>
                  <a:lnTo>
                    <a:pt x="2278" y="3050"/>
                  </a:lnTo>
                  <a:lnTo>
                    <a:pt x="2270" y="3040"/>
                  </a:lnTo>
                  <a:lnTo>
                    <a:pt x="2263" y="3032"/>
                  </a:lnTo>
                  <a:lnTo>
                    <a:pt x="2255" y="3025"/>
                  </a:lnTo>
                  <a:lnTo>
                    <a:pt x="2247" y="3020"/>
                  </a:lnTo>
                  <a:lnTo>
                    <a:pt x="2238" y="3016"/>
                  </a:lnTo>
                  <a:lnTo>
                    <a:pt x="2229" y="3012"/>
                  </a:lnTo>
                  <a:lnTo>
                    <a:pt x="2210" y="3005"/>
                  </a:lnTo>
                  <a:lnTo>
                    <a:pt x="2187" y="2994"/>
                  </a:lnTo>
                  <a:lnTo>
                    <a:pt x="2175" y="2986"/>
                  </a:lnTo>
                  <a:lnTo>
                    <a:pt x="2163" y="2977"/>
                  </a:lnTo>
                  <a:lnTo>
                    <a:pt x="2149" y="2965"/>
                  </a:lnTo>
                  <a:lnTo>
                    <a:pt x="2135" y="2951"/>
                  </a:lnTo>
                  <a:lnTo>
                    <a:pt x="2130" y="2943"/>
                  </a:lnTo>
                  <a:lnTo>
                    <a:pt x="2126" y="2933"/>
                  </a:lnTo>
                  <a:lnTo>
                    <a:pt x="2123" y="2921"/>
                  </a:lnTo>
                  <a:lnTo>
                    <a:pt x="2122" y="2909"/>
                  </a:lnTo>
                  <a:lnTo>
                    <a:pt x="2122" y="2896"/>
                  </a:lnTo>
                  <a:lnTo>
                    <a:pt x="2122" y="2883"/>
                  </a:lnTo>
                  <a:lnTo>
                    <a:pt x="2123" y="2868"/>
                  </a:lnTo>
                  <a:lnTo>
                    <a:pt x="2125" y="2853"/>
                  </a:lnTo>
                  <a:lnTo>
                    <a:pt x="2129" y="2840"/>
                  </a:lnTo>
                  <a:lnTo>
                    <a:pt x="2131" y="2827"/>
                  </a:lnTo>
                  <a:lnTo>
                    <a:pt x="2137" y="2815"/>
                  </a:lnTo>
                  <a:lnTo>
                    <a:pt x="2141" y="2803"/>
                  </a:lnTo>
                  <a:lnTo>
                    <a:pt x="2146" y="2793"/>
                  </a:lnTo>
                  <a:lnTo>
                    <a:pt x="2153" y="2785"/>
                  </a:lnTo>
                  <a:lnTo>
                    <a:pt x="2158" y="2779"/>
                  </a:lnTo>
                  <a:lnTo>
                    <a:pt x="2165" y="2776"/>
                  </a:lnTo>
                  <a:lnTo>
                    <a:pt x="2194" y="2763"/>
                  </a:lnTo>
                  <a:lnTo>
                    <a:pt x="2211" y="2753"/>
                  </a:lnTo>
                  <a:lnTo>
                    <a:pt x="2217" y="2749"/>
                  </a:lnTo>
                  <a:lnTo>
                    <a:pt x="2221" y="2745"/>
                  </a:lnTo>
                  <a:lnTo>
                    <a:pt x="2222" y="2741"/>
                  </a:lnTo>
                  <a:lnTo>
                    <a:pt x="2222" y="2739"/>
                  </a:lnTo>
                  <a:lnTo>
                    <a:pt x="2219" y="2736"/>
                  </a:lnTo>
                  <a:lnTo>
                    <a:pt x="2215" y="2732"/>
                  </a:lnTo>
                  <a:lnTo>
                    <a:pt x="2210" y="2729"/>
                  </a:lnTo>
                  <a:lnTo>
                    <a:pt x="2203" y="2727"/>
                  </a:lnTo>
                  <a:lnTo>
                    <a:pt x="2186" y="2720"/>
                  </a:lnTo>
                  <a:lnTo>
                    <a:pt x="2166" y="2712"/>
                  </a:lnTo>
                  <a:lnTo>
                    <a:pt x="2142" y="2701"/>
                  </a:lnTo>
                  <a:lnTo>
                    <a:pt x="2117" y="2689"/>
                  </a:lnTo>
                  <a:lnTo>
                    <a:pt x="2105" y="2683"/>
                  </a:lnTo>
                  <a:lnTo>
                    <a:pt x="2091" y="2675"/>
                  </a:lnTo>
                  <a:lnTo>
                    <a:pt x="2078" y="2665"/>
                  </a:lnTo>
                  <a:lnTo>
                    <a:pt x="2066" y="2656"/>
                  </a:lnTo>
                  <a:lnTo>
                    <a:pt x="2054" y="2645"/>
                  </a:lnTo>
                  <a:lnTo>
                    <a:pt x="2042" y="2633"/>
                  </a:lnTo>
                  <a:lnTo>
                    <a:pt x="2031" y="2620"/>
                  </a:lnTo>
                  <a:lnTo>
                    <a:pt x="2021" y="2605"/>
                  </a:lnTo>
                  <a:lnTo>
                    <a:pt x="2011" y="2591"/>
                  </a:lnTo>
                  <a:lnTo>
                    <a:pt x="2003" y="2573"/>
                  </a:lnTo>
                  <a:lnTo>
                    <a:pt x="1997" y="2555"/>
                  </a:lnTo>
                  <a:lnTo>
                    <a:pt x="1990" y="2535"/>
                  </a:lnTo>
                  <a:lnTo>
                    <a:pt x="1978" y="2481"/>
                  </a:lnTo>
                  <a:lnTo>
                    <a:pt x="1971" y="2451"/>
                  </a:lnTo>
                  <a:lnTo>
                    <a:pt x="1970" y="2444"/>
                  </a:lnTo>
                  <a:lnTo>
                    <a:pt x="1971" y="2439"/>
                  </a:lnTo>
                  <a:lnTo>
                    <a:pt x="1973" y="2433"/>
                  </a:lnTo>
                  <a:lnTo>
                    <a:pt x="1975" y="2428"/>
                  </a:lnTo>
                  <a:lnTo>
                    <a:pt x="1983" y="2416"/>
                  </a:lnTo>
                  <a:lnTo>
                    <a:pt x="1997" y="2401"/>
                  </a:lnTo>
                  <a:lnTo>
                    <a:pt x="2013" y="2387"/>
                  </a:lnTo>
                  <a:lnTo>
                    <a:pt x="2026" y="2371"/>
                  </a:lnTo>
                  <a:lnTo>
                    <a:pt x="2037" y="2358"/>
                  </a:lnTo>
                  <a:lnTo>
                    <a:pt x="2045" y="2344"/>
                  </a:lnTo>
                  <a:lnTo>
                    <a:pt x="2051" y="2331"/>
                  </a:lnTo>
                  <a:lnTo>
                    <a:pt x="2054" y="2319"/>
                  </a:lnTo>
                  <a:lnTo>
                    <a:pt x="2055" y="2308"/>
                  </a:lnTo>
                  <a:lnTo>
                    <a:pt x="2054" y="2298"/>
                  </a:lnTo>
                  <a:lnTo>
                    <a:pt x="2050" y="2287"/>
                  </a:lnTo>
                  <a:lnTo>
                    <a:pt x="2046" y="2278"/>
                  </a:lnTo>
                  <a:lnTo>
                    <a:pt x="2039" y="2268"/>
                  </a:lnTo>
                  <a:lnTo>
                    <a:pt x="2031" y="2260"/>
                  </a:lnTo>
                  <a:lnTo>
                    <a:pt x="2022" y="2252"/>
                  </a:lnTo>
                  <a:lnTo>
                    <a:pt x="2011" y="2244"/>
                  </a:lnTo>
                  <a:lnTo>
                    <a:pt x="2001" y="2238"/>
                  </a:lnTo>
                  <a:lnTo>
                    <a:pt x="1989" y="2231"/>
                  </a:lnTo>
                  <a:lnTo>
                    <a:pt x="1934" y="2206"/>
                  </a:lnTo>
                  <a:lnTo>
                    <a:pt x="1879" y="2182"/>
                  </a:lnTo>
                  <a:lnTo>
                    <a:pt x="1854" y="2170"/>
                  </a:lnTo>
                  <a:lnTo>
                    <a:pt x="1831" y="2158"/>
                  </a:lnTo>
                  <a:lnTo>
                    <a:pt x="1823" y="2152"/>
                  </a:lnTo>
                  <a:lnTo>
                    <a:pt x="1815" y="2146"/>
                  </a:lnTo>
                  <a:lnTo>
                    <a:pt x="1809" y="2139"/>
                  </a:lnTo>
                  <a:lnTo>
                    <a:pt x="1803" y="2131"/>
                  </a:lnTo>
                  <a:lnTo>
                    <a:pt x="1770" y="2070"/>
                  </a:lnTo>
                  <a:lnTo>
                    <a:pt x="1746" y="2026"/>
                  </a:lnTo>
                  <a:lnTo>
                    <a:pt x="1738" y="2010"/>
                  </a:lnTo>
                  <a:lnTo>
                    <a:pt x="1733" y="1996"/>
                  </a:lnTo>
                  <a:lnTo>
                    <a:pt x="1729" y="1986"/>
                  </a:lnTo>
                  <a:lnTo>
                    <a:pt x="1727" y="1978"/>
                  </a:lnTo>
                  <a:lnTo>
                    <a:pt x="1727" y="1972"/>
                  </a:lnTo>
                  <a:lnTo>
                    <a:pt x="1729" y="1970"/>
                  </a:lnTo>
                  <a:lnTo>
                    <a:pt x="1731" y="1970"/>
                  </a:lnTo>
                  <a:lnTo>
                    <a:pt x="1735" y="1970"/>
                  </a:lnTo>
                  <a:lnTo>
                    <a:pt x="1746" y="1975"/>
                  </a:lnTo>
                  <a:lnTo>
                    <a:pt x="1759" y="1984"/>
                  </a:lnTo>
                  <a:lnTo>
                    <a:pt x="1775" y="1995"/>
                  </a:lnTo>
                  <a:lnTo>
                    <a:pt x="1793" y="2003"/>
                  </a:lnTo>
                  <a:lnTo>
                    <a:pt x="1801" y="2007"/>
                  </a:lnTo>
                  <a:lnTo>
                    <a:pt x="1809" y="2010"/>
                  </a:lnTo>
                  <a:lnTo>
                    <a:pt x="1815" y="2011"/>
                  </a:lnTo>
                  <a:lnTo>
                    <a:pt x="1822" y="2010"/>
                  </a:lnTo>
                  <a:lnTo>
                    <a:pt x="1829" y="2007"/>
                  </a:lnTo>
                  <a:lnTo>
                    <a:pt x="1833" y="2003"/>
                  </a:lnTo>
                  <a:lnTo>
                    <a:pt x="1837" y="1996"/>
                  </a:lnTo>
                  <a:lnTo>
                    <a:pt x="1839" y="1986"/>
                  </a:lnTo>
                  <a:lnTo>
                    <a:pt x="1841" y="1974"/>
                  </a:lnTo>
                  <a:lnTo>
                    <a:pt x="1841" y="1958"/>
                  </a:lnTo>
                  <a:lnTo>
                    <a:pt x="1838" y="1938"/>
                  </a:lnTo>
                  <a:lnTo>
                    <a:pt x="1834" y="1914"/>
                  </a:lnTo>
                  <a:lnTo>
                    <a:pt x="1822" y="1906"/>
                  </a:lnTo>
                  <a:lnTo>
                    <a:pt x="1809" y="1898"/>
                  </a:lnTo>
                  <a:lnTo>
                    <a:pt x="1794" y="1891"/>
                  </a:lnTo>
                  <a:lnTo>
                    <a:pt x="1777" y="1886"/>
                  </a:lnTo>
                  <a:lnTo>
                    <a:pt x="1757" y="1882"/>
                  </a:lnTo>
                  <a:lnTo>
                    <a:pt x="1735" y="1880"/>
                  </a:lnTo>
                  <a:lnTo>
                    <a:pt x="1711" y="1882"/>
                  </a:lnTo>
                  <a:lnTo>
                    <a:pt x="1683" y="1884"/>
                  </a:lnTo>
                  <a:lnTo>
                    <a:pt x="1658" y="1880"/>
                  </a:lnTo>
                  <a:lnTo>
                    <a:pt x="1634" y="1875"/>
                  </a:lnTo>
                  <a:lnTo>
                    <a:pt x="1614" y="1871"/>
                  </a:lnTo>
                  <a:lnTo>
                    <a:pt x="1595" y="1866"/>
                  </a:lnTo>
                  <a:lnTo>
                    <a:pt x="1578" y="1859"/>
                  </a:lnTo>
                  <a:lnTo>
                    <a:pt x="1564" y="1850"/>
                  </a:lnTo>
                  <a:lnTo>
                    <a:pt x="1557" y="1844"/>
                  </a:lnTo>
                  <a:lnTo>
                    <a:pt x="1550" y="1838"/>
                  </a:lnTo>
                  <a:lnTo>
                    <a:pt x="1545" y="1831"/>
                  </a:lnTo>
                  <a:lnTo>
                    <a:pt x="1538" y="1824"/>
                  </a:lnTo>
                  <a:lnTo>
                    <a:pt x="1545" y="1830"/>
                  </a:lnTo>
                  <a:lnTo>
                    <a:pt x="1538" y="1824"/>
                  </a:lnTo>
                  <a:lnTo>
                    <a:pt x="1534" y="1816"/>
                  </a:lnTo>
                  <a:lnTo>
                    <a:pt x="1530" y="1808"/>
                  </a:lnTo>
                  <a:lnTo>
                    <a:pt x="1526" y="1798"/>
                  </a:lnTo>
                  <a:lnTo>
                    <a:pt x="1521" y="1787"/>
                  </a:lnTo>
                  <a:lnTo>
                    <a:pt x="1518" y="1775"/>
                  </a:lnTo>
                  <a:lnTo>
                    <a:pt x="1514" y="1761"/>
                  </a:lnTo>
                  <a:lnTo>
                    <a:pt x="1512" y="1745"/>
                  </a:lnTo>
                  <a:lnTo>
                    <a:pt x="1509" y="1727"/>
                  </a:lnTo>
                  <a:lnTo>
                    <a:pt x="1506" y="1726"/>
                  </a:lnTo>
                  <a:lnTo>
                    <a:pt x="1501" y="1719"/>
                  </a:lnTo>
                  <a:lnTo>
                    <a:pt x="1497" y="1717"/>
                  </a:lnTo>
                  <a:lnTo>
                    <a:pt x="1493" y="1714"/>
                  </a:lnTo>
                  <a:lnTo>
                    <a:pt x="1488" y="1711"/>
                  </a:lnTo>
                  <a:lnTo>
                    <a:pt x="1482" y="1709"/>
                  </a:lnTo>
                  <a:lnTo>
                    <a:pt x="1476" y="1709"/>
                  </a:lnTo>
                  <a:lnTo>
                    <a:pt x="1468" y="1709"/>
                  </a:lnTo>
                  <a:lnTo>
                    <a:pt x="1461" y="1711"/>
                  </a:lnTo>
                  <a:lnTo>
                    <a:pt x="1453" y="1715"/>
                  </a:lnTo>
                  <a:lnTo>
                    <a:pt x="1445" y="1722"/>
                  </a:lnTo>
                  <a:lnTo>
                    <a:pt x="1436" y="1731"/>
                  </a:lnTo>
                  <a:lnTo>
                    <a:pt x="1428" y="1743"/>
                  </a:lnTo>
                  <a:lnTo>
                    <a:pt x="1418" y="1758"/>
                  </a:lnTo>
                  <a:lnTo>
                    <a:pt x="1416" y="1765"/>
                  </a:lnTo>
                  <a:lnTo>
                    <a:pt x="1414" y="1771"/>
                  </a:lnTo>
                  <a:lnTo>
                    <a:pt x="1414" y="1781"/>
                  </a:lnTo>
                  <a:lnTo>
                    <a:pt x="1417" y="1790"/>
                  </a:lnTo>
                  <a:lnTo>
                    <a:pt x="1422" y="1808"/>
                  </a:lnTo>
                  <a:lnTo>
                    <a:pt x="1429" y="1828"/>
                  </a:lnTo>
                  <a:lnTo>
                    <a:pt x="1432" y="1836"/>
                  </a:lnTo>
                  <a:lnTo>
                    <a:pt x="1433" y="1846"/>
                  </a:lnTo>
                  <a:lnTo>
                    <a:pt x="1433" y="1852"/>
                  </a:lnTo>
                  <a:lnTo>
                    <a:pt x="1430" y="1859"/>
                  </a:lnTo>
                  <a:lnTo>
                    <a:pt x="1429" y="1862"/>
                  </a:lnTo>
                  <a:lnTo>
                    <a:pt x="1426" y="1863"/>
                  </a:lnTo>
                  <a:lnTo>
                    <a:pt x="1422" y="1864"/>
                  </a:lnTo>
                  <a:lnTo>
                    <a:pt x="1418" y="1866"/>
                  </a:lnTo>
                  <a:lnTo>
                    <a:pt x="1408" y="1867"/>
                  </a:lnTo>
                  <a:lnTo>
                    <a:pt x="1394" y="1866"/>
                  </a:lnTo>
                  <a:lnTo>
                    <a:pt x="1386" y="1863"/>
                  </a:lnTo>
                  <a:lnTo>
                    <a:pt x="1378" y="1859"/>
                  </a:lnTo>
                  <a:lnTo>
                    <a:pt x="1370" y="1852"/>
                  </a:lnTo>
                  <a:lnTo>
                    <a:pt x="1362" y="1844"/>
                  </a:lnTo>
                  <a:lnTo>
                    <a:pt x="1345" y="1826"/>
                  </a:lnTo>
                  <a:lnTo>
                    <a:pt x="1326" y="1803"/>
                  </a:lnTo>
                  <a:lnTo>
                    <a:pt x="1306" y="1775"/>
                  </a:lnTo>
                  <a:lnTo>
                    <a:pt x="1285" y="1745"/>
                  </a:lnTo>
                  <a:lnTo>
                    <a:pt x="1265" y="1713"/>
                  </a:lnTo>
                  <a:lnTo>
                    <a:pt x="1244" y="1678"/>
                  </a:lnTo>
                  <a:lnTo>
                    <a:pt x="1198" y="1606"/>
                  </a:lnTo>
                  <a:lnTo>
                    <a:pt x="1154" y="1535"/>
                  </a:lnTo>
                  <a:lnTo>
                    <a:pt x="1133" y="1502"/>
                  </a:lnTo>
                  <a:lnTo>
                    <a:pt x="1110" y="1471"/>
                  </a:lnTo>
                  <a:lnTo>
                    <a:pt x="1090" y="1445"/>
                  </a:lnTo>
                  <a:lnTo>
                    <a:pt x="1069" y="1421"/>
                  </a:lnTo>
                  <a:lnTo>
                    <a:pt x="1058" y="1407"/>
                  </a:lnTo>
                  <a:lnTo>
                    <a:pt x="1050" y="1395"/>
                  </a:lnTo>
                  <a:lnTo>
                    <a:pt x="1045" y="1383"/>
                  </a:lnTo>
                  <a:lnTo>
                    <a:pt x="1041" y="1373"/>
                  </a:lnTo>
                  <a:lnTo>
                    <a:pt x="1041" y="1362"/>
                  </a:lnTo>
                  <a:lnTo>
                    <a:pt x="1042" y="1353"/>
                  </a:lnTo>
                  <a:lnTo>
                    <a:pt x="1045" y="1343"/>
                  </a:lnTo>
                  <a:lnTo>
                    <a:pt x="1050" y="1335"/>
                  </a:lnTo>
                  <a:lnTo>
                    <a:pt x="1058" y="1327"/>
                  </a:lnTo>
                  <a:lnTo>
                    <a:pt x="1066" y="1321"/>
                  </a:lnTo>
                  <a:lnTo>
                    <a:pt x="1077" y="1314"/>
                  </a:lnTo>
                  <a:lnTo>
                    <a:pt x="1088" y="1309"/>
                  </a:lnTo>
                  <a:lnTo>
                    <a:pt x="1100" y="1305"/>
                  </a:lnTo>
                  <a:lnTo>
                    <a:pt x="1113" y="1301"/>
                  </a:lnTo>
                  <a:lnTo>
                    <a:pt x="1126" y="1297"/>
                  </a:lnTo>
                  <a:lnTo>
                    <a:pt x="1141" y="1294"/>
                  </a:lnTo>
                  <a:lnTo>
                    <a:pt x="1145" y="1282"/>
                  </a:lnTo>
                  <a:lnTo>
                    <a:pt x="1146" y="1270"/>
                  </a:lnTo>
                  <a:lnTo>
                    <a:pt x="1145" y="1265"/>
                  </a:lnTo>
                  <a:lnTo>
                    <a:pt x="1144" y="1259"/>
                  </a:lnTo>
                  <a:lnTo>
                    <a:pt x="1142" y="1254"/>
                  </a:lnTo>
                  <a:lnTo>
                    <a:pt x="1140" y="1249"/>
                  </a:lnTo>
                  <a:lnTo>
                    <a:pt x="1133" y="1239"/>
                  </a:lnTo>
                  <a:lnTo>
                    <a:pt x="1122" y="1229"/>
                  </a:lnTo>
                  <a:lnTo>
                    <a:pt x="1109" y="1217"/>
                  </a:lnTo>
                  <a:lnTo>
                    <a:pt x="1093" y="1204"/>
                  </a:lnTo>
                  <a:lnTo>
                    <a:pt x="1093" y="1065"/>
                  </a:lnTo>
                  <a:lnTo>
                    <a:pt x="1096" y="1061"/>
                  </a:lnTo>
                  <a:lnTo>
                    <a:pt x="1098" y="1057"/>
                  </a:lnTo>
                  <a:lnTo>
                    <a:pt x="1101" y="1056"/>
                  </a:lnTo>
                  <a:lnTo>
                    <a:pt x="1104" y="1053"/>
                  </a:lnTo>
                  <a:lnTo>
                    <a:pt x="1108" y="1053"/>
                  </a:lnTo>
                  <a:lnTo>
                    <a:pt x="1110" y="1053"/>
                  </a:lnTo>
                  <a:lnTo>
                    <a:pt x="1114" y="1054"/>
                  </a:lnTo>
                  <a:lnTo>
                    <a:pt x="1118" y="1056"/>
                  </a:lnTo>
                  <a:lnTo>
                    <a:pt x="1126" y="1061"/>
                  </a:lnTo>
                  <a:lnTo>
                    <a:pt x="1134" y="1069"/>
                  </a:lnTo>
                  <a:lnTo>
                    <a:pt x="1142" y="1077"/>
                  </a:lnTo>
                  <a:lnTo>
                    <a:pt x="1152" y="1088"/>
                  </a:lnTo>
                  <a:lnTo>
                    <a:pt x="1170" y="1109"/>
                  </a:lnTo>
                  <a:lnTo>
                    <a:pt x="1188" y="1129"/>
                  </a:lnTo>
                  <a:lnTo>
                    <a:pt x="1197" y="1137"/>
                  </a:lnTo>
                  <a:lnTo>
                    <a:pt x="1205" y="1144"/>
                  </a:lnTo>
                  <a:lnTo>
                    <a:pt x="1213" y="1149"/>
                  </a:lnTo>
                  <a:lnTo>
                    <a:pt x="1220" y="1150"/>
                  </a:lnTo>
                  <a:lnTo>
                    <a:pt x="1226" y="1148"/>
                  </a:lnTo>
                  <a:lnTo>
                    <a:pt x="1230" y="1145"/>
                  </a:lnTo>
                  <a:lnTo>
                    <a:pt x="1234" y="1142"/>
                  </a:lnTo>
                  <a:lnTo>
                    <a:pt x="1237" y="1138"/>
                  </a:lnTo>
                  <a:lnTo>
                    <a:pt x="1238" y="1134"/>
                  </a:lnTo>
                  <a:lnTo>
                    <a:pt x="1240" y="1130"/>
                  </a:lnTo>
                  <a:lnTo>
                    <a:pt x="1240" y="1125"/>
                  </a:lnTo>
                  <a:lnTo>
                    <a:pt x="1238" y="1120"/>
                  </a:lnTo>
                  <a:lnTo>
                    <a:pt x="1233" y="1108"/>
                  </a:lnTo>
                  <a:lnTo>
                    <a:pt x="1226" y="1094"/>
                  </a:lnTo>
                  <a:lnTo>
                    <a:pt x="1218" y="1081"/>
                  </a:lnTo>
                  <a:lnTo>
                    <a:pt x="1208" y="1065"/>
                  </a:lnTo>
                  <a:lnTo>
                    <a:pt x="1185" y="1034"/>
                  </a:lnTo>
                  <a:lnTo>
                    <a:pt x="1164" y="1002"/>
                  </a:lnTo>
                  <a:lnTo>
                    <a:pt x="1154" y="988"/>
                  </a:lnTo>
                  <a:lnTo>
                    <a:pt x="1148" y="972"/>
                  </a:lnTo>
                  <a:lnTo>
                    <a:pt x="1145" y="965"/>
                  </a:lnTo>
                  <a:lnTo>
                    <a:pt x="1144" y="958"/>
                  </a:lnTo>
                  <a:lnTo>
                    <a:pt x="1142" y="952"/>
                  </a:lnTo>
                  <a:lnTo>
                    <a:pt x="1141" y="945"/>
                  </a:lnTo>
                  <a:lnTo>
                    <a:pt x="1142" y="914"/>
                  </a:lnTo>
                  <a:lnTo>
                    <a:pt x="1146" y="886"/>
                  </a:lnTo>
                  <a:lnTo>
                    <a:pt x="1150" y="860"/>
                  </a:lnTo>
                  <a:lnTo>
                    <a:pt x="1156" y="837"/>
                  </a:lnTo>
                  <a:lnTo>
                    <a:pt x="1164" y="816"/>
                  </a:lnTo>
                  <a:lnTo>
                    <a:pt x="1172" y="797"/>
                  </a:lnTo>
                  <a:lnTo>
                    <a:pt x="1181" y="780"/>
                  </a:lnTo>
                  <a:lnTo>
                    <a:pt x="1190" y="765"/>
                  </a:lnTo>
                  <a:lnTo>
                    <a:pt x="1201" y="752"/>
                  </a:lnTo>
                  <a:lnTo>
                    <a:pt x="1213" y="740"/>
                  </a:lnTo>
                  <a:lnTo>
                    <a:pt x="1225" y="730"/>
                  </a:lnTo>
                  <a:lnTo>
                    <a:pt x="1238" y="721"/>
                  </a:lnTo>
                  <a:lnTo>
                    <a:pt x="1250" y="714"/>
                  </a:lnTo>
                  <a:lnTo>
                    <a:pt x="1264" y="708"/>
                  </a:lnTo>
                  <a:lnTo>
                    <a:pt x="1277" y="704"/>
                  </a:lnTo>
                  <a:lnTo>
                    <a:pt x="1290" y="700"/>
                  </a:lnTo>
                  <a:lnTo>
                    <a:pt x="1317" y="694"/>
                  </a:lnTo>
                  <a:lnTo>
                    <a:pt x="1341" y="692"/>
                  </a:lnTo>
                  <a:lnTo>
                    <a:pt x="1364" y="692"/>
                  </a:lnTo>
                  <a:lnTo>
                    <a:pt x="1384" y="690"/>
                  </a:lnTo>
                  <a:lnTo>
                    <a:pt x="1400" y="690"/>
                  </a:lnTo>
                  <a:lnTo>
                    <a:pt x="1410" y="689"/>
                  </a:lnTo>
                  <a:lnTo>
                    <a:pt x="1413" y="688"/>
                  </a:lnTo>
                  <a:lnTo>
                    <a:pt x="1414" y="686"/>
                  </a:lnTo>
                  <a:lnTo>
                    <a:pt x="1414" y="684"/>
                  </a:lnTo>
                  <a:lnTo>
                    <a:pt x="1413" y="680"/>
                  </a:lnTo>
                  <a:lnTo>
                    <a:pt x="1400" y="662"/>
                  </a:lnTo>
                  <a:lnTo>
                    <a:pt x="1386" y="641"/>
                  </a:lnTo>
                  <a:lnTo>
                    <a:pt x="1373" y="617"/>
                  </a:lnTo>
                  <a:lnTo>
                    <a:pt x="1358" y="589"/>
                  </a:lnTo>
                  <a:lnTo>
                    <a:pt x="1344" y="557"/>
                  </a:lnTo>
                  <a:lnTo>
                    <a:pt x="1329" y="523"/>
                  </a:lnTo>
                  <a:lnTo>
                    <a:pt x="1313" y="485"/>
                  </a:lnTo>
                  <a:lnTo>
                    <a:pt x="1298" y="444"/>
                  </a:lnTo>
                  <a:lnTo>
                    <a:pt x="1282" y="400"/>
                  </a:lnTo>
                  <a:lnTo>
                    <a:pt x="1266" y="352"/>
                  </a:lnTo>
                  <a:lnTo>
                    <a:pt x="1249" y="301"/>
                  </a:lnTo>
                  <a:lnTo>
                    <a:pt x="1233" y="247"/>
                  </a:lnTo>
                  <a:lnTo>
                    <a:pt x="1216" y="189"/>
                  </a:lnTo>
                  <a:lnTo>
                    <a:pt x="1200" y="129"/>
                  </a:lnTo>
                  <a:lnTo>
                    <a:pt x="1182" y="65"/>
                  </a:lnTo>
                  <a:lnTo>
                    <a:pt x="1165" y="0"/>
                  </a:lnTo>
                  <a:lnTo>
                    <a:pt x="1150" y="2"/>
                  </a:lnTo>
                  <a:lnTo>
                    <a:pt x="1138" y="4"/>
                  </a:lnTo>
                  <a:lnTo>
                    <a:pt x="1126" y="10"/>
                  </a:lnTo>
                  <a:lnTo>
                    <a:pt x="1114" y="15"/>
                  </a:lnTo>
                  <a:lnTo>
                    <a:pt x="1104" y="20"/>
                  </a:lnTo>
                  <a:lnTo>
                    <a:pt x="1093" y="26"/>
                  </a:lnTo>
                  <a:lnTo>
                    <a:pt x="1082" y="28"/>
                  </a:lnTo>
                  <a:lnTo>
                    <a:pt x="1069" y="30"/>
                  </a:lnTo>
                  <a:lnTo>
                    <a:pt x="1061" y="30"/>
                  </a:lnTo>
                  <a:lnTo>
                    <a:pt x="1054" y="28"/>
                  </a:lnTo>
                  <a:lnTo>
                    <a:pt x="1048" y="26"/>
                  </a:lnTo>
                  <a:lnTo>
                    <a:pt x="1042" y="23"/>
                  </a:lnTo>
                  <a:lnTo>
                    <a:pt x="1033" y="15"/>
                  </a:lnTo>
                  <a:lnTo>
                    <a:pt x="1021" y="6"/>
                  </a:lnTo>
                  <a:lnTo>
                    <a:pt x="1016" y="12"/>
                  </a:lnTo>
                  <a:lnTo>
                    <a:pt x="1012" y="20"/>
                  </a:lnTo>
                  <a:lnTo>
                    <a:pt x="1008" y="27"/>
                  </a:lnTo>
                  <a:lnTo>
                    <a:pt x="1005" y="34"/>
                  </a:lnTo>
                  <a:lnTo>
                    <a:pt x="1001" y="49"/>
                  </a:lnTo>
                  <a:lnTo>
                    <a:pt x="1000" y="64"/>
                  </a:lnTo>
                  <a:lnTo>
                    <a:pt x="996" y="97"/>
                  </a:lnTo>
                  <a:lnTo>
                    <a:pt x="990" y="132"/>
                  </a:lnTo>
                  <a:lnTo>
                    <a:pt x="976" y="171"/>
                  </a:lnTo>
                  <a:lnTo>
                    <a:pt x="960" y="209"/>
                  </a:lnTo>
                  <a:lnTo>
                    <a:pt x="953" y="228"/>
                  </a:lnTo>
                  <a:lnTo>
                    <a:pt x="948" y="249"/>
                  </a:lnTo>
                  <a:lnTo>
                    <a:pt x="944" y="271"/>
                  </a:lnTo>
                  <a:lnTo>
                    <a:pt x="942" y="295"/>
                  </a:lnTo>
                  <a:lnTo>
                    <a:pt x="942" y="308"/>
                  </a:lnTo>
                  <a:lnTo>
                    <a:pt x="942" y="320"/>
                  </a:lnTo>
                  <a:lnTo>
                    <a:pt x="942" y="336"/>
                  </a:lnTo>
                  <a:lnTo>
                    <a:pt x="942" y="355"/>
                  </a:lnTo>
                  <a:lnTo>
                    <a:pt x="942" y="365"/>
                  </a:lnTo>
                  <a:lnTo>
                    <a:pt x="941" y="373"/>
                  </a:lnTo>
                  <a:lnTo>
                    <a:pt x="938" y="381"/>
                  </a:lnTo>
                  <a:lnTo>
                    <a:pt x="936" y="389"/>
                  </a:lnTo>
                  <a:lnTo>
                    <a:pt x="933" y="396"/>
                  </a:lnTo>
                  <a:lnTo>
                    <a:pt x="929" y="401"/>
                  </a:lnTo>
                  <a:lnTo>
                    <a:pt x="924" y="407"/>
                  </a:lnTo>
                  <a:lnTo>
                    <a:pt x="918" y="412"/>
                  </a:lnTo>
                  <a:lnTo>
                    <a:pt x="906" y="420"/>
                  </a:lnTo>
                  <a:lnTo>
                    <a:pt x="893" y="425"/>
                  </a:lnTo>
                  <a:lnTo>
                    <a:pt x="878" y="431"/>
                  </a:lnTo>
                  <a:lnTo>
                    <a:pt x="862" y="433"/>
                  </a:lnTo>
                  <a:lnTo>
                    <a:pt x="828" y="437"/>
                  </a:lnTo>
                  <a:lnTo>
                    <a:pt x="793" y="441"/>
                  </a:lnTo>
                  <a:lnTo>
                    <a:pt x="776" y="444"/>
                  </a:lnTo>
                  <a:lnTo>
                    <a:pt x="760" y="447"/>
                  </a:lnTo>
                  <a:lnTo>
                    <a:pt x="745" y="452"/>
                  </a:lnTo>
                  <a:lnTo>
                    <a:pt x="732" y="457"/>
                  </a:lnTo>
                  <a:lnTo>
                    <a:pt x="715" y="471"/>
                  </a:lnTo>
                  <a:lnTo>
                    <a:pt x="692" y="489"/>
                  </a:lnTo>
                  <a:lnTo>
                    <a:pt x="679" y="497"/>
                  </a:lnTo>
                  <a:lnTo>
                    <a:pt x="665" y="505"/>
                  </a:lnTo>
                  <a:lnTo>
                    <a:pt x="660" y="508"/>
                  </a:lnTo>
                  <a:lnTo>
                    <a:pt x="653" y="509"/>
                  </a:lnTo>
                  <a:lnTo>
                    <a:pt x="648" y="511"/>
                  </a:lnTo>
                  <a:lnTo>
                    <a:pt x="641" y="512"/>
                  </a:lnTo>
                  <a:lnTo>
                    <a:pt x="635" y="511"/>
                  </a:lnTo>
                  <a:lnTo>
                    <a:pt x="627" y="509"/>
                  </a:lnTo>
                  <a:lnTo>
                    <a:pt x="621" y="508"/>
                  </a:lnTo>
                  <a:lnTo>
                    <a:pt x="615" y="504"/>
                  </a:lnTo>
                  <a:lnTo>
                    <a:pt x="611" y="500"/>
                  </a:lnTo>
                  <a:lnTo>
                    <a:pt x="605" y="496"/>
                  </a:lnTo>
                  <a:lnTo>
                    <a:pt x="601" y="491"/>
                  </a:lnTo>
                  <a:lnTo>
                    <a:pt x="597" y="484"/>
                  </a:lnTo>
                  <a:lnTo>
                    <a:pt x="591" y="471"/>
                  </a:lnTo>
                  <a:lnTo>
                    <a:pt x="587" y="456"/>
                  </a:lnTo>
                  <a:lnTo>
                    <a:pt x="583" y="440"/>
                  </a:lnTo>
                  <a:lnTo>
                    <a:pt x="579" y="424"/>
                  </a:lnTo>
                  <a:lnTo>
                    <a:pt x="572" y="392"/>
                  </a:lnTo>
                  <a:lnTo>
                    <a:pt x="564" y="364"/>
                  </a:lnTo>
                  <a:lnTo>
                    <a:pt x="559" y="353"/>
                  </a:lnTo>
                  <a:lnTo>
                    <a:pt x="552" y="344"/>
                  </a:lnTo>
                  <a:lnTo>
                    <a:pt x="548" y="341"/>
                  </a:lnTo>
                  <a:lnTo>
                    <a:pt x="544" y="339"/>
                  </a:lnTo>
                  <a:lnTo>
                    <a:pt x="539" y="337"/>
                  </a:lnTo>
                  <a:lnTo>
                    <a:pt x="533" y="337"/>
                  </a:lnTo>
                  <a:lnTo>
                    <a:pt x="525" y="337"/>
                  </a:lnTo>
                  <a:lnTo>
                    <a:pt x="519" y="339"/>
                  </a:lnTo>
                  <a:lnTo>
                    <a:pt x="513" y="341"/>
                  </a:lnTo>
                  <a:lnTo>
                    <a:pt x="508" y="344"/>
                  </a:lnTo>
                  <a:lnTo>
                    <a:pt x="497" y="351"/>
                  </a:lnTo>
                  <a:lnTo>
                    <a:pt x="489" y="360"/>
                  </a:lnTo>
                  <a:lnTo>
                    <a:pt x="481" y="369"/>
                  </a:lnTo>
                  <a:lnTo>
                    <a:pt x="473" y="377"/>
                  </a:lnTo>
                  <a:lnTo>
                    <a:pt x="465" y="385"/>
                  </a:lnTo>
                  <a:lnTo>
                    <a:pt x="455" y="391"/>
                  </a:lnTo>
                  <a:lnTo>
                    <a:pt x="416" y="403"/>
                  </a:lnTo>
                  <a:lnTo>
                    <a:pt x="380" y="416"/>
                  </a:lnTo>
                  <a:lnTo>
                    <a:pt x="363" y="423"/>
                  </a:lnTo>
                  <a:lnTo>
                    <a:pt x="347" y="431"/>
                  </a:lnTo>
                  <a:lnTo>
                    <a:pt x="332" y="439"/>
                  </a:lnTo>
                  <a:lnTo>
                    <a:pt x="316" y="447"/>
                  </a:lnTo>
                  <a:lnTo>
                    <a:pt x="301" y="456"/>
                  </a:lnTo>
                  <a:lnTo>
                    <a:pt x="288" y="467"/>
                  </a:lnTo>
                  <a:lnTo>
                    <a:pt x="275" y="477"/>
                  </a:lnTo>
                  <a:lnTo>
                    <a:pt x="261" y="489"/>
                  </a:lnTo>
                  <a:lnTo>
                    <a:pt x="249" y="503"/>
                  </a:lnTo>
                  <a:lnTo>
                    <a:pt x="237" y="516"/>
                  </a:lnTo>
                  <a:lnTo>
                    <a:pt x="225" y="532"/>
                  </a:lnTo>
                  <a:lnTo>
                    <a:pt x="213" y="548"/>
                  </a:lnTo>
                  <a:lnTo>
                    <a:pt x="203" y="564"/>
                  </a:lnTo>
                  <a:lnTo>
                    <a:pt x="189" y="579"/>
                  </a:lnTo>
                  <a:lnTo>
                    <a:pt x="175" y="592"/>
                  </a:lnTo>
                  <a:lnTo>
                    <a:pt x="160" y="604"/>
                  </a:lnTo>
                  <a:lnTo>
                    <a:pt x="128" y="628"/>
                  </a:lnTo>
                  <a:lnTo>
                    <a:pt x="93" y="656"/>
                  </a:lnTo>
                  <a:lnTo>
                    <a:pt x="91" y="664"/>
                  </a:lnTo>
                  <a:lnTo>
                    <a:pt x="89" y="672"/>
                  </a:lnTo>
                  <a:lnTo>
                    <a:pt x="89" y="680"/>
                  </a:lnTo>
                  <a:lnTo>
                    <a:pt x="89" y="688"/>
                  </a:lnTo>
                  <a:lnTo>
                    <a:pt x="91" y="697"/>
                  </a:lnTo>
                  <a:lnTo>
                    <a:pt x="89" y="704"/>
                  </a:lnTo>
                  <a:lnTo>
                    <a:pt x="88" y="708"/>
                  </a:lnTo>
                  <a:lnTo>
                    <a:pt x="87" y="710"/>
                  </a:lnTo>
                  <a:lnTo>
                    <a:pt x="84" y="714"/>
                  </a:lnTo>
                  <a:lnTo>
                    <a:pt x="81" y="716"/>
                  </a:lnTo>
                  <a:lnTo>
                    <a:pt x="72" y="722"/>
                  </a:lnTo>
                  <a:lnTo>
                    <a:pt x="64" y="726"/>
                  </a:lnTo>
                  <a:lnTo>
                    <a:pt x="56" y="730"/>
                  </a:lnTo>
                  <a:lnTo>
                    <a:pt x="50" y="734"/>
                  </a:lnTo>
                  <a:lnTo>
                    <a:pt x="36" y="738"/>
                  </a:lnTo>
                  <a:lnTo>
                    <a:pt x="24" y="744"/>
                  </a:lnTo>
                  <a:lnTo>
                    <a:pt x="20" y="748"/>
                  </a:lnTo>
                  <a:lnTo>
                    <a:pt x="15" y="752"/>
                  </a:lnTo>
                  <a:lnTo>
                    <a:pt x="12" y="757"/>
                  </a:lnTo>
                  <a:lnTo>
                    <a:pt x="8" y="765"/>
                  </a:lnTo>
                  <a:lnTo>
                    <a:pt x="7" y="773"/>
                  </a:lnTo>
                  <a:lnTo>
                    <a:pt x="4" y="784"/>
                  </a:lnTo>
                  <a:lnTo>
                    <a:pt x="4" y="797"/>
                  </a:lnTo>
                  <a:lnTo>
                    <a:pt x="3" y="813"/>
                  </a:lnTo>
                  <a:lnTo>
                    <a:pt x="3" y="826"/>
                  </a:lnTo>
                  <a:lnTo>
                    <a:pt x="2" y="842"/>
                  </a:lnTo>
                  <a:lnTo>
                    <a:pt x="0" y="849"/>
                  </a:lnTo>
                  <a:lnTo>
                    <a:pt x="0" y="856"/>
                  </a:lnTo>
                  <a:lnTo>
                    <a:pt x="2" y="862"/>
                  </a:lnTo>
                  <a:lnTo>
                    <a:pt x="3" y="866"/>
                  </a:lnTo>
                  <a:lnTo>
                    <a:pt x="11" y="869"/>
                  </a:lnTo>
                  <a:lnTo>
                    <a:pt x="22" y="869"/>
                  </a:lnTo>
                  <a:lnTo>
                    <a:pt x="34" y="870"/>
                  </a:lnTo>
                  <a:lnTo>
                    <a:pt x="47" y="870"/>
                  </a:lnTo>
                  <a:lnTo>
                    <a:pt x="72" y="870"/>
                  </a:lnTo>
                  <a:lnTo>
                    <a:pt x="93" y="873"/>
                  </a:lnTo>
                  <a:lnTo>
                    <a:pt x="99" y="876"/>
                  </a:lnTo>
                  <a:lnTo>
                    <a:pt x="103" y="878"/>
                  </a:lnTo>
                  <a:lnTo>
                    <a:pt x="105" y="882"/>
                  </a:lnTo>
                  <a:lnTo>
                    <a:pt x="108" y="886"/>
                  </a:lnTo>
                  <a:lnTo>
                    <a:pt x="111" y="897"/>
                  </a:lnTo>
                  <a:lnTo>
                    <a:pt x="111" y="908"/>
                  </a:lnTo>
                  <a:lnTo>
                    <a:pt x="108" y="933"/>
                  </a:lnTo>
                  <a:lnTo>
                    <a:pt x="105" y="957"/>
                  </a:lnTo>
                  <a:lnTo>
                    <a:pt x="107" y="964"/>
                  </a:lnTo>
                  <a:lnTo>
                    <a:pt x="109" y="969"/>
                  </a:lnTo>
                  <a:lnTo>
                    <a:pt x="113" y="974"/>
                  </a:lnTo>
                  <a:lnTo>
                    <a:pt x="117" y="978"/>
                  </a:lnTo>
                  <a:lnTo>
                    <a:pt x="121" y="981"/>
                  </a:lnTo>
                  <a:lnTo>
                    <a:pt x="127" y="985"/>
                  </a:lnTo>
                  <a:lnTo>
                    <a:pt x="133" y="986"/>
                  </a:lnTo>
                  <a:lnTo>
                    <a:pt x="140" y="989"/>
                  </a:lnTo>
                  <a:lnTo>
                    <a:pt x="153" y="992"/>
                  </a:lnTo>
                  <a:lnTo>
                    <a:pt x="168" y="993"/>
                  </a:lnTo>
                  <a:lnTo>
                    <a:pt x="181" y="993"/>
                  </a:lnTo>
                  <a:lnTo>
                    <a:pt x="196" y="993"/>
                  </a:lnTo>
                  <a:lnTo>
                    <a:pt x="304" y="1084"/>
                  </a:lnTo>
                  <a:lnTo>
                    <a:pt x="305" y="1101"/>
                  </a:lnTo>
                  <a:lnTo>
                    <a:pt x="307" y="1114"/>
                  </a:lnTo>
                  <a:lnTo>
                    <a:pt x="309" y="1126"/>
                  </a:lnTo>
                  <a:lnTo>
                    <a:pt x="313" y="1136"/>
                  </a:lnTo>
                  <a:lnTo>
                    <a:pt x="319" y="1144"/>
                  </a:lnTo>
                  <a:lnTo>
                    <a:pt x="325" y="1149"/>
                  </a:lnTo>
                  <a:lnTo>
                    <a:pt x="332" y="1154"/>
                  </a:lnTo>
                  <a:lnTo>
                    <a:pt x="340" y="1157"/>
                  </a:lnTo>
                  <a:lnTo>
                    <a:pt x="380" y="1164"/>
                  </a:lnTo>
                  <a:lnTo>
                    <a:pt x="431" y="1168"/>
                  </a:lnTo>
                  <a:lnTo>
                    <a:pt x="441" y="1170"/>
                  </a:lnTo>
                  <a:lnTo>
                    <a:pt x="451" y="1174"/>
                  </a:lnTo>
                  <a:lnTo>
                    <a:pt x="457" y="1181"/>
                  </a:lnTo>
                  <a:lnTo>
                    <a:pt x="464" y="1189"/>
                  </a:lnTo>
                  <a:lnTo>
                    <a:pt x="469" y="1198"/>
                  </a:lnTo>
                  <a:lnTo>
                    <a:pt x="475" y="1209"/>
                  </a:lnTo>
                  <a:lnTo>
                    <a:pt x="477" y="1219"/>
                  </a:lnTo>
                  <a:lnTo>
                    <a:pt x="481" y="1230"/>
                  </a:lnTo>
                  <a:lnTo>
                    <a:pt x="487" y="1251"/>
                  </a:lnTo>
                  <a:lnTo>
                    <a:pt x="493" y="1270"/>
                  </a:lnTo>
                  <a:lnTo>
                    <a:pt x="496" y="1278"/>
                  </a:lnTo>
                  <a:lnTo>
                    <a:pt x="500" y="1283"/>
                  </a:lnTo>
                  <a:lnTo>
                    <a:pt x="504" y="1287"/>
                  </a:lnTo>
                  <a:lnTo>
                    <a:pt x="509" y="1289"/>
                  </a:lnTo>
                  <a:lnTo>
                    <a:pt x="517" y="1287"/>
                  </a:lnTo>
                  <a:lnTo>
                    <a:pt x="524" y="1285"/>
                  </a:lnTo>
                  <a:lnTo>
                    <a:pt x="528" y="1282"/>
                  </a:lnTo>
                  <a:lnTo>
                    <a:pt x="532" y="1279"/>
                  </a:lnTo>
                  <a:lnTo>
                    <a:pt x="536" y="1275"/>
                  </a:lnTo>
                  <a:lnTo>
                    <a:pt x="540" y="1273"/>
                  </a:lnTo>
                  <a:lnTo>
                    <a:pt x="545" y="1271"/>
                  </a:lnTo>
                  <a:lnTo>
                    <a:pt x="552" y="1270"/>
                  </a:lnTo>
                  <a:lnTo>
                    <a:pt x="552" y="1277"/>
                  </a:lnTo>
                  <a:lnTo>
                    <a:pt x="556" y="1283"/>
                  </a:lnTo>
                  <a:lnTo>
                    <a:pt x="560" y="1290"/>
                  </a:lnTo>
                  <a:lnTo>
                    <a:pt x="565" y="1295"/>
                  </a:lnTo>
                  <a:lnTo>
                    <a:pt x="572" y="1299"/>
                  </a:lnTo>
                  <a:lnTo>
                    <a:pt x="579" y="1303"/>
                  </a:lnTo>
                  <a:lnTo>
                    <a:pt x="587" y="1306"/>
                  </a:lnTo>
                  <a:lnTo>
                    <a:pt x="593" y="1306"/>
                  </a:lnTo>
                  <a:lnTo>
                    <a:pt x="603" y="1305"/>
                  </a:lnTo>
                  <a:lnTo>
                    <a:pt x="611" y="1302"/>
                  </a:lnTo>
                  <a:lnTo>
                    <a:pt x="619" y="1298"/>
                  </a:lnTo>
                  <a:lnTo>
                    <a:pt x="625" y="1293"/>
                  </a:lnTo>
                  <a:lnTo>
                    <a:pt x="637" y="1281"/>
                  </a:lnTo>
                  <a:lnTo>
                    <a:pt x="648" y="1270"/>
                  </a:lnTo>
                  <a:lnTo>
                    <a:pt x="640" y="1251"/>
                  </a:lnTo>
                  <a:lnTo>
                    <a:pt x="629" y="1234"/>
                  </a:lnTo>
                  <a:lnTo>
                    <a:pt x="617" y="1218"/>
                  </a:lnTo>
                  <a:lnTo>
                    <a:pt x="604" y="1202"/>
                  </a:lnTo>
                  <a:lnTo>
                    <a:pt x="589" y="1189"/>
                  </a:lnTo>
                  <a:lnTo>
                    <a:pt x="575" y="1176"/>
                  </a:lnTo>
                  <a:lnTo>
                    <a:pt x="559" y="1164"/>
                  </a:lnTo>
                  <a:lnTo>
                    <a:pt x="544" y="1153"/>
                  </a:lnTo>
                  <a:lnTo>
                    <a:pt x="491" y="1121"/>
                  </a:lnTo>
                  <a:lnTo>
                    <a:pt x="467" y="1108"/>
                  </a:lnTo>
                  <a:lnTo>
                    <a:pt x="468" y="1097"/>
                  </a:lnTo>
                  <a:lnTo>
                    <a:pt x="469" y="1085"/>
                  </a:lnTo>
                  <a:lnTo>
                    <a:pt x="473" y="1070"/>
                  </a:lnTo>
                  <a:lnTo>
                    <a:pt x="479" y="1054"/>
                  </a:lnTo>
                  <a:lnTo>
                    <a:pt x="485" y="1037"/>
                  </a:lnTo>
                  <a:lnTo>
                    <a:pt x="492" y="1018"/>
                  </a:lnTo>
                  <a:lnTo>
                    <a:pt x="500" y="1001"/>
                  </a:lnTo>
                  <a:lnTo>
                    <a:pt x="509" y="982"/>
                  </a:lnTo>
                  <a:lnTo>
                    <a:pt x="520" y="965"/>
                  </a:lnTo>
                  <a:lnTo>
                    <a:pt x="532" y="950"/>
                  </a:lnTo>
                  <a:lnTo>
                    <a:pt x="543" y="936"/>
                  </a:lnTo>
                  <a:lnTo>
                    <a:pt x="556" y="924"/>
                  </a:lnTo>
                  <a:lnTo>
                    <a:pt x="563" y="918"/>
                  </a:lnTo>
                  <a:lnTo>
                    <a:pt x="569" y="913"/>
                  </a:lnTo>
                  <a:lnTo>
                    <a:pt x="576" y="909"/>
                  </a:lnTo>
                  <a:lnTo>
                    <a:pt x="583" y="906"/>
                  </a:lnTo>
                  <a:lnTo>
                    <a:pt x="589" y="904"/>
                  </a:lnTo>
                  <a:lnTo>
                    <a:pt x="597" y="902"/>
                  </a:lnTo>
                  <a:lnTo>
                    <a:pt x="604" y="902"/>
                  </a:lnTo>
                  <a:lnTo>
                    <a:pt x="612" y="902"/>
                  </a:lnTo>
                  <a:lnTo>
                    <a:pt x="601" y="926"/>
                  </a:lnTo>
                  <a:lnTo>
                    <a:pt x="592" y="949"/>
                  </a:lnTo>
                  <a:lnTo>
                    <a:pt x="587" y="970"/>
                  </a:lnTo>
                  <a:lnTo>
                    <a:pt x="583" y="990"/>
                  </a:lnTo>
                  <a:lnTo>
                    <a:pt x="580" y="1009"/>
                  </a:lnTo>
                  <a:lnTo>
                    <a:pt x="580" y="1026"/>
                  </a:lnTo>
                  <a:lnTo>
                    <a:pt x="581" y="1044"/>
                  </a:lnTo>
                  <a:lnTo>
                    <a:pt x="585" y="1058"/>
                  </a:lnTo>
                  <a:lnTo>
                    <a:pt x="589" y="1073"/>
                  </a:lnTo>
                  <a:lnTo>
                    <a:pt x="596" y="1088"/>
                  </a:lnTo>
                  <a:lnTo>
                    <a:pt x="603" y="1101"/>
                  </a:lnTo>
                  <a:lnTo>
                    <a:pt x="611" y="1113"/>
                  </a:lnTo>
                  <a:lnTo>
                    <a:pt x="620" y="1124"/>
                  </a:lnTo>
                  <a:lnTo>
                    <a:pt x="631" y="1136"/>
                  </a:lnTo>
                  <a:lnTo>
                    <a:pt x="641" y="1145"/>
                  </a:lnTo>
                  <a:lnTo>
                    <a:pt x="653" y="1156"/>
                  </a:lnTo>
                  <a:lnTo>
                    <a:pt x="677" y="1173"/>
                  </a:lnTo>
                  <a:lnTo>
                    <a:pt x="703" y="1189"/>
                  </a:lnTo>
                  <a:lnTo>
                    <a:pt x="728" y="1205"/>
                  </a:lnTo>
                  <a:lnTo>
                    <a:pt x="752" y="1218"/>
                  </a:lnTo>
                  <a:lnTo>
                    <a:pt x="773" y="1233"/>
                  </a:lnTo>
                  <a:lnTo>
                    <a:pt x="792" y="1246"/>
                  </a:lnTo>
                  <a:lnTo>
                    <a:pt x="800" y="1254"/>
                  </a:lnTo>
                  <a:lnTo>
                    <a:pt x="807" y="1261"/>
                  </a:lnTo>
                  <a:lnTo>
                    <a:pt x="812" y="1269"/>
                  </a:lnTo>
                  <a:lnTo>
                    <a:pt x="816" y="1277"/>
                  </a:lnTo>
                  <a:lnTo>
                    <a:pt x="829" y="1310"/>
                  </a:lnTo>
                  <a:lnTo>
                    <a:pt x="838" y="1341"/>
                  </a:lnTo>
                  <a:lnTo>
                    <a:pt x="845" y="1370"/>
                  </a:lnTo>
                  <a:lnTo>
                    <a:pt x="849" y="1398"/>
                  </a:lnTo>
                  <a:lnTo>
                    <a:pt x="853" y="1451"/>
                  </a:lnTo>
                  <a:lnTo>
                    <a:pt x="856" y="1505"/>
                  </a:lnTo>
                  <a:lnTo>
                    <a:pt x="857" y="1533"/>
                  </a:lnTo>
                  <a:lnTo>
                    <a:pt x="860" y="1563"/>
                  </a:lnTo>
                  <a:lnTo>
                    <a:pt x="864" y="1595"/>
                  </a:lnTo>
                  <a:lnTo>
                    <a:pt x="870" y="1630"/>
                  </a:lnTo>
                  <a:lnTo>
                    <a:pt x="880" y="1669"/>
                  </a:lnTo>
                  <a:lnTo>
                    <a:pt x="893" y="1710"/>
                  </a:lnTo>
                  <a:lnTo>
                    <a:pt x="909" y="1755"/>
                  </a:lnTo>
                  <a:lnTo>
                    <a:pt x="930" y="1806"/>
                  </a:lnTo>
                  <a:lnTo>
                    <a:pt x="945" y="1836"/>
                  </a:lnTo>
                  <a:lnTo>
                    <a:pt x="960" y="1871"/>
                  </a:lnTo>
                  <a:lnTo>
                    <a:pt x="974" y="1911"/>
                  </a:lnTo>
                  <a:lnTo>
                    <a:pt x="990" y="1952"/>
                  </a:lnTo>
                  <a:lnTo>
                    <a:pt x="1005" y="1998"/>
                  </a:lnTo>
                  <a:lnTo>
                    <a:pt x="1020" y="2042"/>
                  </a:lnTo>
                  <a:lnTo>
                    <a:pt x="1033" y="2087"/>
                  </a:lnTo>
                  <a:lnTo>
                    <a:pt x="1045" y="2131"/>
                  </a:lnTo>
                  <a:lnTo>
                    <a:pt x="1052" y="2156"/>
                  </a:lnTo>
                  <a:lnTo>
                    <a:pt x="1058" y="2179"/>
                  </a:lnTo>
                  <a:lnTo>
                    <a:pt x="1062" y="2200"/>
                  </a:lnTo>
                  <a:lnTo>
                    <a:pt x="1065" y="2220"/>
                  </a:lnTo>
                  <a:lnTo>
                    <a:pt x="1068" y="2239"/>
                  </a:lnTo>
                  <a:lnTo>
                    <a:pt x="1068" y="2256"/>
                  </a:lnTo>
                  <a:lnTo>
                    <a:pt x="1068" y="2272"/>
                  </a:lnTo>
                  <a:lnTo>
                    <a:pt x="1068" y="2287"/>
                  </a:lnTo>
                  <a:lnTo>
                    <a:pt x="1064" y="2314"/>
                  </a:lnTo>
                  <a:lnTo>
                    <a:pt x="1058" y="2336"/>
                  </a:lnTo>
                  <a:lnTo>
                    <a:pt x="1053" y="2356"/>
                  </a:lnTo>
                  <a:lnTo>
                    <a:pt x="1046" y="2374"/>
                  </a:lnTo>
                  <a:lnTo>
                    <a:pt x="1041" y="2389"/>
                  </a:lnTo>
                  <a:lnTo>
                    <a:pt x="1038" y="2403"/>
                  </a:lnTo>
                  <a:lnTo>
                    <a:pt x="1038" y="2411"/>
                  </a:lnTo>
                  <a:lnTo>
                    <a:pt x="1038" y="2417"/>
                  </a:lnTo>
                  <a:lnTo>
                    <a:pt x="1040" y="2424"/>
                  </a:lnTo>
                  <a:lnTo>
                    <a:pt x="1041" y="2431"/>
                  </a:lnTo>
                  <a:lnTo>
                    <a:pt x="1045" y="2437"/>
                  </a:lnTo>
                  <a:lnTo>
                    <a:pt x="1050" y="2445"/>
                  </a:lnTo>
                  <a:lnTo>
                    <a:pt x="1056" y="2453"/>
                  </a:lnTo>
                  <a:lnTo>
                    <a:pt x="1064" y="2461"/>
                  </a:lnTo>
                  <a:lnTo>
                    <a:pt x="1084" y="2479"/>
                  </a:lnTo>
                  <a:lnTo>
                    <a:pt x="1112" y="2499"/>
                  </a:lnTo>
                  <a:lnTo>
                    <a:pt x="1120" y="2504"/>
                  </a:lnTo>
                  <a:lnTo>
                    <a:pt x="1126" y="2511"/>
                  </a:lnTo>
                  <a:lnTo>
                    <a:pt x="1133" y="2517"/>
                  </a:lnTo>
                  <a:lnTo>
                    <a:pt x="1138" y="2525"/>
                  </a:lnTo>
                  <a:lnTo>
                    <a:pt x="1144" y="2532"/>
                  </a:lnTo>
                  <a:lnTo>
                    <a:pt x="1146" y="2539"/>
                  </a:lnTo>
                  <a:lnTo>
                    <a:pt x="1150" y="2547"/>
                  </a:lnTo>
                  <a:lnTo>
                    <a:pt x="1153" y="2555"/>
                  </a:lnTo>
                  <a:lnTo>
                    <a:pt x="1160" y="2589"/>
                  </a:lnTo>
                  <a:lnTo>
                    <a:pt x="1166" y="2631"/>
                  </a:lnTo>
                  <a:lnTo>
                    <a:pt x="1172" y="2653"/>
                  </a:lnTo>
                  <a:lnTo>
                    <a:pt x="1178" y="2677"/>
                  </a:lnTo>
                  <a:lnTo>
                    <a:pt x="1184" y="2689"/>
                  </a:lnTo>
                  <a:lnTo>
                    <a:pt x="1189" y="2703"/>
                  </a:lnTo>
                  <a:lnTo>
                    <a:pt x="1196" y="2717"/>
                  </a:lnTo>
                  <a:lnTo>
                    <a:pt x="1204" y="2731"/>
                  </a:lnTo>
                  <a:lnTo>
                    <a:pt x="1213" y="2747"/>
                  </a:lnTo>
                  <a:lnTo>
                    <a:pt x="1222" y="2761"/>
                  </a:lnTo>
                  <a:lnTo>
                    <a:pt x="1234" y="2777"/>
                  </a:lnTo>
                  <a:lnTo>
                    <a:pt x="1248" y="2793"/>
                  </a:lnTo>
                  <a:lnTo>
                    <a:pt x="1262" y="2811"/>
                  </a:lnTo>
                  <a:lnTo>
                    <a:pt x="1278" y="2828"/>
                  </a:lnTo>
                  <a:lnTo>
                    <a:pt x="1296" y="2847"/>
                  </a:lnTo>
                  <a:lnTo>
                    <a:pt x="1316" y="286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accent1">
                  <a:lumMod val="20000"/>
                  <a:lumOff val="8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95" b="0" i="0" u="none" strike="noStrike" kern="1200" cap="none" spc="0" normalizeH="0" baseline="0" noProof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3" name="Freeform 93"/>
            <p:cNvSpPr>
              <a:spLocks/>
            </p:cNvSpPr>
            <p:nvPr/>
          </p:nvSpPr>
          <p:spPr bwMode="auto">
            <a:xfrm>
              <a:off x="5548198" y="2110874"/>
              <a:ext cx="4245" cy="5895"/>
            </a:xfrm>
            <a:custGeom>
              <a:avLst/>
              <a:gdLst>
                <a:gd name="T0" fmla="*/ 48 w 60"/>
                <a:gd name="T1" fmla="*/ 0 h 84"/>
                <a:gd name="T2" fmla="*/ 30 w 60"/>
                <a:gd name="T3" fmla="*/ 0 h 84"/>
                <a:gd name="T4" fmla="*/ 19 w 60"/>
                <a:gd name="T5" fmla="*/ 0 h 84"/>
                <a:gd name="T6" fmla="*/ 14 w 60"/>
                <a:gd name="T7" fmla="*/ 1 h 84"/>
                <a:gd name="T8" fmla="*/ 7 w 60"/>
                <a:gd name="T9" fmla="*/ 4 h 84"/>
                <a:gd name="T10" fmla="*/ 4 w 60"/>
                <a:gd name="T11" fmla="*/ 7 h 84"/>
                <a:gd name="T12" fmla="*/ 3 w 60"/>
                <a:gd name="T13" fmla="*/ 9 h 84"/>
                <a:gd name="T14" fmla="*/ 2 w 60"/>
                <a:gd name="T15" fmla="*/ 13 h 84"/>
                <a:gd name="T16" fmla="*/ 0 w 60"/>
                <a:gd name="T17" fmla="*/ 17 h 84"/>
                <a:gd name="T18" fmla="*/ 2 w 60"/>
                <a:gd name="T19" fmla="*/ 25 h 84"/>
                <a:gd name="T20" fmla="*/ 4 w 60"/>
                <a:gd name="T21" fmla="*/ 36 h 84"/>
                <a:gd name="T22" fmla="*/ 7 w 60"/>
                <a:gd name="T23" fmla="*/ 47 h 84"/>
                <a:gd name="T24" fmla="*/ 12 w 60"/>
                <a:gd name="T25" fmla="*/ 57 h 84"/>
                <a:gd name="T26" fmla="*/ 19 w 60"/>
                <a:gd name="T27" fmla="*/ 68 h 84"/>
                <a:gd name="T28" fmla="*/ 26 w 60"/>
                <a:gd name="T29" fmla="*/ 76 h 84"/>
                <a:gd name="T30" fmla="*/ 30 w 60"/>
                <a:gd name="T31" fmla="*/ 80 h 84"/>
                <a:gd name="T32" fmla="*/ 34 w 60"/>
                <a:gd name="T33" fmla="*/ 81 h 84"/>
                <a:gd name="T34" fmla="*/ 38 w 60"/>
                <a:gd name="T35" fmla="*/ 84 h 84"/>
                <a:gd name="T36" fmla="*/ 43 w 60"/>
                <a:gd name="T37" fmla="*/ 84 h 84"/>
                <a:gd name="T38" fmla="*/ 47 w 60"/>
                <a:gd name="T39" fmla="*/ 83 h 84"/>
                <a:gd name="T40" fmla="*/ 51 w 60"/>
                <a:gd name="T41" fmla="*/ 80 h 84"/>
                <a:gd name="T42" fmla="*/ 54 w 60"/>
                <a:gd name="T43" fmla="*/ 76 h 84"/>
                <a:gd name="T44" fmla="*/ 56 w 60"/>
                <a:gd name="T45" fmla="*/ 71 h 84"/>
                <a:gd name="T46" fmla="*/ 59 w 60"/>
                <a:gd name="T47" fmla="*/ 61 h 84"/>
                <a:gd name="T48" fmla="*/ 60 w 60"/>
                <a:gd name="T49" fmla="*/ 53 h 84"/>
                <a:gd name="T50" fmla="*/ 60 w 60"/>
                <a:gd name="T51" fmla="*/ 43 h 84"/>
                <a:gd name="T52" fmla="*/ 56 w 60"/>
                <a:gd name="T53" fmla="*/ 33 h 84"/>
                <a:gd name="T54" fmla="*/ 54 w 60"/>
                <a:gd name="T55" fmla="*/ 27 h 84"/>
                <a:gd name="T56" fmla="*/ 48 w 60"/>
                <a:gd name="T57" fmla="*/ 17 h 84"/>
                <a:gd name="T58" fmla="*/ 48 w 60"/>
                <a:gd name="T59" fmla="*/ 0 h 84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60"/>
                <a:gd name="T91" fmla="*/ 0 h 84"/>
                <a:gd name="T92" fmla="*/ 60 w 60"/>
                <a:gd name="T93" fmla="*/ 84 h 84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60" h="84">
                  <a:moveTo>
                    <a:pt x="48" y="0"/>
                  </a:moveTo>
                  <a:lnTo>
                    <a:pt x="30" y="0"/>
                  </a:lnTo>
                  <a:lnTo>
                    <a:pt x="19" y="0"/>
                  </a:lnTo>
                  <a:lnTo>
                    <a:pt x="14" y="1"/>
                  </a:lnTo>
                  <a:lnTo>
                    <a:pt x="7" y="4"/>
                  </a:lnTo>
                  <a:lnTo>
                    <a:pt x="4" y="7"/>
                  </a:lnTo>
                  <a:lnTo>
                    <a:pt x="3" y="9"/>
                  </a:lnTo>
                  <a:lnTo>
                    <a:pt x="2" y="13"/>
                  </a:lnTo>
                  <a:lnTo>
                    <a:pt x="0" y="17"/>
                  </a:lnTo>
                  <a:lnTo>
                    <a:pt x="2" y="25"/>
                  </a:lnTo>
                  <a:lnTo>
                    <a:pt x="4" y="36"/>
                  </a:lnTo>
                  <a:lnTo>
                    <a:pt x="7" y="47"/>
                  </a:lnTo>
                  <a:lnTo>
                    <a:pt x="12" y="57"/>
                  </a:lnTo>
                  <a:lnTo>
                    <a:pt x="19" y="68"/>
                  </a:lnTo>
                  <a:lnTo>
                    <a:pt x="26" y="76"/>
                  </a:lnTo>
                  <a:lnTo>
                    <a:pt x="30" y="80"/>
                  </a:lnTo>
                  <a:lnTo>
                    <a:pt x="34" y="81"/>
                  </a:lnTo>
                  <a:lnTo>
                    <a:pt x="38" y="84"/>
                  </a:lnTo>
                  <a:lnTo>
                    <a:pt x="43" y="84"/>
                  </a:lnTo>
                  <a:lnTo>
                    <a:pt x="47" y="83"/>
                  </a:lnTo>
                  <a:lnTo>
                    <a:pt x="51" y="80"/>
                  </a:lnTo>
                  <a:lnTo>
                    <a:pt x="54" y="76"/>
                  </a:lnTo>
                  <a:lnTo>
                    <a:pt x="56" y="71"/>
                  </a:lnTo>
                  <a:lnTo>
                    <a:pt x="59" y="61"/>
                  </a:lnTo>
                  <a:lnTo>
                    <a:pt x="60" y="53"/>
                  </a:lnTo>
                  <a:lnTo>
                    <a:pt x="60" y="43"/>
                  </a:lnTo>
                  <a:lnTo>
                    <a:pt x="56" y="33"/>
                  </a:lnTo>
                  <a:lnTo>
                    <a:pt x="54" y="27"/>
                  </a:lnTo>
                  <a:lnTo>
                    <a:pt x="48" y="17"/>
                  </a:lnTo>
                  <a:lnTo>
                    <a:pt x="48" y="0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accent1">
                  <a:lumMod val="20000"/>
                  <a:lumOff val="8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95" b="0" i="0" u="none" strike="noStrike" kern="1200" cap="none" spc="0" normalizeH="0" baseline="0" noProof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4" name="Freeform 94"/>
            <p:cNvSpPr>
              <a:spLocks/>
            </p:cNvSpPr>
            <p:nvPr/>
          </p:nvSpPr>
          <p:spPr bwMode="auto">
            <a:xfrm>
              <a:off x="5512118" y="2102857"/>
              <a:ext cx="5188" cy="8018"/>
            </a:xfrm>
            <a:custGeom>
              <a:avLst/>
              <a:gdLst>
                <a:gd name="T0" fmla="*/ 60 w 72"/>
                <a:gd name="T1" fmla="*/ 49 h 109"/>
                <a:gd name="T2" fmla="*/ 58 w 72"/>
                <a:gd name="T3" fmla="*/ 42 h 109"/>
                <a:gd name="T4" fmla="*/ 55 w 72"/>
                <a:gd name="T5" fmla="*/ 30 h 109"/>
                <a:gd name="T6" fmla="*/ 51 w 72"/>
                <a:gd name="T7" fmla="*/ 26 h 109"/>
                <a:gd name="T8" fmla="*/ 46 w 72"/>
                <a:gd name="T9" fmla="*/ 21 h 109"/>
                <a:gd name="T10" fmla="*/ 39 w 72"/>
                <a:gd name="T11" fmla="*/ 17 h 109"/>
                <a:gd name="T12" fmla="*/ 32 w 72"/>
                <a:gd name="T13" fmla="*/ 13 h 109"/>
                <a:gd name="T14" fmla="*/ 16 w 72"/>
                <a:gd name="T15" fmla="*/ 6 h 109"/>
                <a:gd name="T16" fmla="*/ 0 w 72"/>
                <a:gd name="T17" fmla="*/ 0 h 109"/>
                <a:gd name="T18" fmla="*/ 0 w 72"/>
                <a:gd name="T19" fmla="*/ 9 h 109"/>
                <a:gd name="T20" fmla="*/ 0 w 72"/>
                <a:gd name="T21" fmla="*/ 18 h 109"/>
                <a:gd name="T22" fmla="*/ 2 w 72"/>
                <a:gd name="T23" fmla="*/ 28 h 109"/>
                <a:gd name="T24" fmla="*/ 7 w 72"/>
                <a:gd name="T25" fmla="*/ 40 h 109"/>
                <a:gd name="T26" fmla="*/ 15 w 72"/>
                <a:gd name="T27" fmla="*/ 54 h 109"/>
                <a:gd name="T28" fmla="*/ 23 w 72"/>
                <a:gd name="T29" fmla="*/ 70 h 109"/>
                <a:gd name="T30" fmla="*/ 32 w 72"/>
                <a:gd name="T31" fmla="*/ 85 h 109"/>
                <a:gd name="T32" fmla="*/ 42 w 72"/>
                <a:gd name="T33" fmla="*/ 97 h 109"/>
                <a:gd name="T34" fmla="*/ 46 w 72"/>
                <a:gd name="T35" fmla="*/ 102 h 109"/>
                <a:gd name="T36" fmla="*/ 48 w 72"/>
                <a:gd name="T37" fmla="*/ 105 h 109"/>
                <a:gd name="T38" fmla="*/ 52 w 72"/>
                <a:gd name="T39" fmla="*/ 108 h 109"/>
                <a:gd name="T40" fmla="*/ 55 w 72"/>
                <a:gd name="T41" fmla="*/ 109 h 109"/>
                <a:gd name="T42" fmla="*/ 60 w 72"/>
                <a:gd name="T43" fmla="*/ 108 h 109"/>
                <a:gd name="T44" fmla="*/ 66 w 72"/>
                <a:gd name="T45" fmla="*/ 106 h 109"/>
                <a:gd name="T46" fmla="*/ 68 w 72"/>
                <a:gd name="T47" fmla="*/ 102 h 109"/>
                <a:gd name="T48" fmla="*/ 71 w 72"/>
                <a:gd name="T49" fmla="*/ 98 h 109"/>
                <a:gd name="T50" fmla="*/ 72 w 72"/>
                <a:gd name="T51" fmla="*/ 90 h 109"/>
                <a:gd name="T52" fmla="*/ 72 w 72"/>
                <a:gd name="T53" fmla="*/ 85 h 109"/>
                <a:gd name="T54" fmla="*/ 72 w 72"/>
                <a:gd name="T55" fmla="*/ 77 h 109"/>
                <a:gd name="T56" fmla="*/ 70 w 72"/>
                <a:gd name="T57" fmla="*/ 64 h 109"/>
                <a:gd name="T58" fmla="*/ 67 w 72"/>
                <a:gd name="T59" fmla="*/ 58 h 109"/>
                <a:gd name="T60" fmla="*/ 66 w 72"/>
                <a:gd name="T61" fmla="*/ 53 h 109"/>
                <a:gd name="T62" fmla="*/ 63 w 72"/>
                <a:gd name="T63" fmla="*/ 50 h 109"/>
                <a:gd name="T64" fmla="*/ 60 w 72"/>
                <a:gd name="T65" fmla="*/ 49 h 109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72"/>
                <a:gd name="T100" fmla="*/ 0 h 109"/>
                <a:gd name="T101" fmla="*/ 72 w 72"/>
                <a:gd name="T102" fmla="*/ 109 h 109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72" h="109">
                  <a:moveTo>
                    <a:pt x="60" y="49"/>
                  </a:moveTo>
                  <a:lnTo>
                    <a:pt x="58" y="42"/>
                  </a:lnTo>
                  <a:lnTo>
                    <a:pt x="55" y="30"/>
                  </a:lnTo>
                  <a:lnTo>
                    <a:pt x="51" y="26"/>
                  </a:lnTo>
                  <a:lnTo>
                    <a:pt x="46" y="21"/>
                  </a:lnTo>
                  <a:lnTo>
                    <a:pt x="39" y="17"/>
                  </a:lnTo>
                  <a:lnTo>
                    <a:pt x="32" y="13"/>
                  </a:lnTo>
                  <a:lnTo>
                    <a:pt x="16" y="6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8"/>
                  </a:lnTo>
                  <a:lnTo>
                    <a:pt x="2" y="28"/>
                  </a:lnTo>
                  <a:lnTo>
                    <a:pt x="7" y="40"/>
                  </a:lnTo>
                  <a:lnTo>
                    <a:pt x="15" y="54"/>
                  </a:lnTo>
                  <a:lnTo>
                    <a:pt x="23" y="70"/>
                  </a:lnTo>
                  <a:lnTo>
                    <a:pt x="32" y="85"/>
                  </a:lnTo>
                  <a:lnTo>
                    <a:pt x="42" y="97"/>
                  </a:lnTo>
                  <a:lnTo>
                    <a:pt x="46" y="102"/>
                  </a:lnTo>
                  <a:lnTo>
                    <a:pt x="48" y="105"/>
                  </a:lnTo>
                  <a:lnTo>
                    <a:pt x="52" y="108"/>
                  </a:lnTo>
                  <a:lnTo>
                    <a:pt x="55" y="109"/>
                  </a:lnTo>
                  <a:lnTo>
                    <a:pt x="60" y="108"/>
                  </a:lnTo>
                  <a:lnTo>
                    <a:pt x="66" y="106"/>
                  </a:lnTo>
                  <a:lnTo>
                    <a:pt x="68" y="102"/>
                  </a:lnTo>
                  <a:lnTo>
                    <a:pt x="71" y="98"/>
                  </a:lnTo>
                  <a:lnTo>
                    <a:pt x="72" y="90"/>
                  </a:lnTo>
                  <a:lnTo>
                    <a:pt x="72" y="85"/>
                  </a:lnTo>
                  <a:lnTo>
                    <a:pt x="72" y="77"/>
                  </a:lnTo>
                  <a:lnTo>
                    <a:pt x="70" y="64"/>
                  </a:lnTo>
                  <a:lnTo>
                    <a:pt x="67" y="58"/>
                  </a:lnTo>
                  <a:lnTo>
                    <a:pt x="66" y="53"/>
                  </a:lnTo>
                  <a:lnTo>
                    <a:pt x="63" y="50"/>
                  </a:lnTo>
                  <a:lnTo>
                    <a:pt x="60" y="49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accent1">
                  <a:lumMod val="20000"/>
                  <a:lumOff val="8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95" b="0" i="0" u="none" strike="noStrike" kern="1200" cap="none" spc="0" normalizeH="0" baseline="0" noProof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5" name="Freeform 100"/>
            <p:cNvSpPr>
              <a:spLocks/>
            </p:cNvSpPr>
            <p:nvPr/>
          </p:nvSpPr>
          <p:spPr bwMode="auto">
            <a:xfrm>
              <a:off x="5415906" y="2069843"/>
              <a:ext cx="314812" cy="390273"/>
            </a:xfrm>
            <a:custGeom>
              <a:avLst/>
              <a:gdLst>
                <a:gd name="T0" fmla="*/ 4098 w 4371"/>
                <a:gd name="T1" fmla="*/ 2415 h 5420"/>
                <a:gd name="T2" fmla="*/ 4030 w 4371"/>
                <a:gd name="T3" fmla="*/ 2039 h 5420"/>
                <a:gd name="T4" fmla="*/ 4047 w 4371"/>
                <a:gd name="T5" fmla="*/ 1887 h 5420"/>
                <a:gd name="T6" fmla="*/ 4228 w 4371"/>
                <a:gd name="T7" fmla="*/ 1771 h 5420"/>
                <a:gd name="T8" fmla="*/ 4323 w 4371"/>
                <a:gd name="T9" fmla="*/ 1551 h 5420"/>
                <a:gd name="T10" fmla="*/ 4202 w 4371"/>
                <a:gd name="T11" fmla="*/ 1296 h 5420"/>
                <a:gd name="T12" fmla="*/ 4146 w 4371"/>
                <a:gd name="T13" fmla="*/ 1152 h 5420"/>
                <a:gd name="T14" fmla="*/ 4268 w 4371"/>
                <a:gd name="T15" fmla="*/ 950 h 5420"/>
                <a:gd name="T16" fmla="*/ 4370 w 4371"/>
                <a:gd name="T17" fmla="*/ 801 h 5420"/>
                <a:gd name="T18" fmla="*/ 4135 w 4371"/>
                <a:gd name="T19" fmla="*/ 664 h 5420"/>
                <a:gd name="T20" fmla="*/ 3965 w 4371"/>
                <a:gd name="T21" fmla="*/ 531 h 5420"/>
                <a:gd name="T22" fmla="*/ 4062 w 4371"/>
                <a:gd name="T23" fmla="*/ 239 h 5420"/>
                <a:gd name="T24" fmla="*/ 3903 w 4371"/>
                <a:gd name="T25" fmla="*/ 8 h 5420"/>
                <a:gd name="T26" fmla="*/ 3958 w 4371"/>
                <a:gd name="T27" fmla="*/ 224 h 5420"/>
                <a:gd name="T28" fmla="*/ 3649 w 4371"/>
                <a:gd name="T29" fmla="*/ 146 h 5420"/>
                <a:gd name="T30" fmla="*/ 3306 w 4371"/>
                <a:gd name="T31" fmla="*/ 108 h 5420"/>
                <a:gd name="T32" fmla="*/ 3100 w 4371"/>
                <a:gd name="T33" fmla="*/ 520 h 5420"/>
                <a:gd name="T34" fmla="*/ 2777 w 4371"/>
                <a:gd name="T35" fmla="*/ 501 h 5420"/>
                <a:gd name="T36" fmla="*/ 2553 w 4371"/>
                <a:gd name="T37" fmla="*/ 648 h 5420"/>
                <a:gd name="T38" fmla="*/ 2508 w 4371"/>
                <a:gd name="T39" fmla="*/ 680 h 5420"/>
                <a:gd name="T40" fmla="*/ 2457 w 4371"/>
                <a:gd name="T41" fmla="*/ 631 h 5420"/>
                <a:gd name="T42" fmla="*/ 2148 w 4371"/>
                <a:gd name="T43" fmla="*/ 879 h 5420"/>
                <a:gd name="T44" fmla="*/ 2169 w 4371"/>
                <a:gd name="T45" fmla="*/ 1009 h 5420"/>
                <a:gd name="T46" fmla="*/ 2144 w 4371"/>
                <a:gd name="T47" fmla="*/ 1217 h 5420"/>
                <a:gd name="T48" fmla="*/ 1996 w 4371"/>
                <a:gd name="T49" fmla="*/ 1328 h 5420"/>
                <a:gd name="T50" fmla="*/ 1759 w 4371"/>
                <a:gd name="T51" fmla="*/ 1458 h 5420"/>
                <a:gd name="T52" fmla="*/ 1627 w 4371"/>
                <a:gd name="T53" fmla="*/ 1703 h 5420"/>
                <a:gd name="T54" fmla="*/ 1406 w 4371"/>
                <a:gd name="T55" fmla="*/ 1406 h 5420"/>
                <a:gd name="T56" fmla="*/ 1121 w 4371"/>
                <a:gd name="T57" fmla="*/ 1373 h 5420"/>
                <a:gd name="T58" fmla="*/ 961 w 4371"/>
                <a:gd name="T59" fmla="*/ 1511 h 5420"/>
                <a:gd name="T60" fmla="*/ 691 w 4371"/>
                <a:gd name="T61" fmla="*/ 1706 h 5420"/>
                <a:gd name="T62" fmla="*/ 301 w 4371"/>
                <a:gd name="T63" fmla="*/ 1707 h 5420"/>
                <a:gd name="T64" fmla="*/ 96 w 4371"/>
                <a:gd name="T65" fmla="*/ 1718 h 5420"/>
                <a:gd name="T66" fmla="*/ 133 w 4371"/>
                <a:gd name="T67" fmla="*/ 1995 h 5420"/>
                <a:gd name="T68" fmla="*/ 338 w 4371"/>
                <a:gd name="T69" fmla="*/ 2306 h 5420"/>
                <a:gd name="T70" fmla="*/ 225 w 4371"/>
                <a:gd name="T71" fmla="*/ 2729 h 5420"/>
                <a:gd name="T72" fmla="*/ 29 w 4371"/>
                <a:gd name="T73" fmla="*/ 2913 h 5420"/>
                <a:gd name="T74" fmla="*/ 118 w 4371"/>
                <a:gd name="T75" fmla="*/ 3544 h 5420"/>
                <a:gd name="T76" fmla="*/ 178 w 4371"/>
                <a:gd name="T77" fmla="*/ 3756 h 5420"/>
                <a:gd name="T78" fmla="*/ 234 w 4371"/>
                <a:gd name="T79" fmla="*/ 4083 h 5420"/>
                <a:gd name="T80" fmla="*/ 562 w 4371"/>
                <a:gd name="T81" fmla="*/ 4226 h 5420"/>
                <a:gd name="T82" fmla="*/ 698 w 4371"/>
                <a:gd name="T83" fmla="*/ 4436 h 5420"/>
                <a:gd name="T84" fmla="*/ 825 w 4371"/>
                <a:gd name="T85" fmla="*/ 4672 h 5420"/>
                <a:gd name="T86" fmla="*/ 945 w 4371"/>
                <a:gd name="T87" fmla="*/ 5059 h 5420"/>
                <a:gd name="T88" fmla="*/ 1071 w 4371"/>
                <a:gd name="T89" fmla="*/ 5385 h 5420"/>
                <a:gd name="T90" fmla="*/ 1352 w 4371"/>
                <a:gd name="T91" fmla="*/ 5281 h 5420"/>
                <a:gd name="T92" fmla="*/ 1538 w 4371"/>
                <a:gd name="T93" fmla="*/ 4858 h 5420"/>
                <a:gd name="T94" fmla="*/ 1812 w 4371"/>
                <a:gd name="T95" fmla="*/ 4938 h 5420"/>
                <a:gd name="T96" fmla="*/ 2053 w 4371"/>
                <a:gd name="T97" fmla="*/ 5041 h 5420"/>
                <a:gd name="T98" fmla="*/ 2361 w 4371"/>
                <a:gd name="T99" fmla="*/ 5403 h 5420"/>
                <a:gd name="T100" fmla="*/ 2806 w 4371"/>
                <a:gd name="T101" fmla="*/ 5343 h 5420"/>
                <a:gd name="T102" fmla="*/ 3190 w 4371"/>
                <a:gd name="T103" fmla="*/ 5351 h 5420"/>
                <a:gd name="T104" fmla="*/ 3591 w 4371"/>
                <a:gd name="T105" fmla="*/ 5177 h 5420"/>
                <a:gd name="T106" fmla="*/ 3815 w 4371"/>
                <a:gd name="T107" fmla="*/ 4707 h 5420"/>
                <a:gd name="T108" fmla="*/ 3658 w 4371"/>
                <a:gd name="T109" fmla="*/ 4462 h 5420"/>
                <a:gd name="T110" fmla="*/ 3619 w 4371"/>
                <a:gd name="T111" fmla="*/ 4087 h 5420"/>
                <a:gd name="T112" fmla="*/ 3811 w 4371"/>
                <a:gd name="T113" fmla="*/ 3833 h 5420"/>
                <a:gd name="T114" fmla="*/ 3971 w 4371"/>
                <a:gd name="T115" fmla="*/ 3642 h 5420"/>
                <a:gd name="T116" fmla="*/ 3841 w 4371"/>
                <a:gd name="T117" fmla="*/ 3377 h 5420"/>
                <a:gd name="T118" fmla="*/ 3810 w 4371"/>
                <a:gd name="T119" fmla="*/ 2968 h 5420"/>
                <a:gd name="T120" fmla="*/ 4019 w 4371"/>
                <a:gd name="T121" fmla="*/ 2849 h 5420"/>
                <a:gd name="T122" fmla="*/ 4244 w 4371"/>
                <a:gd name="T123" fmla="*/ 2713 h 542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4371"/>
                <a:gd name="T187" fmla="*/ 0 h 5420"/>
                <a:gd name="T188" fmla="*/ 4371 w 4371"/>
                <a:gd name="T189" fmla="*/ 5420 h 542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4371" h="5420">
                  <a:moveTo>
                    <a:pt x="4208" y="2608"/>
                  </a:moveTo>
                  <a:lnTo>
                    <a:pt x="4208" y="2600"/>
                  </a:lnTo>
                  <a:lnTo>
                    <a:pt x="4207" y="2592"/>
                  </a:lnTo>
                  <a:lnTo>
                    <a:pt x="4206" y="2586"/>
                  </a:lnTo>
                  <a:lnTo>
                    <a:pt x="4203" y="2579"/>
                  </a:lnTo>
                  <a:lnTo>
                    <a:pt x="4198" y="2567"/>
                  </a:lnTo>
                  <a:lnTo>
                    <a:pt x="4191" y="2556"/>
                  </a:lnTo>
                  <a:lnTo>
                    <a:pt x="4185" y="2548"/>
                  </a:lnTo>
                  <a:lnTo>
                    <a:pt x="4178" y="2539"/>
                  </a:lnTo>
                  <a:lnTo>
                    <a:pt x="4177" y="2534"/>
                  </a:lnTo>
                  <a:lnTo>
                    <a:pt x="4174" y="2530"/>
                  </a:lnTo>
                  <a:lnTo>
                    <a:pt x="4173" y="2524"/>
                  </a:lnTo>
                  <a:lnTo>
                    <a:pt x="4173" y="2519"/>
                  </a:lnTo>
                  <a:lnTo>
                    <a:pt x="4173" y="2515"/>
                  </a:lnTo>
                  <a:lnTo>
                    <a:pt x="4173" y="2504"/>
                  </a:lnTo>
                  <a:lnTo>
                    <a:pt x="4173" y="2491"/>
                  </a:lnTo>
                  <a:lnTo>
                    <a:pt x="4173" y="2476"/>
                  </a:lnTo>
                  <a:lnTo>
                    <a:pt x="4173" y="2468"/>
                  </a:lnTo>
                  <a:lnTo>
                    <a:pt x="4170" y="2460"/>
                  </a:lnTo>
                  <a:lnTo>
                    <a:pt x="4166" y="2455"/>
                  </a:lnTo>
                  <a:lnTo>
                    <a:pt x="4161" y="2448"/>
                  </a:lnTo>
                  <a:lnTo>
                    <a:pt x="4149" y="2440"/>
                  </a:lnTo>
                  <a:lnTo>
                    <a:pt x="4134" y="2432"/>
                  </a:lnTo>
                  <a:lnTo>
                    <a:pt x="4119" y="2426"/>
                  </a:lnTo>
                  <a:lnTo>
                    <a:pt x="4105" y="2419"/>
                  </a:lnTo>
                  <a:lnTo>
                    <a:pt x="4098" y="2415"/>
                  </a:lnTo>
                  <a:lnTo>
                    <a:pt x="4091" y="2410"/>
                  </a:lnTo>
                  <a:lnTo>
                    <a:pt x="4086" y="2404"/>
                  </a:lnTo>
                  <a:lnTo>
                    <a:pt x="4082" y="2398"/>
                  </a:lnTo>
                  <a:lnTo>
                    <a:pt x="4066" y="2371"/>
                  </a:lnTo>
                  <a:lnTo>
                    <a:pt x="4047" y="2346"/>
                  </a:lnTo>
                  <a:lnTo>
                    <a:pt x="4030" y="2323"/>
                  </a:lnTo>
                  <a:lnTo>
                    <a:pt x="4013" y="2299"/>
                  </a:lnTo>
                  <a:lnTo>
                    <a:pt x="4005" y="2286"/>
                  </a:lnTo>
                  <a:lnTo>
                    <a:pt x="3997" y="2272"/>
                  </a:lnTo>
                  <a:lnTo>
                    <a:pt x="3991" y="2258"/>
                  </a:lnTo>
                  <a:lnTo>
                    <a:pt x="3985" y="2242"/>
                  </a:lnTo>
                  <a:lnTo>
                    <a:pt x="3981" y="2226"/>
                  </a:lnTo>
                  <a:lnTo>
                    <a:pt x="3977" y="2207"/>
                  </a:lnTo>
                  <a:lnTo>
                    <a:pt x="3975" y="2186"/>
                  </a:lnTo>
                  <a:lnTo>
                    <a:pt x="3974" y="2163"/>
                  </a:lnTo>
                  <a:lnTo>
                    <a:pt x="3974" y="2152"/>
                  </a:lnTo>
                  <a:lnTo>
                    <a:pt x="3975" y="2143"/>
                  </a:lnTo>
                  <a:lnTo>
                    <a:pt x="3978" y="2132"/>
                  </a:lnTo>
                  <a:lnTo>
                    <a:pt x="3981" y="2122"/>
                  </a:lnTo>
                  <a:lnTo>
                    <a:pt x="3987" y="2100"/>
                  </a:lnTo>
                  <a:lnTo>
                    <a:pt x="3998" y="2081"/>
                  </a:lnTo>
                  <a:lnTo>
                    <a:pt x="4003" y="2071"/>
                  </a:lnTo>
                  <a:lnTo>
                    <a:pt x="4009" y="2062"/>
                  </a:lnTo>
                  <a:lnTo>
                    <a:pt x="4015" y="2054"/>
                  </a:lnTo>
                  <a:lnTo>
                    <a:pt x="4022" y="2046"/>
                  </a:lnTo>
                  <a:lnTo>
                    <a:pt x="4030" y="2039"/>
                  </a:lnTo>
                  <a:lnTo>
                    <a:pt x="4037" y="2034"/>
                  </a:lnTo>
                  <a:lnTo>
                    <a:pt x="4045" y="2029"/>
                  </a:lnTo>
                  <a:lnTo>
                    <a:pt x="4053" y="2025"/>
                  </a:lnTo>
                  <a:lnTo>
                    <a:pt x="4075" y="2021"/>
                  </a:lnTo>
                  <a:lnTo>
                    <a:pt x="4090" y="2018"/>
                  </a:lnTo>
                  <a:lnTo>
                    <a:pt x="4093" y="2017"/>
                  </a:lnTo>
                  <a:lnTo>
                    <a:pt x="4095" y="2015"/>
                  </a:lnTo>
                  <a:lnTo>
                    <a:pt x="4097" y="2014"/>
                  </a:lnTo>
                  <a:lnTo>
                    <a:pt x="4098" y="2010"/>
                  </a:lnTo>
                  <a:lnTo>
                    <a:pt x="4099" y="2002"/>
                  </a:lnTo>
                  <a:lnTo>
                    <a:pt x="4101" y="1989"/>
                  </a:lnTo>
                  <a:lnTo>
                    <a:pt x="4099" y="1981"/>
                  </a:lnTo>
                  <a:lnTo>
                    <a:pt x="4098" y="1973"/>
                  </a:lnTo>
                  <a:lnTo>
                    <a:pt x="4095" y="1966"/>
                  </a:lnTo>
                  <a:lnTo>
                    <a:pt x="4091" y="1961"/>
                  </a:lnTo>
                  <a:lnTo>
                    <a:pt x="4082" y="1951"/>
                  </a:lnTo>
                  <a:lnTo>
                    <a:pt x="4070" y="1943"/>
                  </a:lnTo>
                  <a:lnTo>
                    <a:pt x="4059" y="1935"/>
                  </a:lnTo>
                  <a:lnTo>
                    <a:pt x="4050" y="1929"/>
                  </a:lnTo>
                  <a:lnTo>
                    <a:pt x="4046" y="1925"/>
                  </a:lnTo>
                  <a:lnTo>
                    <a:pt x="4043" y="1921"/>
                  </a:lnTo>
                  <a:lnTo>
                    <a:pt x="4041" y="1915"/>
                  </a:lnTo>
                  <a:lnTo>
                    <a:pt x="4041" y="1910"/>
                  </a:lnTo>
                  <a:lnTo>
                    <a:pt x="4041" y="1902"/>
                  </a:lnTo>
                  <a:lnTo>
                    <a:pt x="4043" y="1894"/>
                  </a:lnTo>
                  <a:lnTo>
                    <a:pt x="4047" y="1887"/>
                  </a:lnTo>
                  <a:lnTo>
                    <a:pt x="4051" y="1881"/>
                  </a:lnTo>
                  <a:lnTo>
                    <a:pt x="4065" y="1870"/>
                  </a:lnTo>
                  <a:lnTo>
                    <a:pt x="4079" y="1859"/>
                  </a:lnTo>
                  <a:lnTo>
                    <a:pt x="4094" y="1849"/>
                  </a:lnTo>
                  <a:lnTo>
                    <a:pt x="4109" y="1838"/>
                  </a:lnTo>
                  <a:lnTo>
                    <a:pt x="4115" y="1831"/>
                  </a:lnTo>
                  <a:lnTo>
                    <a:pt x="4122" y="1825"/>
                  </a:lnTo>
                  <a:lnTo>
                    <a:pt x="4126" y="1817"/>
                  </a:lnTo>
                  <a:lnTo>
                    <a:pt x="4130" y="1809"/>
                  </a:lnTo>
                  <a:lnTo>
                    <a:pt x="4134" y="1794"/>
                  </a:lnTo>
                  <a:lnTo>
                    <a:pt x="4138" y="1777"/>
                  </a:lnTo>
                  <a:lnTo>
                    <a:pt x="4141" y="1767"/>
                  </a:lnTo>
                  <a:lnTo>
                    <a:pt x="4145" y="1761"/>
                  </a:lnTo>
                  <a:lnTo>
                    <a:pt x="4146" y="1758"/>
                  </a:lnTo>
                  <a:lnTo>
                    <a:pt x="4149" y="1755"/>
                  </a:lnTo>
                  <a:lnTo>
                    <a:pt x="4151" y="1754"/>
                  </a:lnTo>
                  <a:lnTo>
                    <a:pt x="4155" y="1754"/>
                  </a:lnTo>
                  <a:lnTo>
                    <a:pt x="4165" y="1754"/>
                  </a:lnTo>
                  <a:lnTo>
                    <a:pt x="4173" y="1757"/>
                  </a:lnTo>
                  <a:lnTo>
                    <a:pt x="4179" y="1759"/>
                  </a:lnTo>
                  <a:lnTo>
                    <a:pt x="4186" y="1763"/>
                  </a:lnTo>
                  <a:lnTo>
                    <a:pt x="4193" y="1766"/>
                  </a:lnTo>
                  <a:lnTo>
                    <a:pt x="4199" y="1769"/>
                  </a:lnTo>
                  <a:lnTo>
                    <a:pt x="4208" y="1771"/>
                  </a:lnTo>
                  <a:lnTo>
                    <a:pt x="4220" y="1771"/>
                  </a:lnTo>
                  <a:lnTo>
                    <a:pt x="4228" y="1771"/>
                  </a:lnTo>
                  <a:lnTo>
                    <a:pt x="4236" y="1770"/>
                  </a:lnTo>
                  <a:lnTo>
                    <a:pt x="4243" y="1769"/>
                  </a:lnTo>
                  <a:lnTo>
                    <a:pt x="4248" y="1765"/>
                  </a:lnTo>
                  <a:lnTo>
                    <a:pt x="4254" y="1762"/>
                  </a:lnTo>
                  <a:lnTo>
                    <a:pt x="4258" y="1757"/>
                  </a:lnTo>
                  <a:lnTo>
                    <a:pt x="4262" y="1753"/>
                  </a:lnTo>
                  <a:lnTo>
                    <a:pt x="4266" y="1747"/>
                  </a:lnTo>
                  <a:lnTo>
                    <a:pt x="4271" y="1734"/>
                  </a:lnTo>
                  <a:lnTo>
                    <a:pt x="4276" y="1721"/>
                  </a:lnTo>
                  <a:lnTo>
                    <a:pt x="4279" y="1705"/>
                  </a:lnTo>
                  <a:lnTo>
                    <a:pt x="4283" y="1689"/>
                  </a:lnTo>
                  <a:lnTo>
                    <a:pt x="4286" y="1673"/>
                  </a:lnTo>
                  <a:lnTo>
                    <a:pt x="4288" y="1657"/>
                  </a:lnTo>
                  <a:lnTo>
                    <a:pt x="4292" y="1639"/>
                  </a:lnTo>
                  <a:lnTo>
                    <a:pt x="4296" y="1625"/>
                  </a:lnTo>
                  <a:lnTo>
                    <a:pt x="4303" y="1610"/>
                  </a:lnTo>
                  <a:lnTo>
                    <a:pt x="4311" y="1598"/>
                  </a:lnTo>
                  <a:lnTo>
                    <a:pt x="4316" y="1593"/>
                  </a:lnTo>
                  <a:lnTo>
                    <a:pt x="4322" y="1587"/>
                  </a:lnTo>
                  <a:lnTo>
                    <a:pt x="4328" y="1583"/>
                  </a:lnTo>
                  <a:lnTo>
                    <a:pt x="4335" y="1579"/>
                  </a:lnTo>
                  <a:lnTo>
                    <a:pt x="4335" y="1573"/>
                  </a:lnTo>
                  <a:lnTo>
                    <a:pt x="4332" y="1566"/>
                  </a:lnTo>
                  <a:lnTo>
                    <a:pt x="4330" y="1561"/>
                  </a:lnTo>
                  <a:lnTo>
                    <a:pt x="4326" y="1555"/>
                  </a:lnTo>
                  <a:lnTo>
                    <a:pt x="4323" y="1551"/>
                  </a:lnTo>
                  <a:lnTo>
                    <a:pt x="4320" y="1546"/>
                  </a:lnTo>
                  <a:lnTo>
                    <a:pt x="4318" y="1542"/>
                  </a:lnTo>
                  <a:lnTo>
                    <a:pt x="4318" y="1537"/>
                  </a:lnTo>
                  <a:lnTo>
                    <a:pt x="4316" y="1526"/>
                  </a:lnTo>
                  <a:lnTo>
                    <a:pt x="4314" y="1517"/>
                  </a:lnTo>
                  <a:lnTo>
                    <a:pt x="4310" y="1509"/>
                  </a:lnTo>
                  <a:lnTo>
                    <a:pt x="4304" y="1501"/>
                  </a:lnTo>
                  <a:lnTo>
                    <a:pt x="4299" y="1494"/>
                  </a:lnTo>
                  <a:lnTo>
                    <a:pt x="4291" y="1488"/>
                  </a:lnTo>
                  <a:lnTo>
                    <a:pt x="4284" y="1482"/>
                  </a:lnTo>
                  <a:lnTo>
                    <a:pt x="4276" y="1477"/>
                  </a:lnTo>
                  <a:lnTo>
                    <a:pt x="4260" y="1468"/>
                  </a:lnTo>
                  <a:lnTo>
                    <a:pt x="4246" y="1458"/>
                  </a:lnTo>
                  <a:lnTo>
                    <a:pt x="4239" y="1453"/>
                  </a:lnTo>
                  <a:lnTo>
                    <a:pt x="4234" y="1448"/>
                  </a:lnTo>
                  <a:lnTo>
                    <a:pt x="4230" y="1441"/>
                  </a:lnTo>
                  <a:lnTo>
                    <a:pt x="4227" y="1434"/>
                  </a:lnTo>
                  <a:lnTo>
                    <a:pt x="4227" y="1406"/>
                  </a:lnTo>
                  <a:lnTo>
                    <a:pt x="4227" y="1372"/>
                  </a:lnTo>
                  <a:lnTo>
                    <a:pt x="4227" y="1354"/>
                  </a:lnTo>
                  <a:lnTo>
                    <a:pt x="4224" y="1337"/>
                  </a:lnTo>
                  <a:lnTo>
                    <a:pt x="4220" y="1321"/>
                  </a:lnTo>
                  <a:lnTo>
                    <a:pt x="4215" y="1309"/>
                  </a:lnTo>
                  <a:lnTo>
                    <a:pt x="4211" y="1304"/>
                  </a:lnTo>
                  <a:lnTo>
                    <a:pt x="4207" y="1300"/>
                  </a:lnTo>
                  <a:lnTo>
                    <a:pt x="4202" y="1296"/>
                  </a:lnTo>
                  <a:lnTo>
                    <a:pt x="4197" y="1293"/>
                  </a:lnTo>
                  <a:lnTo>
                    <a:pt x="4185" y="1289"/>
                  </a:lnTo>
                  <a:lnTo>
                    <a:pt x="4173" y="1284"/>
                  </a:lnTo>
                  <a:lnTo>
                    <a:pt x="4166" y="1282"/>
                  </a:lnTo>
                  <a:lnTo>
                    <a:pt x="4161" y="1278"/>
                  </a:lnTo>
                  <a:lnTo>
                    <a:pt x="4155" y="1276"/>
                  </a:lnTo>
                  <a:lnTo>
                    <a:pt x="4151" y="1272"/>
                  </a:lnTo>
                  <a:lnTo>
                    <a:pt x="4147" y="1266"/>
                  </a:lnTo>
                  <a:lnTo>
                    <a:pt x="4145" y="1260"/>
                  </a:lnTo>
                  <a:lnTo>
                    <a:pt x="4143" y="1252"/>
                  </a:lnTo>
                  <a:lnTo>
                    <a:pt x="4143" y="1242"/>
                  </a:lnTo>
                  <a:lnTo>
                    <a:pt x="4145" y="1234"/>
                  </a:lnTo>
                  <a:lnTo>
                    <a:pt x="4147" y="1226"/>
                  </a:lnTo>
                  <a:lnTo>
                    <a:pt x="4153" y="1218"/>
                  </a:lnTo>
                  <a:lnTo>
                    <a:pt x="4159" y="1210"/>
                  </a:lnTo>
                  <a:lnTo>
                    <a:pt x="4166" y="1202"/>
                  </a:lnTo>
                  <a:lnTo>
                    <a:pt x="4173" y="1197"/>
                  </a:lnTo>
                  <a:lnTo>
                    <a:pt x="4179" y="1192"/>
                  </a:lnTo>
                  <a:lnTo>
                    <a:pt x="4185" y="1188"/>
                  </a:lnTo>
                  <a:lnTo>
                    <a:pt x="4183" y="1182"/>
                  </a:lnTo>
                  <a:lnTo>
                    <a:pt x="4181" y="1177"/>
                  </a:lnTo>
                  <a:lnTo>
                    <a:pt x="4178" y="1172"/>
                  </a:lnTo>
                  <a:lnTo>
                    <a:pt x="4174" y="1168"/>
                  </a:lnTo>
                  <a:lnTo>
                    <a:pt x="4165" y="1162"/>
                  </a:lnTo>
                  <a:lnTo>
                    <a:pt x="4155" y="1157"/>
                  </a:lnTo>
                  <a:lnTo>
                    <a:pt x="4146" y="1152"/>
                  </a:lnTo>
                  <a:lnTo>
                    <a:pt x="4138" y="1145"/>
                  </a:lnTo>
                  <a:lnTo>
                    <a:pt x="4135" y="1140"/>
                  </a:lnTo>
                  <a:lnTo>
                    <a:pt x="4133" y="1136"/>
                  </a:lnTo>
                  <a:lnTo>
                    <a:pt x="4131" y="1129"/>
                  </a:lnTo>
                  <a:lnTo>
                    <a:pt x="4130" y="1121"/>
                  </a:lnTo>
                  <a:lnTo>
                    <a:pt x="4131" y="1110"/>
                  </a:lnTo>
                  <a:lnTo>
                    <a:pt x="4134" y="1100"/>
                  </a:lnTo>
                  <a:lnTo>
                    <a:pt x="4139" y="1090"/>
                  </a:lnTo>
                  <a:lnTo>
                    <a:pt x="4145" y="1082"/>
                  </a:lnTo>
                  <a:lnTo>
                    <a:pt x="4153" y="1076"/>
                  </a:lnTo>
                  <a:lnTo>
                    <a:pt x="4161" y="1069"/>
                  </a:lnTo>
                  <a:lnTo>
                    <a:pt x="4170" y="1062"/>
                  </a:lnTo>
                  <a:lnTo>
                    <a:pt x="4179" y="1057"/>
                  </a:lnTo>
                  <a:lnTo>
                    <a:pt x="4199" y="1045"/>
                  </a:lnTo>
                  <a:lnTo>
                    <a:pt x="4219" y="1033"/>
                  </a:lnTo>
                  <a:lnTo>
                    <a:pt x="4228" y="1026"/>
                  </a:lnTo>
                  <a:lnTo>
                    <a:pt x="4236" y="1020"/>
                  </a:lnTo>
                  <a:lnTo>
                    <a:pt x="4244" y="1010"/>
                  </a:lnTo>
                  <a:lnTo>
                    <a:pt x="4251" y="1001"/>
                  </a:lnTo>
                  <a:lnTo>
                    <a:pt x="4256" y="992"/>
                  </a:lnTo>
                  <a:lnTo>
                    <a:pt x="4259" y="982"/>
                  </a:lnTo>
                  <a:lnTo>
                    <a:pt x="4260" y="973"/>
                  </a:lnTo>
                  <a:lnTo>
                    <a:pt x="4262" y="965"/>
                  </a:lnTo>
                  <a:lnTo>
                    <a:pt x="4263" y="958"/>
                  </a:lnTo>
                  <a:lnTo>
                    <a:pt x="4266" y="952"/>
                  </a:lnTo>
                  <a:lnTo>
                    <a:pt x="4268" y="950"/>
                  </a:lnTo>
                  <a:lnTo>
                    <a:pt x="4272" y="948"/>
                  </a:lnTo>
                  <a:lnTo>
                    <a:pt x="4276" y="948"/>
                  </a:lnTo>
                  <a:lnTo>
                    <a:pt x="4280" y="946"/>
                  </a:lnTo>
                  <a:lnTo>
                    <a:pt x="4298" y="948"/>
                  </a:lnTo>
                  <a:lnTo>
                    <a:pt x="4312" y="949"/>
                  </a:lnTo>
                  <a:lnTo>
                    <a:pt x="4319" y="949"/>
                  </a:lnTo>
                  <a:lnTo>
                    <a:pt x="4324" y="949"/>
                  </a:lnTo>
                  <a:lnTo>
                    <a:pt x="4330" y="949"/>
                  </a:lnTo>
                  <a:lnTo>
                    <a:pt x="4335" y="946"/>
                  </a:lnTo>
                  <a:lnTo>
                    <a:pt x="4335" y="930"/>
                  </a:lnTo>
                  <a:lnTo>
                    <a:pt x="4335" y="916"/>
                  </a:lnTo>
                  <a:lnTo>
                    <a:pt x="4335" y="901"/>
                  </a:lnTo>
                  <a:lnTo>
                    <a:pt x="4335" y="881"/>
                  </a:lnTo>
                  <a:lnTo>
                    <a:pt x="4335" y="876"/>
                  </a:lnTo>
                  <a:lnTo>
                    <a:pt x="4336" y="871"/>
                  </a:lnTo>
                  <a:lnTo>
                    <a:pt x="4339" y="865"/>
                  </a:lnTo>
                  <a:lnTo>
                    <a:pt x="4340" y="861"/>
                  </a:lnTo>
                  <a:lnTo>
                    <a:pt x="4347" y="853"/>
                  </a:lnTo>
                  <a:lnTo>
                    <a:pt x="4354" y="845"/>
                  </a:lnTo>
                  <a:lnTo>
                    <a:pt x="4360" y="837"/>
                  </a:lnTo>
                  <a:lnTo>
                    <a:pt x="4366" y="828"/>
                  </a:lnTo>
                  <a:lnTo>
                    <a:pt x="4368" y="824"/>
                  </a:lnTo>
                  <a:lnTo>
                    <a:pt x="4370" y="819"/>
                  </a:lnTo>
                  <a:lnTo>
                    <a:pt x="4371" y="815"/>
                  </a:lnTo>
                  <a:lnTo>
                    <a:pt x="4371" y="809"/>
                  </a:lnTo>
                  <a:lnTo>
                    <a:pt x="4370" y="801"/>
                  </a:lnTo>
                  <a:lnTo>
                    <a:pt x="4366" y="795"/>
                  </a:lnTo>
                  <a:lnTo>
                    <a:pt x="4359" y="787"/>
                  </a:lnTo>
                  <a:lnTo>
                    <a:pt x="4352" y="780"/>
                  </a:lnTo>
                  <a:lnTo>
                    <a:pt x="4338" y="765"/>
                  </a:lnTo>
                  <a:lnTo>
                    <a:pt x="4330" y="755"/>
                  </a:lnTo>
                  <a:lnTo>
                    <a:pt x="4318" y="752"/>
                  </a:lnTo>
                  <a:lnTo>
                    <a:pt x="4308" y="748"/>
                  </a:lnTo>
                  <a:lnTo>
                    <a:pt x="4302" y="743"/>
                  </a:lnTo>
                  <a:lnTo>
                    <a:pt x="4296" y="735"/>
                  </a:lnTo>
                  <a:lnTo>
                    <a:pt x="4287" y="717"/>
                  </a:lnTo>
                  <a:lnTo>
                    <a:pt x="4280" y="699"/>
                  </a:lnTo>
                  <a:lnTo>
                    <a:pt x="4276" y="688"/>
                  </a:lnTo>
                  <a:lnTo>
                    <a:pt x="4271" y="679"/>
                  </a:lnTo>
                  <a:lnTo>
                    <a:pt x="4266" y="669"/>
                  </a:lnTo>
                  <a:lnTo>
                    <a:pt x="4259" y="663"/>
                  </a:lnTo>
                  <a:lnTo>
                    <a:pt x="4250" y="656"/>
                  </a:lnTo>
                  <a:lnTo>
                    <a:pt x="4239" y="651"/>
                  </a:lnTo>
                  <a:lnTo>
                    <a:pt x="4226" y="647"/>
                  </a:lnTo>
                  <a:lnTo>
                    <a:pt x="4208" y="647"/>
                  </a:lnTo>
                  <a:lnTo>
                    <a:pt x="4198" y="647"/>
                  </a:lnTo>
                  <a:lnTo>
                    <a:pt x="4187" y="649"/>
                  </a:lnTo>
                  <a:lnTo>
                    <a:pt x="4177" y="652"/>
                  </a:lnTo>
                  <a:lnTo>
                    <a:pt x="4167" y="655"/>
                  </a:lnTo>
                  <a:lnTo>
                    <a:pt x="4157" y="659"/>
                  </a:lnTo>
                  <a:lnTo>
                    <a:pt x="4146" y="661"/>
                  </a:lnTo>
                  <a:lnTo>
                    <a:pt x="4135" y="664"/>
                  </a:lnTo>
                  <a:lnTo>
                    <a:pt x="4125" y="664"/>
                  </a:lnTo>
                  <a:lnTo>
                    <a:pt x="4107" y="663"/>
                  </a:lnTo>
                  <a:lnTo>
                    <a:pt x="4090" y="659"/>
                  </a:lnTo>
                  <a:lnTo>
                    <a:pt x="4075" y="653"/>
                  </a:lnTo>
                  <a:lnTo>
                    <a:pt x="4062" y="647"/>
                  </a:lnTo>
                  <a:lnTo>
                    <a:pt x="4050" y="639"/>
                  </a:lnTo>
                  <a:lnTo>
                    <a:pt x="4042" y="631"/>
                  </a:lnTo>
                  <a:lnTo>
                    <a:pt x="4038" y="627"/>
                  </a:lnTo>
                  <a:lnTo>
                    <a:pt x="4037" y="623"/>
                  </a:lnTo>
                  <a:lnTo>
                    <a:pt x="4035" y="620"/>
                  </a:lnTo>
                  <a:lnTo>
                    <a:pt x="4034" y="616"/>
                  </a:lnTo>
                  <a:lnTo>
                    <a:pt x="4035" y="603"/>
                  </a:lnTo>
                  <a:lnTo>
                    <a:pt x="4035" y="588"/>
                  </a:lnTo>
                  <a:lnTo>
                    <a:pt x="4035" y="580"/>
                  </a:lnTo>
                  <a:lnTo>
                    <a:pt x="4034" y="573"/>
                  </a:lnTo>
                  <a:lnTo>
                    <a:pt x="4031" y="564"/>
                  </a:lnTo>
                  <a:lnTo>
                    <a:pt x="4029" y="556"/>
                  </a:lnTo>
                  <a:lnTo>
                    <a:pt x="4013" y="557"/>
                  </a:lnTo>
                  <a:lnTo>
                    <a:pt x="4001" y="557"/>
                  </a:lnTo>
                  <a:lnTo>
                    <a:pt x="3989" y="556"/>
                  </a:lnTo>
                  <a:lnTo>
                    <a:pt x="3979" y="552"/>
                  </a:lnTo>
                  <a:lnTo>
                    <a:pt x="3975" y="549"/>
                  </a:lnTo>
                  <a:lnTo>
                    <a:pt x="3971" y="545"/>
                  </a:lnTo>
                  <a:lnTo>
                    <a:pt x="3969" y="541"/>
                  </a:lnTo>
                  <a:lnTo>
                    <a:pt x="3966" y="536"/>
                  </a:lnTo>
                  <a:lnTo>
                    <a:pt x="3965" y="531"/>
                  </a:lnTo>
                  <a:lnTo>
                    <a:pt x="3963" y="524"/>
                  </a:lnTo>
                  <a:lnTo>
                    <a:pt x="3962" y="516"/>
                  </a:lnTo>
                  <a:lnTo>
                    <a:pt x="3962" y="508"/>
                  </a:lnTo>
                  <a:lnTo>
                    <a:pt x="3963" y="492"/>
                  </a:lnTo>
                  <a:lnTo>
                    <a:pt x="3965" y="477"/>
                  </a:lnTo>
                  <a:lnTo>
                    <a:pt x="3969" y="464"/>
                  </a:lnTo>
                  <a:lnTo>
                    <a:pt x="3974" y="452"/>
                  </a:lnTo>
                  <a:lnTo>
                    <a:pt x="3979" y="440"/>
                  </a:lnTo>
                  <a:lnTo>
                    <a:pt x="3986" y="428"/>
                  </a:lnTo>
                  <a:lnTo>
                    <a:pt x="3994" y="417"/>
                  </a:lnTo>
                  <a:lnTo>
                    <a:pt x="4001" y="407"/>
                  </a:lnTo>
                  <a:lnTo>
                    <a:pt x="4017" y="385"/>
                  </a:lnTo>
                  <a:lnTo>
                    <a:pt x="4033" y="364"/>
                  </a:lnTo>
                  <a:lnTo>
                    <a:pt x="4041" y="352"/>
                  </a:lnTo>
                  <a:lnTo>
                    <a:pt x="4047" y="340"/>
                  </a:lnTo>
                  <a:lnTo>
                    <a:pt x="4053" y="328"/>
                  </a:lnTo>
                  <a:lnTo>
                    <a:pt x="4058" y="315"/>
                  </a:lnTo>
                  <a:lnTo>
                    <a:pt x="4059" y="306"/>
                  </a:lnTo>
                  <a:lnTo>
                    <a:pt x="4059" y="298"/>
                  </a:lnTo>
                  <a:lnTo>
                    <a:pt x="4058" y="290"/>
                  </a:lnTo>
                  <a:lnTo>
                    <a:pt x="4057" y="282"/>
                  </a:lnTo>
                  <a:lnTo>
                    <a:pt x="4054" y="274"/>
                  </a:lnTo>
                  <a:lnTo>
                    <a:pt x="4054" y="266"/>
                  </a:lnTo>
                  <a:lnTo>
                    <a:pt x="4055" y="258"/>
                  </a:lnTo>
                  <a:lnTo>
                    <a:pt x="4058" y="248"/>
                  </a:lnTo>
                  <a:lnTo>
                    <a:pt x="4062" y="239"/>
                  </a:lnTo>
                  <a:lnTo>
                    <a:pt x="4067" y="231"/>
                  </a:lnTo>
                  <a:lnTo>
                    <a:pt x="4074" y="223"/>
                  </a:lnTo>
                  <a:lnTo>
                    <a:pt x="4082" y="215"/>
                  </a:lnTo>
                  <a:lnTo>
                    <a:pt x="4089" y="206"/>
                  </a:lnTo>
                  <a:lnTo>
                    <a:pt x="4095" y="194"/>
                  </a:lnTo>
                  <a:lnTo>
                    <a:pt x="4097" y="187"/>
                  </a:lnTo>
                  <a:lnTo>
                    <a:pt x="4099" y="179"/>
                  </a:lnTo>
                  <a:lnTo>
                    <a:pt x="4101" y="170"/>
                  </a:lnTo>
                  <a:lnTo>
                    <a:pt x="4101" y="159"/>
                  </a:lnTo>
                  <a:lnTo>
                    <a:pt x="4101" y="151"/>
                  </a:lnTo>
                  <a:lnTo>
                    <a:pt x="4099" y="144"/>
                  </a:lnTo>
                  <a:lnTo>
                    <a:pt x="4097" y="138"/>
                  </a:lnTo>
                  <a:lnTo>
                    <a:pt x="4094" y="131"/>
                  </a:lnTo>
                  <a:lnTo>
                    <a:pt x="4087" y="118"/>
                  </a:lnTo>
                  <a:lnTo>
                    <a:pt x="4077" y="104"/>
                  </a:lnTo>
                  <a:lnTo>
                    <a:pt x="4065" y="91"/>
                  </a:lnTo>
                  <a:lnTo>
                    <a:pt x="4051" y="79"/>
                  </a:lnTo>
                  <a:lnTo>
                    <a:pt x="4037" y="67"/>
                  </a:lnTo>
                  <a:lnTo>
                    <a:pt x="4019" y="56"/>
                  </a:lnTo>
                  <a:lnTo>
                    <a:pt x="4003" y="46"/>
                  </a:lnTo>
                  <a:lnTo>
                    <a:pt x="3986" y="36"/>
                  </a:lnTo>
                  <a:lnTo>
                    <a:pt x="3967" y="28"/>
                  </a:lnTo>
                  <a:lnTo>
                    <a:pt x="3950" y="22"/>
                  </a:lnTo>
                  <a:lnTo>
                    <a:pt x="3934" y="15"/>
                  </a:lnTo>
                  <a:lnTo>
                    <a:pt x="3918" y="11"/>
                  </a:lnTo>
                  <a:lnTo>
                    <a:pt x="3903" y="8"/>
                  </a:lnTo>
                  <a:lnTo>
                    <a:pt x="3890" y="8"/>
                  </a:lnTo>
                  <a:lnTo>
                    <a:pt x="3881" y="6"/>
                  </a:lnTo>
                  <a:lnTo>
                    <a:pt x="3873" y="3"/>
                  </a:lnTo>
                  <a:lnTo>
                    <a:pt x="3867" y="2"/>
                  </a:lnTo>
                  <a:lnTo>
                    <a:pt x="3861" y="0"/>
                  </a:lnTo>
                  <a:lnTo>
                    <a:pt x="3851" y="0"/>
                  </a:lnTo>
                  <a:lnTo>
                    <a:pt x="3842" y="2"/>
                  </a:lnTo>
                  <a:lnTo>
                    <a:pt x="3846" y="15"/>
                  </a:lnTo>
                  <a:lnTo>
                    <a:pt x="3850" y="30"/>
                  </a:lnTo>
                  <a:lnTo>
                    <a:pt x="3857" y="43"/>
                  </a:lnTo>
                  <a:lnTo>
                    <a:pt x="3863" y="56"/>
                  </a:lnTo>
                  <a:lnTo>
                    <a:pt x="3878" y="83"/>
                  </a:lnTo>
                  <a:lnTo>
                    <a:pt x="3895" y="108"/>
                  </a:lnTo>
                  <a:lnTo>
                    <a:pt x="3913" y="131"/>
                  </a:lnTo>
                  <a:lnTo>
                    <a:pt x="3930" y="152"/>
                  </a:lnTo>
                  <a:lnTo>
                    <a:pt x="3947" y="170"/>
                  </a:lnTo>
                  <a:lnTo>
                    <a:pt x="3962" y="183"/>
                  </a:lnTo>
                  <a:lnTo>
                    <a:pt x="3970" y="196"/>
                  </a:lnTo>
                  <a:lnTo>
                    <a:pt x="3975" y="208"/>
                  </a:lnTo>
                  <a:lnTo>
                    <a:pt x="3978" y="216"/>
                  </a:lnTo>
                  <a:lnTo>
                    <a:pt x="3979" y="223"/>
                  </a:lnTo>
                  <a:lnTo>
                    <a:pt x="3979" y="228"/>
                  </a:lnTo>
                  <a:lnTo>
                    <a:pt x="3978" y="230"/>
                  </a:lnTo>
                  <a:lnTo>
                    <a:pt x="3975" y="231"/>
                  </a:lnTo>
                  <a:lnTo>
                    <a:pt x="3970" y="230"/>
                  </a:lnTo>
                  <a:lnTo>
                    <a:pt x="3958" y="224"/>
                  </a:lnTo>
                  <a:lnTo>
                    <a:pt x="3941" y="214"/>
                  </a:lnTo>
                  <a:lnTo>
                    <a:pt x="3919" y="200"/>
                  </a:lnTo>
                  <a:lnTo>
                    <a:pt x="3895" y="184"/>
                  </a:lnTo>
                  <a:lnTo>
                    <a:pt x="3869" y="167"/>
                  </a:lnTo>
                  <a:lnTo>
                    <a:pt x="3842" y="151"/>
                  </a:lnTo>
                  <a:lnTo>
                    <a:pt x="3827" y="144"/>
                  </a:lnTo>
                  <a:lnTo>
                    <a:pt x="3814" y="138"/>
                  </a:lnTo>
                  <a:lnTo>
                    <a:pt x="3801" y="131"/>
                  </a:lnTo>
                  <a:lnTo>
                    <a:pt x="3786" y="127"/>
                  </a:lnTo>
                  <a:lnTo>
                    <a:pt x="3773" y="123"/>
                  </a:lnTo>
                  <a:lnTo>
                    <a:pt x="3761" y="120"/>
                  </a:lnTo>
                  <a:lnTo>
                    <a:pt x="3749" y="119"/>
                  </a:lnTo>
                  <a:lnTo>
                    <a:pt x="3737" y="119"/>
                  </a:lnTo>
                  <a:lnTo>
                    <a:pt x="3725" y="122"/>
                  </a:lnTo>
                  <a:lnTo>
                    <a:pt x="3715" y="126"/>
                  </a:lnTo>
                  <a:lnTo>
                    <a:pt x="3706" y="132"/>
                  </a:lnTo>
                  <a:lnTo>
                    <a:pt x="3697" y="140"/>
                  </a:lnTo>
                  <a:lnTo>
                    <a:pt x="3686" y="151"/>
                  </a:lnTo>
                  <a:lnTo>
                    <a:pt x="3677" y="159"/>
                  </a:lnTo>
                  <a:lnTo>
                    <a:pt x="3673" y="160"/>
                  </a:lnTo>
                  <a:lnTo>
                    <a:pt x="3670" y="162"/>
                  </a:lnTo>
                  <a:lnTo>
                    <a:pt x="3667" y="162"/>
                  </a:lnTo>
                  <a:lnTo>
                    <a:pt x="3665" y="162"/>
                  </a:lnTo>
                  <a:lnTo>
                    <a:pt x="3659" y="159"/>
                  </a:lnTo>
                  <a:lnTo>
                    <a:pt x="3654" y="154"/>
                  </a:lnTo>
                  <a:lnTo>
                    <a:pt x="3649" y="146"/>
                  </a:lnTo>
                  <a:lnTo>
                    <a:pt x="3642" y="136"/>
                  </a:lnTo>
                  <a:lnTo>
                    <a:pt x="3634" y="126"/>
                  </a:lnTo>
                  <a:lnTo>
                    <a:pt x="3625" y="114"/>
                  </a:lnTo>
                  <a:lnTo>
                    <a:pt x="3611" y="102"/>
                  </a:lnTo>
                  <a:lnTo>
                    <a:pt x="3597" y="90"/>
                  </a:lnTo>
                  <a:lnTo>
                    <a:pt x="3587" y="84"/>
                  </a:lnTo>
                  <a:lnTo>
                    <a:pt x="3577" y="78"/>
                  </a:lnTo>
                  <a:lnTo>
                    <a:pt x="3566" y="72"/>
                  </a:lnTo>
                  <a:lnTo>
                    <a:pt x="3554" y="67"/>
                  </a:lnTo>
                  <a:lnTo>
                    <a:pt x="3541" y="62"/>
                  </a:lnTo>
                  <a:lnTo>
                    <a:pt x="3526" y="58"/>
                  </a:lnTo>
                  <a:lnTo>
                    <a:pt x="3510" y="54"/>
                  </a:lnTo>
                  <a:lnTo>
                    <a:pt x="3493" y="50"/>
                  </a:lnTo>
                  <a:lnTo>
                    <a:pt x="3475" y="48"/>
                  </a:lnTo>
                  <a:lnTo>
                    <a:pt x="3459" y="47"/>
                  </a:lnTo>
                  <a:lnTo>
                    <a:pt x="3444" y="47"/>
                  </a:lnTo>
                  <a:lnTo>
                    <a:pt x="3428" y="50"/>
                  </a:lnTo>
                  <a:lnTo>
                    <a:pt x="3413" y="52"/>
                  </a:lnTo>
                  <a:lnTo>
                    <a:pt x="3397" y="56"/>
                  </a:lnTo>
                  <a:lnTo>
                    <a:pt x="3384" y="60"/>
                  </a:lnTo>
                  <a:lnTo>
                    <a:pt x="3369" y="67"/>
                  </a:lnTo>
                  <a:lnTo>
                    <a:pt x="3356" y="74"/>
                  </a:lnTo>
                  <a:lnTo>
                    <a:pt x="3342" y="82"/>
                  </a:lnTo>
                  <a:lnTo>
                    <a:pt x="3330" y="90"/>
                  </a:lnTo>
                  <a:lnTo>
                    <a:pt x="3318" y="99"/>
                  </a:lnTo>
                  <a:lnTo>
                    <a:pt x="3306" y="108"/>
                  </a:lnTo>
                  <a:lnTo>
                    <a:pt x="3294" y="118"/>
                  </a:lnTo>
                  <a:lnTo>
                    <a:pt x="3284" y="128"/>
                  </a:lnTo>
                  <a:lnTo>
                    <a:pt x="3274" y="139"/>
                  </a:lnTo>
                  <a:lnTo>
                    <a:pt x="3256" y="163"/>
                  </a:lnTo>
                  <a:lnTo>
                    <a:pt x="3238" y="186"/>
                  </a:lnTo>
                  <a:lnTo>
                    <a:pt x="3225" y="210"/>
                  </a:lnTo>
                  <a:lnTo>
                    <a:pt x="3213" y="234"/>
                  </a:lnTo>
                  <a:lnTo>
                    <a:pt x="3204" y="256"/>
                  </a:lnTo>
                  <a:lnTo>
                    <a:pt x="3197" y="278"/>
                  </a:lnTo>
                  <a:lnTo>
                    <a:pt x="3193" y="298"/>
                  </a:lnTo>
                  <a:lnTo>
                    <a:pt x="3192" y="315"/>
                  </a:lnTo>
                  <a:lnTo>
                    <a:pt x="3190" y="326"/>
                  </a:lnTo>
                  <a:lnTo>
                    <a:pt x="3190" y="341"/>
                  </a:lnTo>
                  <a:lnTo>
                    <a:pt x="3188" y="359"/>
                  </a:lnTo>
                  <a:lnTo>
                    <a:pt x="3185" y="379"/>
                  </a:lnTo>
                  <a:lnTo>
                    <a:pt x="3180" y="400"/>
                  </a:lnTo>
                  <a:lnTo>
                    <a:pt x="3173" y="423"/>
                  </a:lnTo>
                  <a:lnTo>
                    <a:pt x="3165" y="444"/>
                  </a:lnTo>
                  <a:lnTo>
                    <a:pt x="3156" y="465"/>
                  </a:lnTo>
                  <a:lnTo>
                    <a:pt x="3149" y="475"/>
                  </a:lnTo>
                  <a:lnTo>
                    <a:pt x="3142" y="485"/>
                  </a:lnTo>
                  <a:lnTo>
                    <a:pt x="3136" y="493"/>
                  </a:lnTo>
                  <a:lnTo>
                    <a:pt x="3128" y="501"/>
                  </a:lnTo>
                  <a:lnTo>
                    <a:pt x="3120" y="509"/>
                  </a:lnTo>
                  <a:lnTo>
                    <a:pt x="3110" y="515"/>
                  </a:lnTo>
                  <a:lnTo>
                    <a:pt x="3100" y="520"/>
                  </a:lnTo>
                  <a:lnTo>
                    <a:pt x="3089" y="525"/>
                  </a:lnTo>
                  <a:lnTo>
                    <a:pt x="3078" y="528"/>
                  </a:lnTo>
                  <a:lnTo>
                    <a:pt x="3066" y="529"/>
                  </a:lnTo>
                  <a:lnTo>
                    <a:pt x="3053" y="531"/>
                  </a:lnTo>
                  <a:lnTo>
                    <a:pt x="3040" y="529"/>
                  </a:lnTo>
                  <a:lnTo>
                    <a:pt x="3024" y="527"/>
                  </a:lnTo>
                  <a:lnTo>
                    <a:pt x="3009" y="521"/>
                  </a:lnTo>
                  <a:lnTo>
                    <a:pt x="2992" y="516"/>
                  </a:lnTo>
                  <a:lnTo>
                    <a:pt x="2974" y="508"/>
                  </a:lnTo>
                  <a:lnTo>
                    <a:pt x="2948" y="513"/>
                  </a:lnTo>
                  <a:lnTo>
                    <a:pt x="2922" y="521"/>
                  </a:lnTo>
                  <a:lnTo>
                    <a:pt x="2900" y="529"/>
                  </a:lnTo>
                  <a:lnTo>
                    <a:pt x="2878" y="539"/>
                  </a:lnTo>
                  <a:lnTo>
                    <a:pt x="2844" y="556"/>
                  </a:lnTo>
                  <a:lnTo>
                    <a:pt x="2816" y="573"/>
                  </a:lnTo>
                  <a:lnTo>
                    <a:pt x="2794" y="587"/>
                  </a:lnTo>
                  <a:lnTo>
                    <a:pt x="2781" y="593"/>
                  </a:lnTo>
                  <a:lnTo>
                    <a:pt x="2776" y="593"/>
                  </a:lnTo>
                  <a:lnTo>
                    <a:pt x="2772" y="592"/>
                  </a:lnTo>
                  <a:lnTo>
                    <a:pt x="2770" y="587"/>
                  </a:lnTo>
                  <a:lnTo>
                    <a:pt x="2769" y="580"/>
                  </a:lnTo>
                  <a:lnTo>
                    <a:pt x="2772" y="559"/>
                  </a:lnTo>
                  <a:lnTo>
                    <a:pt x="2776" y="536"/>
                  </a:lnTo>
                  <a:lnTo>
                    <a:pt x="2777" y="524"/>
                  </a:lnTo>
                  <a:lnTo>
                    <a:pt x="2778" y="512"/>
                  </a:lnTo>
                  <a:lnTo>
                    <a:pt x="2777" y="501"/>
                  </a:lnTo>
                  <a:lnTo>
                    <a:pt x="2774" y="492"/>
                  </a:lnTo>
                  <a:lnTo>
                    <a:pt x="2772" y="488"/>
                  </a:lnTo>
                  <a:lnTo>
                    <a:pt x="2769" y="484"/>
                  </a:lnTo>
                  <a:lnTo>
                    <a:pt x="2765" y="480"/>
                  </a:lnTo>
                  <a:lnTo>
                    <a:pt x="2761" y="477"/>
                  </a:lnTo>
                  <a:lnTo>
                    <a:pt x="2756" y="476"/>
                  </a:lnTo>
                  <a:lnTo>
                    <a:pt x="2749" y="475"/>
                  </a:lnTo>
                  <a:lnTo>
                    <a:pt x="2742" y="473"/>
                  </a:lnTo>
                  <a:lnTo>
                    <a:pt x="2734" y="473"/>
                  </a:lnTo>
                  <a:lnTo>
                    <a:pt x="2714" y="476"/>
                  </a:lnTo>
                  <a:lnTo>
                    <a:pt x="2690" y="483"/>
                  </a:lnTo>
                  <a:lnTo>
                    <a:pt x="2661" y="493"/>
                  </a:lnTo>
                  <a:lnTo>
                    <a:pt x="2625" y="508"/>
                  </a:lnTo>
                  <a:lnTo>
                    <a:pt x="2611" y="513"/>
                  </a:lnTo>
                  <a:lnTo>
                    <a:pt x="2597" y="520"/>
                  </a:lnTo>
                  <a:lnTo>
                    <a:pt x="2587" y="527"/>
                  </a:lnTo>
                  <a:lnTo>
                    <a:pt x="2577" y="535"/>
                  </a:lnTo>
                  <a:lnTo>
                    <a:pt x="2569" y="544"/>
                  </a:lnTo>
                  <a:lnTo>
                    <a:pt x="2563" y="553"/>
                  </a:lnTo>
                  <a:lnTo>
                    <a:pt x="2559" y="564"/>
                  </a:lnTo>
                  <a:lnTo>
                    <a:pt x="2555" y="575"/>
                  </a:lnTo>
                  <a:lnTo>
                    <a:pt x="2552" y="587"/>
                  </a:lnTo>
                  <a:lnTo>
                    <a:pt x="2551" y="599"/>
                  </a:lnTo>
                  <a:lnTo>
                    <a:pt x="2551" y="611"/>
                  </a:lnTo>
                  <a:lnTo>
                    <a:pt x="2551" y="623"/>
                  </a:lnTo>
                  <a:lnTo>
                    <a:pt x="2553" y="648"/>
                  </a:lnTo>
                  <a:lnTo>
                    <a:pt x="2557" y="673"/>
                  </a:lnTo>
                  <a:lnTo>
                    <a:pt x="2568" y="723"/>
                  </a:lnTo>
                  <a:lnTo>
                    <a:pt x="2576" y="767"/>
                  </a:lnTo>
                  <a:lnTo>
                    <a:pt x="2577" y="776"/>
                  </a:lnTo>
                  <a:lnTo>
                    <a:pt x="2576" y="785"/>
                  </a:lnTo>
                  <a:lnTo>
                    <a:pt x="2576" y="793"/>
                  </a:lnTo>
                  <a:lnTo>
                    <a:pt x="2573" y="801"/>
                  </a:lnTo>
                  <a:lnTo>
                    <a:pt x="2571" y="808"/>
                  </a:lnTo>
                  <a:lnTo>
                    <a:pt x="2565" y="813"/>
                  </a:lnTo>
                  <a:lnTo>
                    <a:pt x="2560" y="817"/>
                  </a:lnTo>
                  <a:lnTo>
                    <a:pt x="2553" y="821"/>
                  </a:lnTo>
                  <a:lnTo>
                    <a:pt x="2552" y="823"/>
                  </a:lnTo>
                  <a:lnTo>
                    <a:pt x="2551" y="823"/>
                  </a:lnTo>
                  <a:lnTo>
                    <a:pt x="2549" y="823"/>
                  </a:lnTo>
                  <a:lnTo>
                    <a:pt x="2549" y="820"/>
                  </a:lnTo>
                  <a:lnTo>
                    <a:pt x="2547" y="815"/>
                  </a:lnTo>
                  <a:lnTo>
                    <a:pt x="2544" y="805"/>
                  </a:lnTo>
                  <a:lnTo>
                    <a:pt x="2540" y="780"/>
                  </a:lnTo>
                  <a:lnTo>
                    <a:pt x="2536" y="749"/>
                  </a:lnTo>
                  <a:lnTo>
                    <a:pt x="2531" y="719"/>
                  </a:lnTo>
                  <a:lnTo>
                    <a:pt x="2524" y="695"/>
                  </a:lnTo>
                  <a:lnTo>
                    <a:pt x="2520" y="685"/>
                  </a:lnTo>
                  <a:lnTo>
                    <a:pt x="2515" y="680"/>
                  </a:lnTo>
                  <a:lnTo>
                    <a:pt x="2513" y="679"/>
                  </a:lnTo>
                  <a:lnTo>
                    <a:pt x="2511" y="679"/>
                  </a:lnTo>
                  <a:lnTo>
                    <a:pt x="2508" y="680"/>
                  </a:lnTo>
                  <a:lnTo>
                    <a:pt x="2505" y="683"/>
                  </a:lnTo>
                  <a:lnTo>
                    <a:pt x="2485" y="700"/>
                  </a:lnTo>
                  <a:lnTo>
                    <a:pt x="2465" y="716"/>
                  </a:lnTo>
                  <a:lnTo>
                    <a:pt x="2443" y="732"/>
                  </a:lnTo>
                  <a:lnTo>
                    <a:pt x="2420" y="748"/>
                  </a:lnTo>
                  <a:lnTo>
                    <a:pt x="2416" y="745"/>
                  </a:lnTo>
                  <a:lnTo>
                    <a:pt x="2413" y="743"/>
                  </a:lnTo>
                  <a:lnTo>
                    <a:pt x="2411" y="740"/>
                  </a:lnTo>
                  <a:lnTo>
                    <a:pt x="2409" y="737"/>
                  </a:lnTo>
                  <a:lnTo>
                    <a:pt x="2409" y="731"/>
                  </a:lnTo>
                  <a:lnTo>
                    <a:pt x="2412" y="724"/>
                  </a:lnTo>
                  <a:lnTo>
                    <a:pt x="2416" y="719"/>
                  </a:lnTo>
                  <a:lnTo>
                    <a:pt x="2423" y="712"/>
                  </a:lnTo>
                  <a:lnTo>
                    <a:pt x="2429" y="704"/>
                  </a:lnTo>
                  <a:lnTo>
                    <a:pt x="2437" y="697"/>
                  </a:lnTo>
                  <a:lnTo>
                    <a:pt x="2447" y="689"/>
                  </a:lnTo>
                  <a:lnTo>
                    <a:pt x="2453" y="681"/>
                  </a:lnTo>
                  <a:lnTo>
                    <a:pt x="2461" y="673"/>
                  </a:lnTo>
                  <a:lnTo>
                    <a:pt x="2467" y="665"/>
                  </a:lnTo>
                  <a:lnTo>
                    <a:pt x="2471" y="656"/>
                  </a:lnTo>
                  <a:lnTo>
                    <a:pt x="2473" y="648"/>
                  </a:lnTo>
                  <a:lnTo>
                    <a:pt x="2473" y="643"/>
                  </a:lnTo>
                  <a:lnTo>
                    <a:pt x="2472" y="637"/>
                  </a:lnTo>
                  <a:lnTo>
                    <a:pt x="2471" y="633"/>
                  </a:lnTo>
                  <a:lnTo>
                    <a:pt x="2469" y="628"/>
                  </a:lnTo>
                  <a:lnTo>
                    <a:pt x="2457" y="631"/>
                  </a:lnTo>
                  <a:lnTo>
                    <a:pt x="2447" y="635"/>
                  </a:lnTo>
                  <a:lnTo>
                    <a:pt x="2436" y="639"/>
                  </a:lnTo>
                  <a:lnTo>
                    <a:pt x="2425" y="644"/>
                  </a:lnTo>
                  <a:lnTo>
                    <a:pt x="2403" y="656"/>
                  </a:lnTo>
                  <a:lnTo>
                    <a:pt x="2380" y="669"/>
                  </a:lnTo>
                  <a:lnTo>
                    <a:pt x="2335" y="703"/>
                  </a:lnTo>
                  <a:lnTo>
                    <a:pt x="2288" y="736"/>
                  </a:lnTo>
                  <a:lnTo>
                    <a:pt x="2264" y="753"/>
                  </a:lnTo>
                  <a:lnTo>
                    <a:pt x="2240" y="768"/>
                  </a:lnTo>
                  <a:lnTo>
                    <a:pt x="2216" y="783"/>
                  </a:lnTo>
                  <a:lnTo>
                    <a:pt x="2191" y="795"/>
                  </a:lnTo>
                  <a:lnTo>
                    <a:pt x="2179" y="799"/>
                  </a:lnTo>
                  <a:lnTo>
                    <a:pt x="2165" y="803"/>
                  </a:lnTo>
                  <a:lnTo>
                    <a:pt x="2153" y="807"/>
                  </a:lnTo>
                  <a:lnTo>
                    <a:pt x="2140" y="809"/>
                  </a:lnTo>
                  <a:lnTo>
                    <a:pt x="2128" y="811"/>
                  </a:lnTo>
                  <a:lnTo>
                    <a:pt x="2115" y="811"/>
                  </a:lnTo>
                  <a:lnTo>
                    <a:pt x="2103" y="811"/>
                  </a:lnTo>
                  <a:lnTo>
                    <a:pt x="2089" y="809"/>
                  </a:lnTo>
                  <a:lnTo>
                    <a:pt x="2112" y="828"/>
                  </a:lnTo>
                  <a:lnTo>
                    <a:pt x="2128" y="845"/>
                  </a:lnTo>
                  <a:lnTo>
                    <a:pt x="2135" y="853"/>
                  </a:lnTo>
                  <a:lnTo>
                    <a:pt x="2140" y="860"/>
                  </a:lnTo>
                  <a:lnTo>
                    <a:pt x="2144" y="867"/>
                  </a:lnTo>
                  <a:lnTo>
                    <a:pt x="2147" y="873"/>
                  </a:lnTo>
                  <a:lnTo>
                    <a:pt x="2148" y="879"/>
                  </a:lnTo>
                  <a:lnTo>
                    <a:pt x="2149" y="884"/>
                  </a:lnTo>
                  <a:lnTo>
                    <a:pt x="2148" y="889"/>
                  </a:lnTo>
                  <a:lnTo>
                    <a:pt x="2148" y="895"/>
                  </a:lnTo>
                  <a:lnTo>
                    <a:pt x="2143" y="904"/>
                  </a:lnTo>
                  <a:lnTo>
                    <a:pt x="2136" y="915"/>
                  </a:lnTo>
                  <a:lnTo>
                    <a:pt x="2119" y="936"/>
                  </a:lnTo>
                  <a:lnTo>
                    <a:pt x="2099" y="964"/>
                  </a:lnTo>
                  <a:lnTo>
                    <a:pt x="2089" y="982"/>
                  </a:lnTo>
                  <a:lnTo>
                    <a:pt x="2081" y="1002"/>
                  </a:lnTo>
                  <a:lnTo>
                    <a:pt x="2077" y="1014"/>
                  </a:lnTo>
                  <a:lnTo>
                    <a:pt x="2075" y="1028"/>
                  </a:lnTo>
                  <a:lnTo>
                    <a:pt x="2072" y="1041"/>
                  </a:lnTo>
                  <a:lnTo>
                    <a:pt x="2071" y="1056"/>
                  </a:lnTo>
                  <a:lnTo>
                    <a:pt x="2081" y="1056"/>
                  </a:lnTo>
                  <a:lnTo>
                    <a:pt x="2091" y="1054"/>
                  </a:lnTo>
                  <a:lnTo>
                    <a:pt x="2100" y="1053"/>
                  </a:lnTo>
                  <a:lnTo>
                    <a:pt x="2107" y="1050"/>
                  </a:lnTo>
                  <a:lnTo>
                    <a:pt x="2120" y="1045"/>
                  </a:lnTo>
                  <a:lnTo>
                    <a:pt x="2132" y="1037"/>
                  </a:lnTo>
                  <a:lnTo>
                    <a:pt x="2148" y="1020"/>
                  </a:lnTo>
                  <a:lnTo>
                    <a:pt x="2157" y="1008"/>
                  </a:lnTo>
                  <a:lnTo>
                    <a:pt x="2160" y="1005"/>
                  </a:lnTo>
                  <a:lnTo>
                    <a:pt x="2161" y="1004"/>
                  </a:lnTo>
                  <a:lnTo>
                    <a:pt x="2164" y="1004"/>
                  </a:lnTo>
                  <a:lnTo>
                    <a:pt x="2165" y="1004"/>
                  </a:lnTo>
                  <a:lnTo>
                    <a:pt x="2169" y="1009"/>
                  </a:lnTo>
                  <a:lnTo>
                    <a:pt x="2173" y="1018"/>
                  </a:lnTo>
                  <a:lnTo>
                    <a:pt x="2185" y="1056"/>
                  </a:lnTo>
                  <a:lnTo>
                    <a:pt x="2204" y="1121"/>
                  </a:lnTo>
                  <a:lnTo>
                    <a:pt x="2228" y="1130"/>
                  </a:lnTo>
                  <a:lnTo>
                    <a:pt x="2248" y="1140"/>
                  </a:lnTo>
                  <a:lnTo>
                    <a:pt x="2263" y="1149"/>
                  </a:lnTo>
                  <a:lnTo>
                    <a:pt x="2275" y="1158"/>
                  </a:lnTo>
                  <a:lnTo>
                    <a:pt x="2279" y="1162"/>
                  </a:lnTo>
                  <a:lnTo>
                    <a:pt x="2281" y="1168"/>
                  </a:lnTo>
                  <a:lnTo>
                    <a:pt x="2283" y="1172"/>
                  </a:lnTo>
                  <a:lnTo>
                    <a:pt x="2284" y="1176"/>
                  </a:lnTo>
                  <a:lnTo>
                    <a:pt x="2284" y="1180"/>
                  </a:lnTo>
                  <a:lnTo>
                    <a:pt x="2284" y="1182"/>
                  </a:lnTo>
                  <a:lnTo>
                    <a:pt x="2281" y="1186"/>
                  </a:lnTo>
                  <a:lnTo>
                    <a:pt x="2280" y="1189"/>
                  </a:lnTo>
                  <a:lnTo>
                    <a:pt x="2273" y="1196"/>
                  </a:lnTo>
                  <a:lnTo>
                    <a:pt x="2263" y="1200"/>
                  </a:lnTo>
                  <a:lnTo>
                    <a:pt x="2251" y="1202"/>
                  </a:lnTo>
                  <a:lnTo>
                    <a:pt x="2236" y="1205"/>
                  </a:lnTo>
                  <a:lnTo>
                    <a:pt x="2220" y="1205"/>
                  </a:lnTo>
                  <a:lnTo>
                    <a:pt x="2203" y="1204"/>
                  </a:lnTo>
                  <a:lnTo>
                    <a:pt x="2183" y="1200"/>
                  </a:lnTo>
                  <a:lnTo>
                    <a:pt x="2161" y="1194"/>
                  </a:lnTo>
                  <a:lnTo>
                    <a:pt x="2153" y="1201"/>
                  </a:lnTo>
                  <a:lnTo>
                    <a:pt x="2148" y="1209"/>
                  </a:lnTo>
                  <a:lnTo>
                    <a:pt x="2144" y="1217"/>
                  </a:lnTo>
                  <a:lnTo>
                    <a:pt x="2141" y="1225"/>
                  </a:lnTo>
                  <a:lnTo>
                    <a:pt x="2140" y="1232"/>
                  </a:lnTo>
                  <a:lnTo>
                    <a:pt x="2140" y="1240"/>
                  </a:lnTo>
                  <a:lnTo>
                    <a:pt x="2141" y="1248"/>
                  </a:lnTo>
                  <a:lnTo>
                    <a:pt x="2144" y="1256"/>
                  </a:lnTo>
                  <a:lnTo>
                    <a:pt x="2151" y="1270"/>
                  </a:lnTo>
                  <a:lnTo>
                    <a:pt x="2159" y="1285"/>
                  </a:lnTo>
                  <a:lnTo>
                    <a:pt x="2169" y="1298"/>
                  </a:lnTo>
                  <a:lnTo>
                    <a:pt x="2179" y="1310"/>
                  </a:lnTo>
                  <a:lnTo>
                    <a:pt x="2187" y="1321"/>
                  </a:lnTo>
                  <a:lnTo>
                    <a:pt x="2193" y="1329"/>
                  </a:lnTo>
                  <a:lnTo>
                    <a:pt x="2196" y="1333"/>
                  </a:lnTo>
                  <a:lnTo>
                    <a:pt x="2196" y="1336"/>
                  </a:lnTo>
                  <a:lnTo>
                    <a:pt x="2196" y="1338"/>
                  </a:lnTo>
                  <a:lnTo>
                    <a:pt x="2195" y="1340"/>
                  </a:lnTo>
                  <a:lnTo>
                    <a:pt x="2192" y="1341"/>
                  </a:lnTo>
                  <a:lnTo>
                    <a:pt x="2187" y="1341"/>
                  </a:lnTo>
                  <a:lnTo>
                    <a:pt x="2181" y="1341"/>
                  </a:lnTo>
                  <a:lnTo>
                    <a:pt x="2173" y="1340"/>
                  </a:lnTo>
                  <a:lnTo>
                    <a:pt x="2151" y="1334"/>
                  </a:lnTo>
                  <a:lnTo>
                    <a:pt x="2119" y="1326"/>
                  </a:lnTo>
                  <a:lnTo>
                    <a:pt x="2064" y="1325"/>
                  </a:lnTo>
                  <a:lnTo>
                    <a:pt x="2028" y="1324"/>
                  </a:lnTo>
                  <a:lnTo>
                    <a:pt x="2015" y="1325"/>
                  </a:lnTo>
                  <a:lnTo>
                    <a:pt x="2005" y="1325"/>
                  </a:lnTo>
                  <a:lnTo>
                    <a:pt x="1996" y="1328"/>
                  </a:lnTo>
                  <a:lnTo>
                    <a:pt x="1989" y="1332"/>
                  </a:lnTo>
                  <a:lnTo>
                    <a:pt x="1984" y="1337"/>
                  </a:lnTo>
                  <a:lnTo>
                    <a:pt x="1979" y="1345"/>
                  </a:lnTo>
                  <a:lnTo>
                    <a:pt x="1972" y="1356"/>
                  </a:lnTo>
                  <a:lnTo>
                    <a:pt x="1965" y="1369"/>
                  </a:lnTo>
                  <a:lnTo>
                    <a:pt x="1945" y="1406"/>
                  </a:lnTo>
                  <a:lnTo>
                    <a:pt x="1915" y="1458"/>
                  </a:lnTo>
                  <a:lnTo>
                    <a:pt x="1906" y="1466"/>
                  </a:lnTo>
                  <a:lnTo>
                    <a:pt x="1898" y="1472"/>
                  </a:lnTo>
                  <a:lnTo>
                    <a:pt x="1888" y="1477"/>
                  </a:lnTo>
                  <a:lnTo>
                    <a:pt x="1880" y="1480"/>
                  </a:lnTo>
                  <a:lnTo>
                    <a:pt x="1872" y="1482"/>
                  </a:lnTo>
                  <a:lnTo>
                    <a:pt x="1864" y="1484"/>
                  </a:lnTo>
                  <a:lnTo>
                    <a:pt x="1856" y="1485"/>
                  </a:lnTo>
                  <a:lnTo>
                    <a:pt x="1850" y="1485"/>
                  </a:lnTo>
                  <a:lnTo>
                    <a:pt x="1836" y="1482"/>
                  </a:lnTo>
                  <a:lnTo>
                    <a:pt x="1823" y="1477"/>
                  </a:lnTo>
                  <a:lnTo>
                    <a:pt x="1811" y="1472"/>
                  </a:lnTo>
                  <a:lnTo>
                    <a:pt x="1800" y="1465"/>
                  </a:lnTo>
                  <a:lnTo>
                    <a:pt x="1782" y="1453"/>
                  </a:lnTo>
                  <a:lnTo>
                    <a:pt x="1770" y="1445"/>
                  </a:lnTo>
                  <a:lnTo>
                    <a:pt x="1767" y="1445"/>
                  </a:lnTo>
                  <a:lnTo>
                    <a:pt x="1764" y="1446"/>
                  </a:lnTo>
                  <a:lnTo>
                    <a:pt x="1763" y="1448"/>
                  </a:lnTo>
                  <a:lnTo>
                    <a:pt x="1760" y="1450"/>
                  </a:lnTo>
                  <a:lnTo>
                    <a:pt x="1759" y="1458"/>
                  </a:lnTo>
                  <a:lnTo>
                    <a:pt x="1758" y="1472"/>
                  </a:lnTo>
                  <a:lnTo>
                    <a:pt x="1760" y="1486"/>
                  </a:lnTo>
                  <a:lnTo>
                    <a:pt x="1764" y="1505"/>
                  </a:lnTo>
                  <a:lnTo>
                    <a:pt x="1771" y="1527"/>
                  </a:lnTo>
                  <a:lnTo>
                    <a:pt x="1779" y="1550"/>
                  </a:lnTo>
                  <a:lnTo>
                    <a:pt x="1796" y="1601"/>
                  </a:lnTo>
                  <a:lnTo>
                    <a:pt x="1811" y="1651"/>
                  </a:lnTo>
                  <a:lnTo>
                    <a:pt x="1815" y="1675"/>
                  </a:lnTo>
                  <a:lnTo>
                    <a:pt x="1816" y="1697"/>
                  </a:lnTo>
                  <a:lnTo>
                    <a:pt x="1816" y="1706"/>
                  </a:lnTo>
                  <a:lnTo>
                    <a:pt x="1815" y="1715"/>
                  </a:lnTo>
                  <a:lnTo>
                    <a:pt x="1812" y="1723"/>
                  </a:lnTo>
                  <a:lnTo>
                    <a:pt x="1808" y="1730"/>
                  </a:lnTo>
                  <a:lnTo>
                    <a:pt x="1804" y="1735"/>
                  </a:lnTo>
                  <a:lnTo>
                    <a:pt x="1798" y="1741"/>
                  </a:lnTo>
                  <a:lnTo>
                    <a:pt x="1791" y="1745"/>
                  </a:lnTo>
                  <a:lnTo>
                    <a:pt x="1782" y="1747"/>
                  </a:lnTo>
                  <a:lnTo>
                    <a:pt x="1771" y="1747"/>
                  </a:lnTo>
                  <a:lnTo>
                    <a:pt x="1758" y="1747"/>
                  </a:lnTo>
                  <a:lnTo>
                    <a:pt x="1744" y="1746"/>
                  </a:lnTo>
                  <a:lnTo>
                    <a:pt x="1728" y="1742"/>
                  </a:lnTo>
                  <a:lnTo>
                    <a:pt x="1706" y="1735"/>
                  </a:lnTo>
                  <a:lnTo>
                    <a:pt x="1684" y="1729"/>
                  </a:lnTo>
                  <a:lnTo>
                    <a:pt x="1664" y="1721"/>
                  </a:lnTo>
                  <a:lnTo>
                    <a:pt x="1646" y="1713"/>
                  </a:lnTo>
                  <a:lnTo>
                    <a:pt x="1627" y="1703"/>
                  </a:lnTo>
                  <a:lnTo>
                    <a:pt x="1610" y="1693"/>
                  </a:lnTo>
                  <a:lnTo>
                    <a:pt x="1595" y="1681"/>
                  </a:lnTo>
                  <a:lnTo>
                    <a:pt x="1580" y="1667"/>
                  </a:lnTo>
                  <a:lnTo>
                    <a:pt x="1567" y="1653"/>
                  </a:lnTo>
                  <a:lnTo>
                    <a:pt x="1556" y="1637"/>
                  </a:lnTo>
                  <a:lnTo>
                    <a:pt x="1547" y="1619"/>
                  </a:lnTo>
                  <a:lnTo>
                    <a:pt x="1538" y="1601"/>
                  </a:lnTo>
                  <a:lnTo>
                    <a:pt x="1532" y="1579"/>
                  </a:lnTo>
                  <a:lnTo>
                    <a:pt x="1527" y="1557"/>
                  </a:lnTo>
                  <a:lnTo>
                    <a:pt x="1524" y="1533"/>
                  </a:lnTo>
                  <a:lnTo>
                    <a:pt x="1523" y="1507"/>
                  </a:lnTo>
                  <a:lnTo>
                    <a:pt x="1520" y="1500"/>
                  </a:lnTo>
                  <a:lnTo>
                    <a:pt x="1515" y="1493"/>
                  </a:lnTo>
                  <a:lnTo>
                    <a:pt x="1508" y="1488"/>
                  </a:lnTo>
                  <a:lnTo>
                    <a:pt x="1499" y="1485"/>
                  </a:lnTo>
                  <a:lnTo>
                    <a:pt x="1480" y="1480"/>
                  </a:lnTo>
                  <a:lnTo>
                    <a:pt x="1460" y="1476"/>
                  </a:lnTo>
                  <a:lnTo>
                    <a:pt x="1450" y="1473"/>
                  </a:lnTo>
                  <a:lnTo>
                    <a:pt x="1440" y="1470"/>
                  </a:lnTo>
                  <a:lnTo>
                    <a:pt x="1432" y="1465"/>
                  </a:lnTo>
                  <a:lnTo>
                    <a:pt x="1424" y="1460"/>
                  </a:lnTo>
                  <a:lnTo>
                    <a:pt x="1419" y="1453"/>
                  </a:lnTo>
                  <a:lnTo>
                    <a:pt x="1415" y="1442"/>
                  </a:lnTo>
                  <a:lnTo>
                    <a:pt x="1414" y="1432"/>
                  </a:lnTo>
                  <a:lnTo>
                    <a:pt x="1415" y="1417"/>
                  </a:lnTo>
                  <a:lnTo>
                    <a:pt x="1406" y="1406"/>
                  </a:lnTo>
                  <a:lnTo>
                    <a:pt x="1399" y="1396"/>
                  </a:lnTo>
                  <a:lnTo>
                    <a:pt x="1394" y="1385"/>
                  </a:lnTo>
                  <a:lnTo>
                    <a:pt x="1390" y="1373"/>
                  </a:lnTo>
                  <a:lnTo>
                    <a:pt x="1386" y="1362"/>
                  </a:lnTo>
                  <a:lnTo>
                    <a:pt x="1382" y="1353"/>
                  </a:lnTo>
                  <a:lnTo>
                    <a:pt x="1378" y="1342"/>
                  </a:lnTo>
                  <a:lnTo>
                    <a:pt x="1371" y="1333"/>
                  </a:lnTo>
                  <a:lnTo>
                    <a:pt x="1362" y="1325"/>
                  </a:lnTo>
                  <a:lnTo>
                    <a:pt x="1350" y="1318"/>
                  </a:lnTo>
                  <a:lnTo>
                    <a:pt x="1335" y="1312"/>
                  </a:lnTo>
                  <a:lnTo>
                    <a:pt x="1316" y="1308"/>
                  </a:lnTo>
                  <a:lnTo>
                    <a:pt x="1292" y="1305"/>
                  </a:lnTo>
                  <a:lnTo>
                    <a:pt x="1263" y="1304"/>
                  </a:lnTo>
                  <a:lnTo>
                    <a:pt x="1227" y="1305"/>
                  </a:lnTo>
                  <a:lnTo>
                    <a:pt x="1186" y="1309"/>
                  </a:lnTo>
                  <a:lnTo>
                    <a:pt x="1184" y="1320"/>
                  </a:lnTo>
                  <a:lnTo>
                    <a:pt x="1182" y="1330"/>
                  </a:lnTo>
                  <a:lnTo>
                    <a:pt x="1178" y="1340"/>
                  </a:lnTo>
                  <a:lnTo>
                    <a:pt x="1174" y="1346"/>
                  </a:lnTo>
                  <a:lnTo>
                    <a:pt x="1168" y="1353"/>
                  </a:lnTo>
                  <a:lnTo>
                    <a:pt x="1162" y="1358"/>
                  </a:lnTo>
                  <a:lnTo>
                    <a:pt x="1155" y="1364"/>
                  </a:lnTo>
                  <a:lnTo>
                    <a:pt x="1147" y="1366"/>
                  </a:lnTo>
                  <a:lnTo>
                    <a:pt x="1139" y="1369"/>
                  </a:lnTo>
                  <a:lnTo>
                    <a:pt x="1130" y="1372"/>
                  </a:lnTo>
                  <a:lnTo>
                    <a:pt x="1121" y="1373"/>
                  </a:lnTo>
                  <a:lnTo>
                    <a:pt x="1111" y="1373"/>
                  </a:lnTo>
                  <a:lnTo>
                    <a:pt x="1091" y="1373"/>
                  </a:lnTo>
                  <a:lnTo>
                    <a:pt x="1070" y="1372"/>
                  </a:lnTo>
                  <a:lnTo>
                    <a:pt x="1047" y="1370"/>
                  </a:lnTo>
                  <a:lnTo>
                    <a:pt x="1026" y="1368"/>
                  </a:lnTo>
                  <a:lnTo>
                    <a:pt x="1005" y="1368"/>
                  </a:lnTo>
                  <a:lnTo>
                    <a:pt x="983" y="1368"/>
                  </a:lnTo>
                  <a:lnTo>
                    <a:pt x="974" y="1369"/>
                  </a:lnTo>
                  <a:lnTo>
                    <a:pt x="965" y="1370"/>
                  </a:lnTo>
                  <a:lnTo>
                    <a:pt x="955" y="1373"/>
                  </a:lnTo>
                  <a:lnTo>
                    <a:pt x="947" y="1376"/>
                  </a:lnTo>
                  <a:lnTo>
                    <a:pt x="939" y="1380"/>
                  </a:lnTo>
                  <a:lnTo>
                    <a:pt x="933" y="1385"/>
                  </a:lnTo>
                  <a:lnTo>
                    <a:pt x="926" y="1392"/>
                  </a:lnTo>
                  <a:lnTo>
                    <a:pt x="921" y="1398"/>
                  </a:lnTo>
                  <a:lnTo>
                    <a:pt x="918" y="1401"/>
                  </a:lnTo>
                  <a:lnTo>
                    <a:pt x="915" y="1404"/>
                  </a:lnTo>
                  <a:lnTo>
                    <a:pt x="913" y="1408"/>
                  </a:lnTo>
                  <a:lnTo>
                    <a:pt x="911" y="1410"/>
                  </a:lnTo>
                  <a:lnTo>
                    <a:pt x="910" y="1418"/>
                  </a:lnTo>
                  <a:lnTo>
                    <a:pt x="911" y="1428"/>
                  </a:lnTo>
                  <a:lnTo>
                    <a:pt x="914" y="1437"/>
                  </a:lnTo>
                  <a:lnTo>
                    <a:pt x="918" y="1448"/>
                  </a:lnTo>
                  <a:lnTo>
                    <a:pt x="925" y="1458"/>
                  </a:lnTo>
                  <a:lnTo>
                    <a:pt x="931" y="1469"/>
                  </a:lnTo>
                  <a:lnTo>
                    <a:pt x="961" y="1511"/>
                  </a:lnTo>
                  <a:lnTo>
                    <a:pt x="982" y="1543"/>
                  </a:lnTo>
                  <a:lnTo>
                    <a:pt x="986" y="1554"/>
                  </a:lnTo>
                  <a:lnTo>
                    <a:pt x="989" y="1565"/>
                  </a:lnTo>
                  <a:lnTo>
                    <a:pt x="991" y="1574"/>
                  </a:lnTo>
                  <a:lnTo>
                    <a:pt x="991" y="1582"/>
                  </a:lnTo>
                  <a:lnTo>
                    <a:pt x="991" y="1590"/>
                  </a:lnTo>
                  <a:lnTo>
                    <a:pt x="990" y="1598"/>
                  </a:lnTo>
                  <a:lnTo>
                    <a:pt x="987" y="1605"/>
                  </a:lnTo>
                  <a:lnTo>
                    <a:pt x="983" y="1610"/>
                  </a:lnTo>
                  <a:lnTo>
                    <a:pt x="979" y="1617"/>
                  </a:lnTo>
                  <a:lnTo>
                    <a:pt x="974" y="1622"/>
                  </a:lnTo>
                  <a:lnTo>
                    <a:pt x="969" y="1626"/>
                  </a:lnTo>
                  <a:lnTo>
                    <a:pt x="962" y="1630"/>
                  </a:lnTo>
                  <a:lnTo>
                    <a:pt x="946" y="1638"/>
                  </a:lnTo>
                  <a:lnTo>
                    <a:pt x="929" y="1645"/>
                  </a:lnTo>
                  <a:lnTo>
                    <a:pt x="889" y="1655"/>
                  </a:lnTo>
                  <a:lnTo>
                    <a:pt x="845" y="1665"/>
                  </a:lnTo>
                  <a:lnTo>
                    <a:pt x="822" y="1669"/>
                  </a:lnTo>
                  <a:lnTo>
                    <a:pt x="799" y="1674"/>
                  </a:lnTo>
                  <a:lnTo>
                    <a:pt x="778" y="1681"/>
                  </a:lnTo>
                  <a:lnTo>
                    <a:pt x="758" y="1687"/>
                  </a:lnTo>
                  <a:lnTo>
                    <a:pt x="742" y="1694"/>
                  </a:lnTo>
                  <a:lnTo>
                    <a:pt x="727" y="1699"/>
                  </a:lnTo>
                  <a:lnTo>
                    <a:pt x="714" y="1702"/>
                  </a:lnTo>
                  <a:lnTo>
                    <a:pt x="702" y="1705"/>
                  </a:lnTo>
                  <a:lnTo>
                    <a:pt x="691" y="1706"/>
                  </a:lnTo>
                  <a:lnTo>
                    <a:pt x="681" y="1705"/>
                  </a:lnTo>
                  <a:lnTo>
                    <a:pt x="673" y="1703"/>
                  </a:lnTo>
                  <a:lnTo>
                    <a:pt x="665" y="1702"/>
                  </a:lnTo>
                  <a:lnTo>
                    <a:pt x="658" y="1698"/>
                  </a:lnTo>
                  <a:lnTo>
                    <a:pt x="651" y="1694"/>
                  </a:lnTo>
                  <a:lnTo>
                    <a:pt x="646" y="1689"/>
                  </a:lnTo>
                  <a:lnTo>
                    <a:pt x="642" y="1683"/>
                  </a:lnTo>
                  <a:lnTo>
                    <a:pt x="635" y="1671"/>
                  </a:lnTo>
                  <a:lnTo>
                    <a:pt x="630" y="1658"/>
                  </a:lnTo>
                  <a:lnTo>
                    <a:pt x="623" y="1630"/>
                  </a:lnTo>
                  <a:lnTo>
                    <a:pt x="619" y="1607"/>
                  </a:lnTo>
                  <a:lnTo>
                    <a:pt x="617" y="1602"/>
                  </a:lnTo>
                  <a:lnTo>
                    <a:pt x="615" y="1599"/>
                  </a:lnTo>
                  <a:lnTo>
                    <a:pt x="614" y="1595"/>
                  </a:lnTo>
                  <a:lnTo>
                    <a:pt x="611" y="1594"/>
                  </a:lnTo>
                  <a:lnTo>
                    <a:pt x="609" y="1593"/>
                  </a:lnTo>
                  <a:lnTo>
                    <a:pt x="605" y="1593"/>
                  </a:lnTo>
                  <a:lnTo>
                    <a:pt x="601" y="1594"/>
                  </a:lnTo>
                  <a:lnTo>
                    <a:pt x="595" y="1597"/>
                  </a:lnTo>
                  <a:lnTo>
                    <a:pt x="403" y="1639"/>
                  </a:lnTo>
                  <a:lnTo>
                    <a:pt x="388" y="1653"/>
                  </a:lnTo>
                  <a:lnTo>
                    <a:pt x="368" y="1667"/>
                  </a:lnTo>
                  <a:lnTo>
                    <a:pt x="346" y="1683"/>
                  </a:lnTo>
                  <a:lnTo>
                    <a:pt x="324" y="1697"/>
                  </a:lnTo>
                  <a:lnTo>
                    <a:pt x="313" y="1702"/>
                  </a:lnTo>
                  <a:lnTo>
                    <a:pt x="301" y="1707"/>
                  </a:lnTo>
                  <a:lnTo>
                    <a:pt x="292" y="1710"/>
                  </a:lnTo>
                  <a:lnTo>
                    <a:pt x="281" y="1713"/>
                  </a:lnTo>
                  <a:lnTo>
                    <a:pt x="273" y="1713"/>
                  </a:lnTo>
                  <a:lnTo>
                    <a:pt x="265" y="1710"/>
                  </a:lnTo>
                  <a:lnTo>
                    <a:pt x="261" y="1709"/>
                  </a:lnTo>
                  <a:lnTo>
                    <a:pt x="258" y="1706"/>
                  </a:lnTo>
                  <a:lnTo>
                    <a:pt x="256" y="1703"/>
                  </a:lnTo>
                  <a:lnTo>
                    <a:pt x="253" y="1699"/>
                  </a:lnTo>
                  <a:lnTo>
                    <a:pt x="245" y="1687"/>
                  </a:lnTo>
                  <a:lnTo>
                    <a:pt x="240" y="1679"/>
                  </a:lnTo>
                  <a:lnTo>
                    <a:pt x="233" y="1675"/>
                  </a:lnTo>
                  <a:lnTo>
                    <a:pt x="229" y="1674"/>
                  </a:lnTo>
                  <a:lnTo>
                    <a:pt x="224" y="1675"/>
                  </a:lnTo>
                  <a:lnTo>
                    <a:pt x="218" y="1679"/>
                  </a:lnTo>
                  <a:lnTo>
                    <a:pt x="213" y="1685"/>
                  </a:lnTo>
                  <a:lnTo>
                    <a:pt x="206" y="1690"/>
                  </a:lnTo>
                  <a:lnTo>
                    <a:pt x="198" y="1698"/>
                  </a:lnTo>
                  <a:lnTo>
                    <a:pt x="190" y="1705"/>
                  </a:lnTo>
                  <a:lnTo>
                    <a:pt x="180" y="1711"/>
                  </a:lnTo>
                  <a:lnTo>
                    <a:pt x="168" y="1717"/>
                  </a:lnTo>
                  <a:lnTo>
                    <a:pt x="154" y="1721"/>
                  </a:lnTo>
                  <a:lnTo>
                    <a:pt x="137" y="1722"/>
                  </a:lnTo>
                  <a:lnTo>
                    <a:pt x="128" y="1722"/>
                  </a:lnTo>
                  <a:lnTo>
                    <a:pt x="118" y="1722"/>
                  </a:lnTo>
                  <a:lnTo>
                    <a:pt x="108" y="1721"/>
                  </a:lnTo>
                  <a:lnTo>
                    <a:pt x="96" y="1718"/>
                  </a:lnTo>
                  <a:lnTo>
                    <a:pt x="96" y="1734"/>
                  </a:lnTo>
                  <a:lnTo>
                    <a:pt x="94" y="1747"/>
                  </a:lnTo>
                  <a:lnTo>
                    <a:pt x="93" y="1757"/>
                  </a:lnTo>
                  <a:lnTo>
                    <a:pt x="90" y="1765"/>
                  </a:lnTo>
                  <a:lnTo>
                    <a:pt x="86" y="1778"/>
                  </a:lnTo>
                  <a:lnTo>
                    <a:pt x="84" y="1790"/>
                  </a:lnTo>
                  <a:lnTo>
                    <a:pt x="84" y="1799"/>
                  </a:lnTo>
                  <a:lnTo>
                    <a:pt x="81" y="1807"/>
                  </a:lnTo>
                  <a:lnTo>
                    <a:pt x="78" y="1817"/>
                  </a:lnTo>
                  <a:lnTo>
                    <a:pt x="73" y="1826"/>
                  </a:lnTo>
                  <a:lnTo>
                    <a:pt x="64" y="1847"/>
                  </a:lnTo>
                  <a:lnTo>
                    <a:pt x="54" y="1874"/>
                  </a:lnTo>
                  <a:lnTo>
                    <a:pt x="66" y="1879"/>
                  </a:lnTo>
                  <a:lnTo>
                    <a:pt x="77" y="1883"/>
                  </a:lnTo>
                  <a:lnTo>
                    <a:pt x="85" y="1889"/>
                  </a:lnTo>
                  <a:lnTo>
                    <a:pt x="92" y="1895"/>
                  </a:lnTo>
                  <a:lnTo>
                    <a:pt x="97" y="1901"/>
                  </a:lnTo>
                  <a:lnTo>
                    <a:pt x="101" y="1907"/>
                  </a:lnTo>
                  <a:lnTo>
                    <a:pt x="104" y="1914"/>
                  </a:lnTo>
                  <a:lnTo>
                    <a:pt x="106" y="1921"/>
                  </a:lnTo>
                  <a:lnTo>
                    <a:pt x="110" y="1937"/>
                  </a:lnTo>
                  <a:lnTo>
                    <a:pt x="116" y="1954"/>
                  </a:lnTo>
                  <a:lnTo>
                    <a:pt x="118" y="1963"/>
                  </a:lnTo>
                  <a:lnTo>
                    <a:pt x="121" y="1973"/>
                  </a:lnTo>
                  <a:lnTo>
                    <a:pt x="126" y="1983"/>
                  </a:lnTo>
                  <a:lnTo>
                    <a:pt x="133" y="1995"/>
                  </a:lnTo>
                  <a:lnTo>
                    <a:pt x="140" y="2007"/>
                  </a:lnTo>
                  <a:lnTo>
                    <a:pt x="146" y="2019"/>
                  </a:lnTo>
                  <a:lnTo>
                    <a:pt x="154" y="2030"/>
                  </a:lnTo>
                  <a:lnTo>
                    <a:pt x="164" y="2039"/>
                  </a:lnTo>
                  <a:lnTo>
                    <a:pt x="181" y="2057"/>
                  </a:lnTo>
                  <a:lnTo>
                    <a:pt x="200" y="2071"/>
                  </a:lnTo>
                  <a:lnTo>
                    <a:pt x="220" y="2086"/>
                  </a:lnTo>
                  <a:lnTo>
                    <a:pt x="240" y="2102"/>
                  </a:lnTo>
                  <a:lnTo>
                    <a:pt x="249" y="2110"/>
                  </a:lnTo>
                  <a:lnTo>
                    <a:pt x="258" y="2119"/>
                  </a:lnTo>
                  <a:lnTo>
                    <a:pt x="268" y="2128"/>
                  </a:lnTo>
                  <a:lnTo>
                    <a:pt x="277" y="2139"/>
                  </a:lnTo>
                  <a:lnTo>
                    <a:pt x="284" y="2147"/>
                  </a:lnTo>
                  <a:lnTo>
                    <a:pt x="288" y="2155"/>
                  </a:lnTo>
                  <a:lnTo>
                    <a:pt x="292" y="2164"/>
                  </a:lnTo>
                  <a:lnTo>
                    <a:pt x="294" y="2174"/>
                  </a:lnTo>
                  <a:lnTo>
                    <a:pt x="298" y="2192"/>
                  </a:lnTo>
                  <a:lnTo>
                    <a:pt x="300" y="2212"/>
                  </a:lnTo>
                  <a:lnTo>
                    <a:pt x="302" y="2232"/>
                  </a:lnTo>
                  <a:lnTo>
                    <a:pt x="305" y="2252"/>
                  </a:lnTo>
                  <a:lnTo>
                    <a:pt x="308" y="2262"/>
                  </a:lnTo>
                  <a:lnTo>
                    <a:pt x="310" y="2271"/>
                  </a:lnTo>
                  <a:lnTo>
                    <a:pt x="314" y="2280"/>
                  </a:lnTo>
                  <a:lnTo>
                    <a:pt x="320" y="2290"/>
                  </a:lnTo>
                  <a:lnTo>
                    <a:pt x="328" y="2298"/>
                  </a:lnTo>
                  <a:lnTo>
                    <a:pt x="338" y="2306"/>
                  </a:lnTo>
                  <a:lnTo>
                    <a:pt x="350" y="2312"/>
                  </a:lnTo>
                  <a:lnTo>
                    <a:pt x="362" y="2320"/>
                  </a:lnTo>
                  <a:lnTo>
                    <a:pt x="373" y="2328"/>
                  </a:lnTo>
                  <a:lnTo>
                    <a:pt x="382" y="2339"/>
                  </a:lnTo>
                  <a:lnTo>
                    <a:pt x="386" y="2344"/>
                  </a:lnTo>
                  <a:lnTo>
                    <a:pt x="389" y="2352"/>
                  </a:lnTo>
                  <a:lnTo>
                    <a:pt x="390" y="2359"/>
                  </a:lnTo>
                  <a:lnTo>
                    <a:pt x="392" y="2368"/>
                  </a:lnTo>
                  <a:lnTo>
                    <a:pt x="390" y="2379"/>
                  </a:lnTo>
                  <a:lnTo>
                    <a:pt x="388" y="2388"/>
                  </a:lnTo>
                  <a:lnTo>
                    <a:pt x="384" y="2398"/>
                  </a:lnTo>
                  <a:lnTo>
                    <a:pt x="378" y="2406"/>
                  </a:lnTo>
                  <a:lnTo>
                    <a:pt x="373" y="2412"/>
                  </a:lnTo>
                  <a:lnTo>
                    <a:pt x="365" y="2419"/>
                  </a:lnTo>
                  <a:lnTo>
                    <a:pt x="357" y="2424"/>
                  </a:lnTo>
                  <a:lnTo>
                    <a:pt x="349" y="2430"/>
                  </a:lnTo>
                  <a:lnTo>
                    <a:pt x="332" y="2439"/>
                  </a:lnTo>
                  <a:lnTo>
                    <a:pt x="316" y="2447"/>
                  </a:lnTo>
                  <a:lnTo>
                    <a:pt x="300" y="2456"/>
                  </a:lnTo>
                  <a:lnTo>
                    <a:pt x="289" y="2464"/>
                  </a:lnTo>
                  <a:lnTo>
                    <a:pt x="205" y="2681"/>
                  </a:lnTo>
                  <a:lnTo>
                    <a:pt x="206" y="2692"/>
                  </a:lnTo>
                  <a:lnTo>
                    <a:pt x="209" y="2701"/>
                  </a:lnTo>
                  <a:lnTo>
                    <a:pt x="214" y="2711"/>
                  </a:lnTo>
                  <a:lnTo>
                    <a:pt x="220" y="2720"/>
                  </a:lnTo>
                  <a:lnTo>
                    <a:pt x="225" y="2729"/>
                  </a:lnTo>
                  <a:lnTo>
                    <a:pt x="230" y="2739"/>
                  </a:lnTo>
                  <a:lnTo>
                    <a:pt x="233" y="2748"/>
                  </a:lnTo>
                  <a:lnTo>
                    <a:pt x="234" y="2759"/>
                  </a:lnTo>
                  <a:lnTo>
                    <a:pt x="234" y="2769"/>
                  </a:lnTo>
                  <a:lnTo>
                    <a:pt x="233" y="2777"/>
                  </a:lnTo>
                  <a:lnTo>
                    <a:pt x="229" y="2784"/>
                  </a:lnTo>
                  <a:lnTo>
                    <a:pt x="225" y="2789"/>
                  </a:lnTo>
                  <a:lnTo>
                    <a:pt x="221" y="2792"/>
                  </a:lnTo>
                  <a:lnTo>
                    <a:pt x="216" y="2795"/>
                  </a:lnTo>
                  <a:lnTo>
                    <a:pt x="209" y="2796"/>
                  </a:lnTo>
                  <a:lnTo>
                    <a:pt x="202" y="2796"/>
                  </a:lnTo>
                  <a:lnTo>
                    <a:pt x="188" y="2796"/>
                  </a:lnTo>
                  <a:lnTo>
                    <a:pt x="172" y="2796"/>
                  </a:lnTo>
                  <a:lnTo>
                    <a:pt x="162" y="2796"/>
                  </a:lnTo>
                  <a:lnTo>
                    <a:pt x="154" y="2797"/>
                  </a:lnTo>
                  <a:lnTo>
                    <a:pt x="146" y="2799"/>
                  </a:lnTo>
                  <a:lnTo>
                    <a:pt x="138" y="2801"/>
                  </a:lnTo>
                  <a:lnTo>
                    <a:pt x="132" y="2804"/>
                  </a:lnTo>
                  <a:lnTo>
                    <a:pt x="124" y="2809"/>
                  </a:lnTo>
                  <a:lnTo>
                    <a:pt x="117" y="2816"/>
                  </a:lnTo>
                  <a:lnTo>
                    <a:pt x="109" y="2824"/>
                  </a:lnTo>
                  <a:lnTo>
                    <a:pt x="93" y="2843"/>
                  </a:lnTo>
                  <a:lnTo>
                    <a:pt x="76" y="2863"/>
                  </a:lnTo>
                  <a:lnTo>
                    <a:pt x="58" y="2884"/>
                  </a:lnTo>
                  <a:lnTo>
                    <a:pt x="40" y="2905"/>
                  </a:lnTo>
                  <a:lnTo>
                    <a:pt x="29" y="2913"/>
                  </a:lnTo>
                  <a:lnTo>
                    <a:pt x="20" y="2921"/>
                  </a:lnTo>
                  <a:lnTo>
                    <a:pt x="10" y="2928"/>
                  </a:lnTo>
                  <a:lnTo>
                    <a:pt x="0" y="2933"/>
                  </a:lnTo>
                  <a:lnTo>
                    <a:pt x="17" y="2964"/>
                  </a:lnTo>
                  <a:lnTo>
                    <a:pt x="34" y="2993"/>
                  </a:lnTo>
                  <a:lnTo>
                    <a:pt x="52" y="3024"/>
                  </a:lnTo>
                  <a:lnTo>
                    <a:pt x="68" y="3056"/>
                  </a:lnTo>
                  <a:lnTo>
                    <a:pt x="84" y="3088"/>
                  </a:lnTo>
                  <a:lnTo>
                    <a:pt x="97" y="3120"/>
                  </a:lnTo>
                  <a:lnTo>
                    <a:pt x="110" y="3153"/>
                  </a:lnTo>
                  <a:lnTo>
                    <a:pt x="124" y="3187"/>
                  </a:lnTo>
                  <a:lnTo>
                    <a:pt x="134" y="3221"/>
                  </a:lnTo>
                  <a:lnTo>
                    <a:pt x="145" y="3256"/>
                  </a:lnTo>
                  <a:lnTo>
                    <a:pt x="153" y="3290"/>
                  </a:lnTo>
                  <a:lnTo>
                    <a:pt x="161" y="3326"/>
                  </a:lnTo>
                  <a:lnTo>
                    <a:pt x="166" y="3364"/>
                  </a:lnTo>
                  <a:lnTo>
                    <a:pt x="170" y="3400"/>
                  </a:lnTo>
                  <a:lnTo>
                    <a:pt x="173" y="3437"/>
                  </a:lnTo>
                  <a:lnTo>
                    <a:pt x="174" y="3476"/>
                  </a:lnTo>
                  <a:lnTo>
                    <a:pt x="173" y="3486"/>
                  </a:lnTo>
                  <a:lnTo>
                    <a:pt x="172" y="3496"/>
                  </a:lnTo>
                  <a:lnTo>
                    <a:pt x="168" y="3504"/>
                  </a:lnTo>
                  <a:lnTo>
                    <a:pt x="162" y="3510"/>
                  </a:lnTo>
                  <a:lnTo>
                    <a:pt x="149" y="3522"/>
                  </a:lnTo>
                  <a:lnTo>
                    <a:pt x="134" y="3533"/>
                  </a:lnTo>
                  <a:lnTo>
                    <a:pt x="118" y="3544"/>
                  </a:lnTo>
                  <a:lnTo>
                    <a:pt x="104" y="3556"/>
                  </a:lnTo>
                  <a:lnTo>
                    <a:pt x="97" y="3562"/>
                  </a:lnTo>
                  <a:lnTo>
                    <a:pt x="92" y="3570"/>
                  </a:lnTo>
                  <a:lnTo>
                    <a:pt x="88" y="3580"/>
                  </a:lnTo>
                  <a:lnTo>
                    <a:pt x="84" y="3590"/>
                  </a:lnTo>
                  <a:lnTo>
                    <a:pt x="113" y="3596"/>
                  </a:lnTo>
                  <a:lnTo>
                    <a:pt x="144" y="3602"/>
                  </a:lnTo>
                  <a:lnTo>
                    <a:pt x="157" y="3608"/>
                  </a:lnTo>
                  <a:lnTo>
                    <a:pt x="168" y="3614"/>
                  </a:lnTo>
                  <a:lnTo>
                    <a:pt x="173" y="3618"/>
                  </a:lnTo>
                  <a:lnTo>
                    <a:pt x="176" y="3622"/>
                  </a:lnTo>
                  <a:lnTo>
                    <a:pt x="178" y="3628"/>
                  </a:lnTo>
                  <a:lnTo>
                    <a:pt x="181" y="3633"/>
                  </a:lnTo>
                  <a:lnTo>
                    <a:pt x="182" y="3640"/>
                  </a:lnTo>
                  <a:lnTo>
                    <a:pt x="184" y="3646"/>
                  </a:lnTo>
                  <a:lnTo>
                    <a:pt x="184" y="3652"/>
                  </a:lnTo>
                  <a:lnTo>
                    <a:pt x="182" y="3658"/>
                  </a:lnTo>
                  <a:lnTo>
                    <a:pt x="181" y="3672"/>
                  </a:lnTo>
                  <a:lnTo>
                    <a:pt x="177" y="3685"/>
                  </a:lnTo>
                  <a:lnTo>
                    <a:pt x="174" y="3697"/>
                  </a:lnTo>
                  <a:lnTo>
                    <a:pt x="172" y="3712"/>
                  </a:lnTo>
                  <a:lnTo>
                    <a:pt x="172" y="3718"/>
                  </a:lnTo>
                  <a:lnTo>
                    <a:pt x="172" y="3725"/>
                  </a:lnTo>
                  <a:lnTo>
                    <a:pt x="173" y="3733"/>
                  </a:lnTo>
                  <a:lnTo>
                    <a:pt x="174" y="3741"/>
                  </a:lnTo>
                  <a:lnTo>
                    <a:pt x="178" y="3756"/>
                  </a:lnTo>
                  <a:lnTo>
                    <a:pt x="182" y="3769"/>
                  </a:lnTo>
                  <a:lnTo>
                    <a:pt x="189" y="3781"/>
                  </a:lnTo>
                  <a:lnTo>
                    <a:pt x="197" y="3794"/>
                  </a:lnTo>
                  <a:lnTo>
                    <a:pt x="216" y="3817"/>
                  </a:lnTo>
                  <a:lnTo>
                    <a:pt x="236" y="3839"/>
                  </a:lnTo>
                  <a:lnTo>
                    <a:pt x="246" y="3851"/>
                  </a:lnTo>
                  <a:lnTo>
                    <a:pt x="256" y="3862"/>
                  </a:lnTo>
                  <a:lnTo>
                    <a:pt x="265" y="3874"/>
                  </a:lnTo>
                  <a:lnTo>
                    <a:pt x="273" y="3886"/>
                  </a:lnTo>
                  <a:lnTo>
                    <a:pt x="280" y="3898"/>
                  </a:lnTo>
                  <a:lnTo>
                    <a:pt x="285" y="3911"/>
                  </a:lnTo>
                  <a:lnTo>
                    <a:pt x="288" y="3925"/>
                  </a:lnTo>
                  <a:lnTo>
                    <a:pt x="289" y="3939"/>
                  </a:lnTo>
                  <a:lnTo>
                    <a:pt x="289" y="3945"/>
                  </a:lnTo>
                  <a:lnTo>
                    <a:pt x="286" y="3950"/>
                  </a:lnTo>
                  <a:lnTo>
                    <a:pt x="284" y="3955"/>
                  </a:lnTo>
                  <a:lnTo>
                    <a:pt x="281" y="3961"/>
                  </a:lnTo>
                  <a:lnTo>
                    <a:pt x="272" y="3973"/>
                  </a:lnTo>
                  <a:lnTo>
                    <a:pt x="262" y="3985"/>
                  </a:lnTo>
                  <a:lnTo>
                    <a:pt x="252" y="3998"/>
                  </a:lnTo>
                  <a:lnTo>
                    <a:pt x="244" y="4013"/>
                  </a:lnTo>
                  <a:lnTo>
                    <a:pt x="240" y="4021"/>
                  </a:lnTo>
                  <a:lnTo>
                    <a:pt x="237" y="4029"/>
                  </a:lnTo>
                  <a:lnTo>
                    <a:pt x="236" y="4038"/>
                  </a:lnTo>
                  <a:lnTo>
                    <a:pt x="234" y="4047"/>
                  </a:lnTo>
                  <a:lnTo>
                    <a:pt x="234" y="4083"/>
                  </a:lnTo>
                  <a:lnTo>
                    <a:pt x="234" y="4103"/>
                  </a:lnTo>
                  <a:lnTo>
                    <a:pt x="234" y="4131"/>
                  </a:lnTo>
                  <a:lnTo>
                    <a:pt x="234" y="4186"/>
                  </a:lnTo>
                  <a:lnTo>
                    <a:pt x="248" y="4190"/>
                  </a:lnTo>
                  <a:lnTo>
                    <a:pt x="262" y="4191"/>
                  </a:lnTo>
                  <a:lnTo>
                    <a:pt x="276" y="4191"/>
                  </a:lnTo>
                  <a:lnTo>
                    <a:pt x="289" y="4191"/>
                  </a:lnTo>
                  <a:lnTo>
                    <a:pt x="316" y="4187"/>
                  </a:lnTo>
                  <a:lnTo>
                    <a:pt x="344" y="4186"/>
                  </a:lnTo>
                  <a:lnTo>
                    <a:pt x="352" y="4187"/>
                  </a:lnTo>
                  <a:lnTo>
                    <a:pt x="360" y="4189"/>
                  </a:lnTo>
                  <a:lnTo>
                    <a:pt x="368" y="4191"/>
                  </a:lnTo>
                  <a:lnTo>
                    <a:pt x="374" y="4194"/>
                  </a:lnTo>
                  <a:lnTo>
                    <a:pt x="392" y="4202"/>
                  </a:lnTo>
                  <a:lnTo>
                    <a:pt x="415" y="4210"/>
                  </a:lnTo>
                  <a:lnTo>
                    <a:pt x="427" y="4213"/>
                  </a:lnTo>
                  <a:lnTo>
                    <a:pt x="439" y="4214"/>
                  </a:lnTo>
                  <a:lnTo>
                    <a:pt x="451" y="4215"/>
                  </a:lnTo>
                  <a:lnTo>
                    <a:pt x="465" y="4215"/>
                  </a:lnTo>
                  <a:lnTo>
                    <a:pt x="491" y="4214"/>
                  </a:lnTo>
                  <a:lnTo>
                    <a:pt x="517" y="4214"/>
                  </a:lnTo>
                  <a:lnTo>
                    <a:pt x="527" y="4214"/>
                  </a:lnTo>
                  <a:lnTo>
                    <a:pt x="538" y="4215"/>
                  </a:lnTo>
                  <a:lnTo>
                    <a:pt x="547" y="4217"/>
                  </a:lnTo>
                  <a:lnTo>
                    <a:pt x="555" y="4221"/>
                  </a:lnTo>
                  <a:lnTo>
                    <a:pt x="562" y="4226"/>
                  </a:lnTo>
                  <a:lnTo>
                    <a:pt x="567" y="4233"/>
                  </a:lnTo>
                  <a:lnTo>
                    <a:pt x="571" y="4242"/>
                  </a:lnTo>
                  <a:lnTo>
                    <a:pt x="571" y="4253"/>
                  </a:lnTo>
                  <a:lnTo>
                    <a:pt x="571" y="4265"/>
                  </a:lnTo>
                  <a:lnTo>
                    <a:pt x="567" y="4275"/>
                  </a:lnTo>
                  <a:lnTo>
                    <a:pt x="563" y="4283"/>
                  </a:lnTo>
                  <a:lnTo>
                    <a:pt x="559" y="4291"/>
                  </a:lnTo>
                  <a:lnTo>
                    <a:pt x="554" y="4298"/>
                  </a:lnTo>
                  <a:lnTo>
                    <a:pt x="549" y="4306"/>
                  </a:lnTo>
                  <a:lnTo>
                    <a:pt x="545" y="4314"/>
                  </a:lnTo>
                  <a:lnTo>
                    <a:pt x="542" y="4325"/>
                  </a:lnTo>
                  <a:lnTo>
                    <a:pt x="571" y="4330"/>
                  </a:lnTo>
                  <a:lnTo>
                    <a:pt x="598" y="4337"/>
                  </a:lnTo>
                  <a:lnTo>
                    <a:pt x="609" y="4341"/>
                  </a:lnTo>
                  <a:lnTo>
                    <a:pt x="621" y="4345"/>
                  </a:lnTo>
                  <a:lnTo>
                    <a:pt x="630" y="4350"/>
                  </a:lnTo>
                  <a:lnTo>
                    <a:pt x="639" y="4355"/>
                  </a:lnTo>
                  <a:lnTo>
                    <a:pt x="649" y="4362"/>
                  </a:lnTo>
                  <a:lnTo>
                    <a:pt x="657" y="4369"/>
                  </a:lnTo>
                  <a:lnTo>
                    <a:pt x="663" y="4377"/>
                  </a:lnTo>
                  <a:lnTo>
                    <a:pt x="670" y="4385"/>
                  </a:lnTo>
                  <a:lnTo>
                    <a:pt x="677" y="4394"/>
                  </a:lnTo>
                  <a:lnTo>
                    <a:pt x="682" y="4405"/>
                  </a:lnTo>
                  <a:lnTo>
                    <a:pt x="687" y="4415"/>
                  </a:lnTo>
                  <a:lnTo>
                    <a:pt x="693" y="4427"/>
                  </a:lnTo>
                  <a:lnTo>
                    <a:pt x="698" y="4436"/>
                  </a:lnTo>
                  <a:lnTo>
                    <a:pt x="702" y="4444"/>
                  </a:lnTo>
                  <a:lnTo>
                    <a:pt x="705" y="4454"/>
                  </a:lnTo>
                  <a:lnTo>
                    <a:pt x="707" y="4462"/>
                  </a:lnTo>
                  <a:lnTo>
                    <a:pt x="711" y="4479"/>
                  </a:lnTo>
                  <a:lnTo>
                    <a:pt x="714" y="4496"/>
                  </a:lnTo>
                  <a:lnTo>
                    <a:pt x="715" y="4515"/>
                  </a:lnTo>
                  <a:lnTo>
                    <a:pt x="719" y="4532"/>
                  </a:lnTo>
                  <a:lnTo>
                    <a:pt x="722" y="4542"/>
                  </a:lnTo>
                  <a:lnTo>
                    <a:pt x="725" y="4552"/>
                  </a:lnTo>
                  <a:lnTo>
                    <a:pt x="729" y="4562"/>
                  </a:lnTo>
                  <a:lnTo>
                    <a:pt x="734" y="4571"/>
                  </a:lnTo>
                  <a:lnTo>
                    <a:pt x="738" y="4576"/>
                  </a:lnTo>
                  <a:lnTo>
                    <a:pt x="743" y="4582"/>
                  </a:lnTo>
                  <a:lnTo>
                    <a:pt x="750" y="4584"/>
                  </a:lnTo>
                  <a:lnTo>
                    <a:pt x="757" y="4588"/>
                  </a:lnTo>
                  <a:lnTo>
                    <a:pt x="771" y="4594"/>
                  </a:lnTo>
                  <a:lnTo>
                    <a:pt x="786" y="4599"/>
                  </a:lnTo>
                  <a:lnTo>
                    <a:pt x="794" y="4602"/>
                  </a:lnTo>
                  <a:lnTo>
                    <a:pt x="801" y="4606"/>
                  </a:lnTo>
                  <a:lnTo>
                    <a:pt x="807" y="4610"/>
                  </a:lnTo>
                  <a:lnTo>
                    <a:pt x="813" y="4614"/>
                  </a:lnTo>
                  <a:lnTo>
                    <a:pt x="818" y="4619"/>
                  </a:lnTo>
                  <a:lnTo>
                    <a:pt x="822" y="4627"/>
                  </a:lnTo>
                  <a:lnTo>
                    <a:pt x="823" y="4635"/>
                  </a:lnTo>
                  <a:lnTo>
                    <a:pt x="825" y="4644"/>
                  </a:lnTo>
                  <a:lnTo>
                    <a:pt x="825" y="4672"/>
                  </a:lnTo>
                  <a:lnTo>
                    <a:pt x="825" y="4691"/>
                  </a:lnTo>
                  <a:lnTo>
                    <a:pt x="825" y="4702"/>
                  </a:lnTo>
                  <a:lnTo>
                    <a:pt x="825" y="4710"/>
                  </a:lnTo>
                  <a:lnTo>
                    <a:pt x="826" y="4726"/>
                  </a:lnTo>
                  <a:lnTo>
                    <a:pt x="827" y="4740"/>
                  </a:lnTo>
                  <a:lnTo>
                    <a:pt x="831" y="4754"/>
                  </a:lnTo>
                  <a:lnTo>
                    <a:pt x="835" y="4767"/>
                  </a:lnTo>
                  <a:lnTo>
                    <a:pt x="842" y="4779"/>
                  </a:lnTo>
                  <a:lnTo>
                    <a:pt x="849" y="4791"/>
                  </a:lnTo>
                  <a:lnTo>
                    <a:pt x="857" y="4803"/>
                  </a:lnTo>
                  <a:lnTo>
                    <a:pt x="866" y="4814"/>
                  </a:lnTo>
                  <a:lnTo>
                    <a:pt x="877" y="4823"/>
                  </a:lnTo>
                  <a:lnTo>
                    <a:pt x="889" y="4834"/>
                  </a:lnTo>
                  <a:lnTo>
                    <a:pt x="901" y="4843"/>
                  </a:lnTo>
                  <a:lnTo>
                    <a:pt x="914" y="4851"/>
                  </a:lnTo>
                  <a:lnTo>
                    <a:pt x="943" y="4868"/>
                  </a:lnTo>
                  <a:lnTo>
                    <a:pt x="975" y="4884"/>
                  </a:lnTo>
                  <a:lnTo>
                    <a:pt x="973" y="4902"/>
                  </a:lnTo>
                  <a:lnTo>
                    <a:pt x="969" y="4918"/>
                  </a:lnTo>
                  <a:lnTo>
                    <a:pt x="963" y="4934"/>
                  </a:lnTo>
                  <a:lnTo>
                    <a:pt x="958" y="4948"/>
                  </a:lnTo>
                  <a:lnTo>
                    <a:pt x="953" y="4964"/>
                  </a:lnTo>
                  <a:lnTo>
                    <a:pt x="949" y="4980"/>
                  </a:lnTo>
                  <a:lnTo>
                    <a:pt x="946" y="4998"/>
                  </a:lnTo>
                  <a:lnTo>
                    <a:pt x="945" y="5017"/>
                  </a:lnTo>
                  <a:lnTo>
                    <a:pt x="945" y="5059"/>
                  </a:lnTo>
                  <a:lnTo>
                    <a:pt x="945" y="5096"/>
                  </a:lnTo>
                  <a:lnTo>
                    <a:pt x="945" y="5129"/>
                  </a:lnTo>
                  <a:lnTo>
                    <a:pt x="945" y="5161"/>
                  </a:lnTo>
                  <a:lnTo>
                    <a:pt x="945" y="5192"/>
                  </a:lnTo>
                  <a:lnTo>
                    <a:pt x="945" y="5224"/>
                  </a:lnTo>
                  <a:lnTo>
                    <a:pt x="945" y="5260"/>
                  </a:lnTo>
                  <a:lnTo>
                    <a:pt x="945" y="5300"/>
                  </a:lnTo>
                  <a:lnTo>
                    <a:pt x="946" y="5316"/>
                  </a:lnTo>
                  <a:lnTo>
                    <a:pt x="946" y="5333"/>
                  </a:lnTo>
                  <a:lnTo>
                    <a:pt x="947" y="5341"/>
                  </a:lnTo>
                  <a:lnTo>
                    <a:pt x="949" y="5349"/>
                  </a:lnTo>
                  <a:lnTo>
                    <a:pt x="951" y="5357"/>
                  </a:lnTo>
                  <a:lnTo>
                    <a:pt x="954" y="5364"/>
                  </a:lnTo>
                  <a:lnTo>
                    <a:pt x="958" y="5371"/>
                  </a:lnTo>
                  <a:lnTo>
                    <a:pt x="963" y="5377"/>
                  </a:lnTo>
                  <a:lnTo>
                    <a:pt x="969" y="5383"/>
                  </a:lnTo>
                  <a:lnTo>
                    <a:pt x="975" y="5388"/>
                  </a:lnTo>
                  <a:lnTo>
                    <a:pt x="985" y="5391"/>
                  </a:lnTo>
                  <a:lnTo>
                    <a:pt x="994" y="5395"/>
                  </a:lnTo>
                  <a:lnTo>
                    <a:pt x="1005" y="5396"/>
                  </a:lnTo>
                  <a:lnTo>
                    <a:pt x="1018" y="5396"/>
                  </a:lnTo>
                  <a:lnTo>
                    <a:pt x="1029" y="5396"/>
                  </a:lnTo>
                  <a:lnTo>
                    <a:pt x="1041" y="5395"/>
                  </a:lnTo>
                  <a:lnTo>
                    <a:pt x="1051" y="5392"/>
                  </a:lnTo>
                  <a:lnTo>
                    <a:pt x="1061" y="5389"/>
                  </a:lnTo>
                  <a:lnTo>
                    <a:pt x="1071" y="5385"/>
                  </a:lnTo>
                  <a:lnTo>
                    <a:pt x="1081" y="5380"/>
                  </a:lnTo>
                  <a:lnTo>
                    <a:pt x="1089" y="5375"/>
                  </a:lnTo>
                  <a:lnTo>
                    <a:pt x="1098" y="5369"/>
                  </a:lnTo>
                  <a:lnTo>
                    <a:pt x="1114" y="5356"/>
                  </a:lnTo>
                  <a:lnTo>
                    <a:pt x="1130" y="5341"/>
                  </a:lnTo>
                  <a:lnTo>
                    <a:pt x="1145" y="5325"/>
                  </a:lnTo>
                  <a:lnTo>
                    <a:pt x="1159" y="5309"/>
                  </a:lnTo>
                  <a:lnTo>
                    <a:pt x="1172" y="5293"/>
                  </a:lnTo>
                  <a:lnTo>
                    <a:pt x="1187" y="5277"/>
                  </a:lnTo>
                  <a:lnTo>
                    <a:pt x="1200" y="5263"/>
                  </a:lnTo>
                  <a:lnTo>
                    <a:pt x="1215" y="5249"/>
                  </a:lnTo>
                  <a:lnTo>
                    <a:pt x="1231" y="5237"/>
                  </a:lnTo>
                  <a:lnTo>
                    <a:pt x="1247" y="5229"/>
                  </a:lnTo>
                  <a:lnTo>
                    <a:pt x="1255" y="5227"/>
                  </a:lnTo>
                  <a:lnTo>
                    <a:pt x="1264" y="5224"/>
                  </a:lnTo>
                  <a:lnTo>
                    <a:pt x="1272" y="5223"/>
                  </a:lnTo>
                  <a:lnTo>
                    <a:pt x="1282" y="5221"/>
                  </a:lnTo>
                  <a:lnTo>
                    <a:pt x="1288" y="5223"/>
                  </a:lnTo>
                  <a:lnTo>
                    <a:pt x="1292" y="5224"/>
                  </a:lnTo>
                  <a:lnTo>
                    <a:pt x="1298" y="5228"/>
                  </a:lnTo>
                  <a:lnTo>
                    <a:pt x="1303" y="5232"/>
                  </a:lnTo>
                  <a:lnTo>
                    <a:pt x="1312" y="5243"/>
                  </a:lnTo>
                  <a:lnTo>
                    <a:pt x="1322" y="5255"/>
                  </a:lnTo>
                  <a:lnTo>
                    <a:pt x="1332" y="5267"/>
                  </a:lnTo>
                  <a:lnTo>
                    <a:pt x="1344" y="5277"/>
                  </a:lnTo>
                  <a:lnTo>
                    <a:pt x="1352" y="5281"/>
                  </a:lnTo>
                  <a:lnTo>
                    <a:pt x="1360" y="5285"/>
                  </a:lnTo>
                  <a:lnTo>
                    <a:pt x="1368" y="5287"/>
                  </a:lnTo>
                  <a:lnTo>
                    <a:pt x="1379" y="5288"/>
                  </a:lnTo>
                  <a:lnTo>
                    <a:pt x="1382" y="5273"/>
                  </a:lnTo>
                  <a:lnTo>
                    <a:pt x="1386" y="5259"/>
                  </a:lnTo>
                  <a:lnTo>
                    <a:pt x="1391" y="5244"/>
                  </a:lnTo>
                  <a:lnTo>
                    <a:pt x="1398" y="5231"/>
                  </a:lnTo>
                  <a:lnTo>
                    <a:pt x="1414" y="5207"/>
                  </a:lnTo>
                  <a:lnTo>
                    <a:pt x="1431" y="5181"/>
                  </a:lnTo>
                  <a:lnTo>
                    <a:pt x="1450" y="5157"/>
                  </a:lnTo>
                  <a:lnTo>
                    <a:pt x="1467" y="5131"/>
                  </a:lnTo>
                  <a:lnTo>
                    <a:pt x="1475" y="5117"/>
                  </a:lnTo>
                  <a:lnTo>
                    <a:pt x="1482" y="5103"/>
                  </a:lnTo>
                  <a:lnTo>
                    <a:pt x="1488" y="5088"/>
                  </a:lnTo>
                  <a:lnTo>
                    <a:pt x="1494" y="5071"/>
                  </a:lnTo>
                  <a:lnTo>
                    <a:pt x="1500" y="5041"/>
                  </a:lnTo>
                  <a:lnTo>
                    <a:pt x="1506" y="5013"/>
                  </a:lnTo>
                  <a:lnTo>
                    <a:pt x="1508" y="4987"/>
                  </a:lnTo>
                  <a:lnTo>
                    <a:pt x="1512" y="4963"/>
                  </a:lnTo>
                  <a:lnTo>
                    <a:pt x="1515" y="4939"/>
                  </a:lnTo>
                  <a:lnTo>
                    <a:pt x="1518" y="4918"/>
                  </a:lnTo>
                  <a:lnTo>
                    <a:pt x="1522" y="4899"/>
                  </a:lnTo>
                  <a:lnTo>
                    <a:pt x="1527" y="4880"/>
                  </a:lnTo>
                  <a:lnTo>
                    <a:pt x="1530" y="4872"/>
                  </a:lnTo>
                  <a:lnTo>
                    <a:pt x="1534" y="4866"/>
                  </a:lnTo>
                  <a:lnTo>
                    <a:pt x="1538" y="4858"/>
                  </a:lnTo>
                  <a:lnTo>
                    <a:pt x="1543" y="4851"/>
                  </a:lnTo>
                  <a:lnTo>
                    <a:pt x="1548" y="4846"/>
                  </a:lnTo>
                  <a:lnTo>
                    <a:pt x="1555" y="4840"/>
                  </a:lnTo>
                  <a:lnTo>
                    <a:pt x="1562" y="4835"/>
                  </a:lnTo>
                  <a:lnTo>
                    <a:pt x="1570" y="4830"/>
                  </a:lnTo>
                  <a:lnTo>
                    <a:pt x="1579" y="4826"/>
                  </a:lnTo>
                  <a:lnTo>
                    <a:pt x="1590" y="4823"/>
                  </a:lnTo>
                  <a:lnTo>
                    <a:pt x="1600" y="4819"/>
                  </a:lnTo>
                  <a:lnTo>
                    <a:pt x="1612" y="4816"/>
                  </a:lnTo>
                  <a:lnTo>
                    <a:pt x="1640" y="4814"/>
                  </a:lnTo>
                  <a:lnTo>
                    <a:pt x="1674" y="4812"/>
                  </a:lnTo>
                  <a:lnTo>
                    <a:pt x="1686" y="4812"/>
                  </a:lnTo>
                  <a:lnTo>
                    <a:pt x="1696" y="4814"/>
                  </a:lnTo>
                  <a:lnTo>
                    <a:pt x="1707" y="4816"/>
                  </a:lnTo>
                  <a:lnTo>
                    <a:pt x="1716" y="4819"/>
                  </a:lnTo>
                  <a:lnTo>
                    <a:pt x="1724" y="4823"/>
                  </a:lnTo>
                  <a:lnTo>
                    <a:pt x="1732" y="4827"/>
                  </a:lnTo>
                  <a:lnTo>
                    <a:pt x="1740" y="4832"/>
                  </a:lnTo>
                  <a:lnTo>
                    <a:pt x="1747" y="4838"/>
                  </a:lnTo>
                  <a:lnTo>
                    <a:pt x="1759" y="4850"/>
                  </a:lnTo>
                  <a:lnTo>
                    <a:pt x="1768" y="4864"/>
                  </a:lnTo>
                  <a:lnTo>
                    <a:pt x="1778" y="4879"/>
                  </a:lnTo>
                  <a:lnTo>
                    <a:pt x="1786" y="4894"/>
                  </a:lnTo>
                  <a:lnTo>
                    <a:pt x="1794" y="4908"/>
                  </a:lnTo>
                  <a:lnTo>
                    <a:pt x="1803" y="4923"/>
                  </a:lnTo>
                  <a:lnTo>
                    <a:pt x="1812" y="4938"/>
                  </a:lnTo>
                  <a:lnTo>
                    <a:pt x="1822" y="4950"/>
                  </a:lnTo>
                  <a:lnTo>
                    <a:pt x="1828" y="4955"/>
                  </a:lnTo>
                  <a:lnTo>
                    <a:pt x="1834" y="4960"/>
                  </a:lnTo>
                  <a:lnTo>
                    <a:pt x="1840" y="4964"/>
                  </a:lnTo>
                  <a:lnTo>
                    <a:pt x="1848" y="4968"/>
                  </a:lnTo>
                  <a:lnTo>
                    <a:pt x="1856" y="4971"/>
                  </a:lnTo>
                  <a:lnTo>
                    <a:pt x="1864" y="4974"/>
                  </a:lnTo>
                  <a:lnTo>
                    <a:pt x="1875" y="4975"/>
                  </a:lnTo>
                  <a:lnTo>
                    <a:pt x="1884" y="4975"/>
                  </a:lnTo>
                  <a:lnTo>
                    <a:pt x="1899" y="4974"/>
                  </a:lnTo>
                  <a:lnTo>
                    <a:pt x="1910" y="4972"/>
                  </a:lnTo>
                  <a:lnTo>
                    <a:pt x="1919" y="4967"/>
                  </a:lnTo>
                  <a:lnTo>
                    <a:pt x="1925" y="4962"/>
                  </a:lnTo>
                  <a:lnTo>
                    <a:pt x="1929" y="4954"/>
                  </a:lnTo>
                  <a:lnTo>
                    <a:pt x="1933" y="4944"/>
                  </a:lnTo>
                  <a:lnTo>
                    <a:pt x="1936" y="4934"/>
                  </a:lnTo>
                  <a:lnTo>
                    <a:pt x="1939" y="4920"/>
                  </a:lnTo>
                  <a:lnTo>
                    <a:pt x="1999" y="4920"/>
                  </a:lnTo>
                  <a:lnTo>
                    <a:pt x="2007" y="4927"/>
                  </a:lnTo>
                  <a:lnTo>
                    <a:pt x="2012" y="4932"/>
                  </a:lnTo>
                  <a:lnTo>
                    <a:pt x="2017" y="4939"/>
                  </a:lnTo>
                  <a:lnTo>
                    <a:pt x="2023" y="4944"/>
                  </a:lnTo>
                  <a:lnTo>
                    <a:pt x="2029" y="4958"/>
                  </a:lnTo>
                  <a:lnTo>
                    <a:pt x="2035" y="4972"/>
                  </a:lnTo>
                  <a:lnTo>
                    <a:pt x="2043" y="5004"/>
                  </a:lnTo>
                  <a:lnTo>
                    <a:pt x="2053" y="5041"/>
                  </a:lnTo>
                  <a:lnTo>
                    <a:pt x="2057" y="5049"/>
                  </a:lnTo>
                  <a:lnTo>
                    <a:pt x="2063" y="5056"/>
                  </a:lnTo>
                  <a:lnTo>
                    <a:pt x="2069" y="5064"/>
                  </a:lnTo>
                  <a:lnTo>
                    <a:pt x="2076" y="5072"/>
                  </a:lnTo>
                  <a:lnTo>
                    <a:pt x="2093" y="5085"/>
                  </a:lnTo>
                  <a:lnTo>
                    <a:pt x="2112" y="5100"/>
                  </a:lnTo>
                  <a:lnTo>
                    <a:pt x="2131" y="5113"/>
                  </a:lnTo>
                  <a:lnTo>
                    <a:pt x="2149" y="5125"/>
                  </a:lnTo>
                  <a:lnTo>
                    <a:pt x="2167" y="5137"/>
                  </a:lnTo>
                  <a:lnTo>
                    <a:pt x="2180" y="5149"/>
                  </a:lnTo>
                  <a:lnTo>
                    <a:pt x="2188" y="5157"/>
                  </a:lnTo>
                  <a:lnTo>
                    <a:pt x="2196" y="5167"/>
                  </a:lnTo>
                  <a:lnTo>
                    <a:pt x="2204" y="5176"/>
                  </a:lnTo>
                  <a:lnTo>
                    <a:pt x="2211" y="5185"/>
                  </a:lnTo>
                  <a:lnTo>
                    <a:pt x="2224" y="5205"/>
                  </a:lnTo>
                  <a:lnTo>
                    <a:pt x="2236" y="5228"/>
                  </a:lnTo>
                  <a:lnTo>
                    <a:pt x="2259" y="5272"/>
                  </a:lnTo>
                  <a:lnTo>
                    <a:pt x="2280" y="5316"/>
                  </a:lnTo>
                  <a:lnTo>
                    <a:pt x="2293" y="5337"/>
                  </a:lnTo>
                  <a:lnTo>
                    <a:pt x="2307" y="5357"/>
                  </a:lnTo>
                  <a:lnTo>
                    <a:pt x="2315" y="5367"/>
                  </a:lnTo>
                  <a:lnTo>
                    <a:pt x="2323" y="5375"/>
                  </a:lnTo>
                  <a:lnTo>
                    <a:pt x="2331" y="5383"/>
                  </a:lnTo>
                  <a:lnTo>
                    <a:pt x="2340" y="5391"/>
                  </a:lnTo>
                  <a:lnTo>
                    <a:pt x="2351" y="5397"/>
                  </a:lnTo>
                  <a:lnTo>
                    <a:pt x="2361" y="5403"/>
                  </a:lnTo>
                  <a:lnTo>
                    <a:pt x="2373" y="5408"/>
                  </a:lnTo>
                  <a:lnTo>
                    <a:pt x="2385" y="5412"/>
                  </a:lnTo>
                  <a:lnTo>
                    <a:pt x="2399" y="5416"/>
                  </a:lnTo>
                  <a:lnTo>
                    <a:pt x="2413" y="5419"/>
                  </a:lnTo>
                  <a:lnTo>
                    <a:pt x="2428" y="5420"/>
                  </a:lnTo>
                  <a:lnTo>
                    <a:pt x="2444" y="5420"/>
                  </a:lnTo>
                  <a:lnTo>
                    <a:pt x="2455" y="5407"/>
                  </a:lnTo>
                  <a:lnTo>
                    <a:pt x="2465" y="5393"/>
                  </a:lnTo>
                  <a:lnTo>
                    <a:pt x="2477" y="5380"/>
                  </a:lnTo>
                  <a:lnTo>
                    <a:pt x="2492" y="5368"/>
                  </a:lnTo>
                  <a:lnTo>
                    <a:pt x="2500" y="5363"/>
                  </a:lnTo>
                  <a:lnTo>
                    <a:pt x="2508" y="5357"/>
                  </a:lnTo>
                  <a:lnTo>
                    <a:pt x="2517" y="5353"/>
                  </a:lnTo>
                  <a:lnTo>
                    <a:pt x="2527" y="5349"/>
                  </a:lnTo>
                  <a:lnTo>
                    <a:pt x="2537" y="5347"/>
                  </a:lnTo>
                  <a:lnTo>
                    <a:pt x="2548" y="5344"/>
                  </a:lnTo>
                  <a:lnTo>
                    <a:pt x="2559" y="5343"/>
                  </a:lnTo>
                  <a:lnTo>
                    <a:pt x="2571" y="5343"/>
                  </a:lnTo>
                  <a:lnTo>
                    <a:pt x="2615" y="5343"/>
                  </a:lnTo>
                  <a:lnTo>
                    <a:pt x="2649" y="5343"/>
                  </a:lnTo>
                  <a:lnTo>
                    <a:pt x="2676" y="5343"/>
                  </a:lnTo>
                  <a:lnTo>
                    <a:pt x="2700" y="5343"/>
                  </a:lnTo>
                  <a:lnTo>
                    <a:pt x="2721" y="5343"/>
                  </a:lnTo>
                  <a:lnTo>
                    <a:pt x="2745" y="5343"/>
                  </a:lnTo>
                  <a:lnTo>
                    <a:pt x="2772" y="5343"/>
                  </a:lnTo>
                  <a:lnTo>
                    <a:pt x="2806" y="5343"/>
                  </a:lnTo>
                  <a:lnTo>
                    <a:pt x="2821" y="5341"/>
                  </a:lnTo>
                  <a:lnTo>
                    <a:pt x="2837" y="5337"/>
                  </a:lnTo>
                  <a:lnTo>
                    <a:pt x="2852" y="5333"/>
                  </a:lnTo>
                  <a:lnTo>
                    <a:pt x="2868" y="5327"/>
                  </a:lnTo>
                  <a:lnTo>
                    <a:pt x="2884" y="5321"/>
                  </a:lnTo>
                  <a:lnTo>
                    <a:pt x="2901" y="5317"/>
                  </a:lnTo>
                  <a:lnTo>
                    <a:pt x="2918" y="5313"/>
                  </a:lnTo>
                  <a:lnTo>
                    <a:pt x="2938" y="5312"/>
                  </a:lnTo>
                  <a:lnTo>
                    <a:pt x="2949" y="5313"/>
                  </a:lnTo>
                  <a:lnTo>
                    <a:pt x="2960" y="5315"/>
                  </a:lnTo>
                  <a:lnTo>
                    <a:pt x="2968" y="5319"/>
                  </a:lnTo>
                  <a:lnTo>
                    <a:pt x="2977" y="5323"/>
                  </a:lnTo>
                  <a:lnTo>
                    <a:pt x="2993" y="5333"/>
                  </a:lnTo>
                  <a:lnTo>
                    <a:pt x="3009" y="5345"/>
                  </a:lnTo>
                  <a:lnTo>
                    <a:pt x="3025" y="5357"/>
                  </a:lnTo>
                  <a:lnTo>
                    <a:pt x="3044" y="5368"/>
                  </a:lnTo>
                  <a:lnTo>
                    <a:pt x="3053" y="5372"/>
                  </a:lnTo>
                  <a:lnTo>
                    <a:pt x="3064" y="5376"/>
                  </a:lnTo>
                  <a:lnTo>
                    <a:pt x="3076" y="5377"/>
                  </a:lnTo>
                  <a:lnTo>
                    <a:pt x="3089" y="5379"/>
                  </a:lnTo>
                  <a:lnTo>
                    <a:pt x="3104" y="5377"/>
                  </a:lnTo>
                  <a:lnTo>
                    <a:pt x="3117" y="5376"/>
                  </a:lnTo>
                  <a:lnTo>
                    <a:pt x="3129" y="5373"/>
                  </a:lnTo>
                  <a:lnTo>
                    <a:pt x="3142" y="5369"/>
                  </a:lnTo>
                  <a:lnTo>
                    <a:pt x="3166" y="5361"/>
                  </a:lnTo>
                  <a:lnTo>
                    <a:pt x="3190" y="5351"/>
                  </a:lnTo>
                  <a:lnTo>
                    <a:pt x="3214" y="5341"/>
                  </a:lnTo>
                  <a:lnTo>
                    <a:pt x="3240" y="5332"/>
                  </a:lnTo>
                  <a:lnTo>
                    <a:pt x="3253" y="5329"/>
                  </a:lnTo>
                  <a:lnTo>
                    <a:pt x="3268" y="5327"/>
                  </a:lnTo>
                  <a:lnTo>
                    <a:pt x="3284" y="5325"/>
                  </a:lnTo>
                  <a:lnTo>
                    <a:pt x="3300" y="5324"/>
                  </a:lnTo>
                  <a:lnTo>
                    <a:pt x="3314" y="5324"/>
                  </a:lnTo>
                  <a:lnTo>
                    <a:pt x="3329" y="5321"/>
                  </a:lnTo>
                  <a:lnTo>
                    <a:pt x="3342" y="5317"/>
                  </a:lnTo>
                  <a:lnTo>
                    <a:pt x="3356" y="5313"/>
                  </a:lnTo>
                  <a:lnTo>
                    <a:pt x="3368" y="5308"/>
                  </a:lnTo>
                  <a:lnTo>
                    <a:pt x="3378" y="5301"/>
                  </a:lnTo>
                  <a:lnTo>
                    <a:pt x="3390" y="5293"/>
                  </a:lnTo>
                  <a:lnTo>
                    <a:pt x="3400" y="5285"/>
                  </a:lnTo>
                  <a:lnTo>
                    <a:pt x="3436" y="5251"/>
                  </a:lnTo>
                  <a:lnTo>
                    <a:pt x="3469" y="5216"/>
                  </a:lnTo>
                  <a:lnTo>
                    <a:pt x="3474" y="5211"/>
                  </a:lnTo>
                  <a:lnTo>
                    <a:pt x="3481" y="5207"/>
                  </a:lnTo>
                  <a:lnTo>
                    <a:pt x="3489" y="5203"/>
                  </a:lnTo>
                  <a:lnTo>
                    <a:pt x="3497" y="5200"/>
                  </a:lnTo>
                  <a:lnTo>
                    <a:pt x="3515" y="5195"/>
                  </a:lnTo>
                  <a:lnTo>
                    <a:pt x="3535" y="5192"/>
                  </a:lnTo>
                  <a:lnTo>
                    <a:pt x="3555" y="5188"/>
                  </a:lnTo>
                  <a:lnTo>
                    <a:pt x="3574" y="5184"/>
                  </a:lnTo>
                  <a:lnTo>
                    <a:pt x="3583" y="5180"/>
                  </a:lnTo>
                  <a:lnTo>
                    <a:pt x="3591" y="5177"/>
                  </a:lnTo>
                  <a:lnTo>
                    <a:pt x="3599" y="5173"/>
                  </a:lnTo>
                  <a:lnTo>
                    <a:pt x="3606" y="5168"/>
                  </a:lnTo>
                  <a:lnTo>
                    <a:pt x="3625" y="5155"/>
                  </a:lnTo>
                  <a:lnTo>
                    <a:pt x="3641" y="5141"/>
                  </a:lnTo>
                  <a:lnTo>
                    <a:pt x="3655" y="5128"/>
                  </a:lnTo>
                  <a:lnTo>
                    <a:pt x="3670" y="5113"/>
                  </a:lnTo>
                  <a:lnTo>
                    <a:pt x="3694" y="5085"/>
                  </a:lnTo>
                  <a:lnTo>
                    <a:pt x="3717" y="5056"/>
                  </a:lnTo>
                  <a:lnTo>
                    <a:pt x="3727" y="5043"/>
                  </a:lnTo>
                  <a:lnTo>
                    <a:pt x="3739" y="5028"/>
                  </a:lnTo>
                  <a:lnTo>
                    <a:pt x="3753" y="5016"/>
                  </a:lnTo>
                  <a:lnTo>
                    <a:pt x="3766" y="5003"/>
                  </a:lnTo>
                  <a:lnTo>
                    <a:pt x="3781" y="4992"/>
                  </a:lnTo>
                  <a:lnTo>
                    <a:pt x="3797" y="4982"/>
                  </a:lnTo>
                  <a:lnTo>
                    <a:pt x="3815" y="4971"/>
                  </a:lnTo>
                  <a:lnTo>
                    <a:pt x="3835" y="4963"/>
                  </a:lnTo>
                  <a:lnTo>
                    <a:pt x="3831" y="4930"/>
                  </a:lnTo>
                  <a:lnTo>
                    <a:pt x="3827" y="4896"/>
                  </a:lnTo>
                  <a:lnTo>
                    <a:pt x="3825" y="4864"/>
                  </a:lnTo>
                  <a:lnTo>
                    <a:pt x="3822" y="4834"/>
                  </a:lnTo>
                  <a:lnTo>
                    <a:pt x="3819" y="4803"/>
                  </a:lnTo>
                  <a:lnTo>
                    <a:pt x="3818" y="4775"/>
                  </a:lnTo>
                  <a:lnTo>
                    <a:pt x="3818" y="4748"/>
                  </a:lnTo>
                  <a:lnTo>
                    <a:pt x="3818" y="4722"/>
                  </a:lnTo>
                  <a:lnTo>
                    <a:pt x="3817" y="4715"/>
                  </a:lnTo>
                  <a:lnTo>
                    <a:pt x="3815" y="4707"/>
                  </a:lnTo>
                  <a:lnTo>
                    <a:pt x="3814" y="4702"/>
                  </a:lnTo>
                  <a:lnTo>
                    <a:pt x="3811" y="4695"/>
                  </a:lnTo>
                  <a:lnTo>
                    <a:pt x="3807" y="4690"/>
                  </a:lnTo>
                  <a:lnTo>
                    <a:pt x="3805" y="4686"/>
                  </a:lnTo>
                  <a:lnTo>
                    <a:pt x="3799" y="4682"/>
                  </a:lnTo>
                  <a:lnTo>
                    <a:pt x="3795" y="4678"/>
                  </a:lnTo>
                  <a:lnTo>
                    <a:pt x="3783" y="4671"/>
                  </a:lnTo>
                  <a:lnTo>
                    <a:pt x="3771" y="4666"/>
                  </a:lnTo>
                  <a:lnTo>
                    <a:pt x="3758" y="4660"/>
                  </a:lnTo>
                  <a:lnTo>
                    <a:pt x="3745" y="4656"/>
                  </a:lnTo>
                  <a:lnTo>
                    <a:pt x="3718" y="4650"/>
                  </a:lnTo>
                  <a:lnTo>
                    <a:pt x="3695" y="4642"/>
                  </a:lnTo>
                  <a:lnTo>
                    <a:pt x="3686" y="4636"/>
                  </a:lnTo>
                  <a:lnTo>
                    <a:pt x="3679" y="4631"/>
                  </a:lnTo>
                  <a:lnTo>
                    <a:pt x="3677" y="4627"/>
                  </a:lnTo>
                  <a:lnTo>
                    <a:pt x="3674" y="4623"/>
                  </a:lnTo>
                  <a:lnTo>
                    <a:pt x="3673" y="4619"/>
                  </a:lnTo>
                  <a:lnTo>
                    <a:pt x="3673" y="4614"/>
                  </a:lnTo>
                  <a:lnTo>
                    <a:pt x="3674" y="4606"/>
                  </a:lnTo>
                  <a:lnTo>
                    <a:pt x="3675" y="4598"/>
                  </a:lnTo>
                  <a:lnTo>
                    <a:pt x="3679" y="4591"/>
                  </a:lnTo>
                  <a:lnTo>
                    <a:pt x="3683" y="4584"/>
                  </a:lnTo>
                  <a:lnTo>
                    <a:pt x="3693" y="4572"/>
                  </a:lnTo>
                  <a:lnTo>
                    <a:pt x="3703" y="4559"/>
                  </a:lnTo>
                  <a:lnTo>
                    <a:pt x="3703" y="4470"/>
                  </a:lnTo>
                  <a:lnTo>
                    <a:pt x="3658" y="4462"/>
                  </a:lnTo>
                  <a:lnTo>
                    <a:pt x="3626" y="4455"/>
                  </a:lnTo>
                  <a:lnTo>
                    <a:pt x="3613" y="4450"/>
                  </a:lnTo>
                  <a:lnTo>
                    <a:pt x="3601" y="4442"/>
                  </a:lnTo>
                  <a:lnTo>
                    <a:pt x="3589" y="4431"/>
                  </a:lnTo>
                  <a:lnTo>
                    <a:pt x="3577" y="4415"/>
                  </a:lnTo>
                  <a:lnTo>
                    <a:pt x="3594" y="4402"/>
                  </a:lnTo>
                  <a:lnTo>
                    <a:pt x="3614" y="4386"/>
                  </a:lnTo>
                  <a:lnTo>
                    <a:pt x="3622" y="4377"/>
                  </a:lnTo>
                  <a:lnTo>
                    <a:pt x="3630" y="4367"/>
                  </a:lnTo>
                  <a:lnTo>
                    <a:pt x="3633" y="4362"/>
                  </a:lnTo>
                  <a:lnTo>
                    <a:pt x="3635" y="4355"/>
                  </a:lnTo>
                  <a:lnTo>
                    <a:pt x="3637" y="4350"/>
                  </a:lnTo>
                  <a:lnTo>
                    <a:pt x="3637" y="4343"/>
                  </a:lnTo>
                  <a:lnTo>
                    <a:pt x="3635" y="4321"/>
                  </a:lnTo>
                  <a:lnTo>
                    <a:pt x="3631" y="4299"/>
                  </a:lnTo>
                  <a:lnTo>
                    <a:pt x="3627" y="4278"/>
                  </a:lnTo>
                  <a:lnTo>
                    <a:pt x="3622" y="4258"/>
                  </a:lnTo>
                  <a:lnTo>
                    <a:pt x="3617" y="4237"/>
                  </a:lnTo>
                  <a:lnTo>
                    <a:pt x="3611" y="4215"/>
                  </a:lnTo>
                  <a:lnTo>
                    <a:pt x="3607" y="4193"/>
                  </a:lnTo>
                  <a:lnTo>
                    <a:pt x="3606" y="4169"/>
                  </a:lnTo>
                  <a:lnTo>
                    <a:pt x="3607" y="4149"/>
                  </a:lnTo>
                  <a:lnTo>
                    <a:pt x="3609" y="4131"/>
                  </a:lnTo>
                  <a:lnTo>
                    <a:pt x="3611" y="4115"/>
                  </a:lnTo>
                  <a:lnTo>
                    <a:pt x="3615" y="4101"/>
                  </a:lnTo>
                  <a:lnTo>
                    <a:pt x="3619" y="4087"/>
                  </a:lnTo>
                  <a:lnTo>
                    <a:pt x="3625" y="4075"/>
                  </a:lnTo>
                  <a:lnTo>
                    <a:pt x="3631" y="4063"/>
                  </a:lnTo>
                  <a:lnTo>
                    <a:pt x="3638" y="4054"/>
                  </a:lnTo>
                  <a:lnTo>
                    <a:pt x="3645" y="4045"/>
                  </a:lnTo>
                  <a:lnTo>
                    <a:pt x="3653" y="4037"/>
                  </a:lnTo>
                  <a:lnTo>
                    <a:pt x="3661" y="4030"/>
                  </a:lnTo>
                  <a:lnTo>
                    <a:pt x="3670" y="4023"/>
                  </a:lnTo>
                  <a:lnTo>
                    <a:pt x="3687" y="4011"/>
                  </a:lnTo>
                  <a:lnTo>
                    <a:pt x="3706" y="4001"/>
                  </a:lnTo>
                  <a:lnTo>
                    <a:pt x="3725" y="3991"/>
                  </a:lnTo>
                  <a:lnTo>
                    <a:pt x="3742" y="3981"/>
                  </a:lnTo>
                  <a:lnTo>
                    <a:pt x="3751" y="3975"/>
                  </a:lnTo>
                  <a:lnTo>
                    <a:pt x="3759" y="3969"/>
                  </a:lnTo>
                  <a:lnTo>
                    <a:pt x="3767" y="3962"/>
                  </a:lnTo>
                  <a:lnTo>
                    <a:pt x="3774" y="3955"/>
                  </a:lnTo>
                  <a:lnTo>
                    <a:pt x="3781" y="3947"/>
                  </a:lnTo>
                  <a:lnTo>
                    <a:pt x="3787" y="3938"/>
                  </a:lnTo>
                  <a:lnTo>
                    <a:pt x="3793" y="3929"/>
                  </a:lnTo>
                  <a:lnTo>
                    <a:pt x="3797" y="3917"/>
                  </a:lnTo>
                  <a:lnTo>
                    <a:pt x="3801" y="3905"/>
                  </a:lnTo>
                  <a:lnTo>
                    <a:pt x="3803" y="3891"/>
                  </a:lnTo>
                  <a:lnTo>
                    <a:pt x="3805" y="3877"/>
                  </a:lnTo>
                  <a:lnTo>
                    <a:pt x="3806" y="3861"/>
                  </a:lnTo>
                  <a:lnTo>
                    <a:pt x="3806" y="3850"/>
                  </a:lnTo>
                  <a:lnTo>
                    <a:pt x="3809" y="3841"/>
                  </a:lnTo>
                  <a:lnTo>
                    <a:pt x="3811" y="3833"/>
                  </a:lnTo>
                  <a:lnTo>
                    <a:pt x="3817" y="3828"/>
                  </a:lnTo>
                  <a:lnTo>
                    <a:pt x="3822" y="3824"/>
                  </a:lnTo>
                  <a:lnTo>
                    <a:pt x="3829" y="3820"/>
                  </a:lnTo>
                  <a:lnTo>
                    <a:pt x="3835" y="3817"/>
                  </a:lnTo>
                  <a:lnTo>
                    <a:pt x="3843" y="3816"/>
                  </a:lnTo>
                  <a:lnTo>
                    <a:pt x="3861" y="3814"/>
                  </a:lnTo>
                  <a:lnTo>
                    <a:pt x="3879" y="3814"/>
                  </a:lnTo>
                  <a:lnTo>
                    <a:pt x="3889" y="3813"/>
                  </a:lnTo>
                  <a:lnTo>
                    <a:pt x="3897" y="3812"/>
                  </a:lnTo>
                  <a:lnTo>
                    <a:pt x="3906" y="3810"/>
                  </a:lnTo>
                  <a:lnTo>
                    <a:pt x="3914" y="3808"/>
                  </a:lnTo>
                  <a:lnTo>
                    <a:pt x="3925" y="3802"/>
                  </a:lnTo>
                  <a:lnTo>
                    <a:pt x="3935" y="3796"/>
                  </a:lnTo>
                  <a:lnTo>
                    <a:pt x="3943" y="3789"/>
                  </a:lnTo>
                  <a:lnTo>
                    <a:pt x="3950" y="3782"/>
                  </a:lnTo>
                  <a:lnTo>
                    <a:pt x="3955" y="3773"/>
                  </a:lnTo>
                  <a:lnTo>
                    <a:pt x="3961" y="3765"/>
                  </a:lnTo>
                  <a:lnTo>
                    <a:pt x="3963" y="3756"/>
                  </a:lnTo>
                  <a:lnTo>
                    <a:pt x="3966" y="3745"/>
                  </a:lnTo>
                  <a:lnTo>
                    <a:pt x="3969" y="3724"/>
                  </a:lnTo>
                  <a:lnTo>
                    <a:pt x="3969" y="3702"/>
                  </a:lnTo>
                  <a:lnTo>
                    <a:pt x="3969" y="3680"/>
                  </a:lnTo>
                  <a:lnTo>
                    <a:pt x="3969" y="3657"/>
                  </a:lnTo>
                  <a:lnTo>
                    <a:pt x="3969" y="3652"/>
                  </a:lnTo>
                  <a:lnTo>
                    <a:pt x="3970" y="3646"/>
                  </a:lnTo>
                  <a:lnTo>
                    <a:pt x="3971" y="3642"/>
                  </a:lnTo>
                  <a:lnTo>
                    <a:pt x="3974" y="3638"/>
                  </a:lnTo>
                  <a:lnTo>
                    <a:pt x="3982" y="3633"/>
                  </a:lnTo>
                  <a:lnTo>
                    <a:pt x="3989" y="3628"/>
                  </a:lnTo>
                  <a:lnTo>
                    <a:pt x="3997" y="3622"/>
                  </a:lnTo>
                  <a:lnTo>
                    <a:pt x="4003" y="3617"/>
                  </a:lnTo>
                  <a:lnTo>
                    <a:pt x="4006" y="3613"/>
                  </a:lnTo>
                  <a:lnTo>
                    <a:pt x="4009" y="3610"/>
                  </a:lnTo>
                  <a:lnTo>
                    <a:pt x="4010" y="3606"/>
                  </a:lnTo>
                  <a:lnTo>
                    <a:pt x="4010" y="3602"/>
                  </a:lnTo>
                  <a:lnTo>
                    <a:pt x="4010" y="3589"/>
                  </a:lnTo>
                  <a:lnTo>
                    <a:pt x="4009" y="3577"/>
                  </a:lnTo>
                  <a:lnTo>
                    <a:pt x="4006" y="3565"/>
                  </a:lnTo>
                  <a:lnTo>
                    <a:pt x="4002" y="3553"/>
                  </a:lnTo>
                  <a:lnTo>
                    <a:pt x="3998" y="3542"/>
                  </a:lnTo>
                  <a:lnTo>
                    <a:pt x="3993" y="3533"/>
                  </a:lnTo>
                  <a:lnTo>
                    <a:pt x="3986" y="3522"/>
                  </a:lnTo>
                  <a:lnTo>
                    <a:pt x="3981" y="3514"/>
                  </a:lnTo>
                  <a:lnTo>
                    <a:pt x="3966" y="3496"/>
                  </a:lnTo>
                  <a:lnTo>
                    <a:pt x="3949" y="3480"/>
                  </a:lnTo>
                  <a:lnTo>
                    <a:pt x="3931" y="3465"/>
                  </a:lnTo>
                  <a:lnTo>
                    <a:pt x="3914" y="3449"/>
                  </a:lnTo>
                  <a:lnTo>
                    <a:pt x="3895" y="3434"/>
                  </a:lnTo>
                  <a:lnTo>
                    <a:pt x="3878" y="3420"/>
                  </a:lnTo>
                  <a:lnTo>
                    <a:pt x="3862" y="3404"/>
                  </a:lnTo>
                  <a:lnTo>
                    <a:pt x="3847" y="3386"/>
                  </a:lnTo>
                  <a:lnTo>
                    <a:pt x="3841" y="3377"/>
                  </a:lnTo>
                  <a:lnTo>
                    <a:pt x="3835" y="3368"/>
                  </a:lnTo>
                  <a:lnTo>
                    <a:pt x="3830" y="3358"/>
                  </a:lnTo>
                  <a:lnTo>
                    <a:pt x="3826" y="3348"/>
                  </a:lnTo>
                  <a:lnTo>
                    <a:pt x="3822" y="3337"/>
                  </a:lnTo>
                  <a:lnTo>
                    <a:pt x="3819" y="3326"/>
                  </a:lnTo>
                  <a:lnTo>
                    <a:pt x="3818" y="3314"/>
                  </a:lnTo>
                  <a:lnTo>
                    <a:pt x="3818" y="3301"/>
                  </a:lnTo>
                  <a:lnTo>
                    <a:pt x="3818" y="3289"/>
                  </a:lnTo>
                  <a:lnTo>
                    <a:pt x="3819" y="3278"/>
                  </a:lnTo>
                  <a:lnTo>
                    <a:pt x="3821" y="3273"/>
                  </a:lnTo>
                  <a:lnTo>
                    <a:pt x="3819" y="3268"/>
                  </a:lnTo>
                  <a:lnTo>
                    <a:pt x="3819" y="3264"/>
                  </a:lnTo>
                  <a:lnTo>
                    <a:pt x="3818" y="3258"/>
                  </a:lnTo>
                  <a:lnTo>
                    <a:pt x="3831" y="3225"/>
                  </a:lnTo>
                  <a:lnTo>
                    <a:pt x="3845" y="3195"/>
                  </a:lnTo>
                  <a:lnTo>
                    <a:pt x="3851" y="3180"/>
                  </a:lnTo>
                  <a:lnTo>
                    <a:pt x="3855" y="3164"/>
                  </a:lnTo>
                  <a:lnTo>
                    <a:pt x="3858" y="3145"/>
                  </a:lnTo>
                  <a:lnTo>
                    <a:pt x="3859" y="3127"/>
                  </a:lnTo>
                  <a:lnTo>
                    <a:pt x="3859" y="3112"/>
                  </a:lnTo>
                  <a:lnTo>
                    <a:pt x="3857" y="3097"/>
                  </a:lnTo>
                  <a:lnTo>
                    <a:pt x="3853" y="3083"/>
                  </a:lnTo>
                  <a:lnTo>
                    <a:pt x="3849" y="3067"/>
                  </a:lnTo>
                  <a:lnTo>
                    <a:pt x="3837" y="3033"/>
                  </a:lnTo>
                  <a:lnTo>
                    <a:pt x="3823" y="3000"/>
                  </a:lnTo>
                  <a:lnTo>
                    <a:pt x="3810" y="2968"/>
                  </a:lnTo>
                  <a:lnTo>
                    <a:pt x="3798" y="2939"/>
                  </a:lnTo>
                  <a:lnTo>
                    <a:pt x="3794" y="2925"/>
                  </a:lnTo>
                  <a:lnTo>
                    <a:pt x="3790" y="2913"/>
                  </a:lnTo>
                  <a:lnTo>
                    <a:pt x="3789" y="2901"/>
                  </a:lnTo>
                  <a:lnTo>
                    <a:pt x="3787" y="2892"/>
                  </a:lnTo>
                  <a:lnTo>
                    <a:pt x="3787" y="2884"/>
                  </a:lnTo>
                  <a:lnTo>
                    <a:pt x="3790" y="2877"/>
                  </a:lnTo>
                  <a:lnTo>
                    <a:pt x="3791" y="2871"/>
                  </a:lnTo>
                  <a:lnTo>
                    <a:pt x="3795" y="2865"/>
                  </a:lnTo>
                  <a:lnTo>
                    <a:pt x="3799" y="2860"/>
                  </a:lnTo>
                  <a:lnTo>
                    <a:pt x="3805" y="2856"/>
                  </a:lnTo>
                  <a:lnTo>
                    <a:pt x="3810" y="2852"/>
                  </a:lnTo>
                  <a:lnTo>
                    <a:pt x="3815" y="2849"/>
                  </a:lnTo>
                  <a:lnTo>
                    <a:pt x="3829" y="2844"/>
                  </a:lnTo>
                  <a:lnTo>
                    <a:pt x="3843" y="2840"/>
                  </a:lnTo>
                  <a:lnTo>
                    <a:pt x="3858" y="2839"/>
                  </a:lnTo>
                  <a:lnTo>
                    <a:pt x="3871" y="2837"/>
                  </a:lnTo>
                  <a:lnTo>
                    <a:pt x="3899" y="2837"/>
                  </a:lnTo>
                  <a:lnTo>
                    <a:pt x="3921" y="2837"/>
                  </a:lnTo>
                  <a:lnTo>
                    <a:pt x="3938" y="2837"/>
                  </a:lnTo>
                  <a:lnTo>
                    <a:pt x="3955" y="2837"/>
                  </a:lnTo>
                  <a:lnTo>
                    <a:pt x="3966" y="2841"/>
                  </a:lnTo>
                  <a:lnTo>
                    <a:pt x="3987" y="2847"/>
                  </a:lnTo>
                  <a:lnTo>
                    <a:pt x="3999" y="2849"/>
                  </a:lnTo>
                  <a:lnTo>
                    <a:pt x="4013" y="2851"/>
                  </a:lnTo>
                  <a:lnTo>
                    <a:pt x="4019" y="2849"/>
                  </a:lnTo>
                  <a:lnTo>
                    <a:pt x="4026" y="2848"/>
                  </a:lnTo>
                  <a:lnTo>
                    <a:pt x="4034" y="2847"/>
                  </a:lnTo>
                  <a:lnTo>
                    <a:pt x="4041" y="2844"/>
                  </a:lnTo>
                  <a:lnTo>
                    <a:pt x="4049" y="2839"/>
                  </a:lnTo>
                  <a:lnTo>
                    <a:pt x="4057" y="2831"/>
                  </a:lnTo>
                  <a:lnTo>
                    <a:pt x="4063" y="2823"/>
                  </a:lnTo>
                  <a:lnTo>
                    <a:pt x="4069" y="2813"/>
                  </a:lnTo>
                  <a:lnTo>
                    <a:pt x="4079" y="2793"/>
                  </a:lnTo>
                  <a:lnTo>
                    <a:pt x="4091" y="2771"/>
                  </a:lnTo>
                  <a:lnTo>
                    <a:pt x="4098" y="2761"/>
                  </a:lnTo>
                  <a:lnTo>
                    <a:pt x="4106" y="2751"/>
                  </a:lnTo>
                  <a:lnTo>
                    <a:pt x="4114" y="2741"/>
                  </a:lnTo>
                  <a:lnTo>
                    <a:pt x="4123" y="2733"/>
                  </a:lnTo>
                  <a:lnTo>
                    <a:pt x="4134" y="2727"/>
                  </a:lnTo>
                  <a:lnTo>
                    <a:pt x="4147" y="2721"/>
                  </a:lnTo>
                  <a:lnTo>
                    <a:pt x="4162" y="2719"/>
                  </a:lnTo>
                  <a:lnTo>
                    <a:pt x="4179" y="2717"/>
                  </a:lnTo>
                  <a:lnTo>
                    <a:pt x="4194" y="2717"/>
                  </a:lnTo>
                  <a:lnTo>
                    <a:pt x="4203" y="2720"/>
                  </a:lnTo>
                  <a:lnTo>
                    <a:pt x="4210" y="2721"/>
                  </a:lnTo>
                  <a:lnTo>
                    <a:pt x="4214" y="2724"/>
                  </a:lnTo>
                  <a:lnTo>
                    <a:pt x="4216" y="2725"/>
                  </a:lnTo>
                  <a:lnTo>
                    <a:pt x="4220" y="2724"/>
                  </a:lnTo>
                  <a:lnTo>
                    <a:pt x="4228" y="2723"/>
                  </a:lnTo>
                  <a:lnTo>
                    <a:pt x="4239" y="2717"/>
                  </a:lnTo>
                  <a:lnTo>
                    <a:pt x="4244" y="2713"/>
                  </a:lnTo>
                  <a:lnTo>
                    <a:pt x="4248" y="2709"/>
                  </a:lnTo>
                  <a:lnTo>
                    <a:pt x="4251" y="2703"/>
                  </a:lnTo>
                  <a:lnTo>
                    <a:pt x="4252" y="2695"/>
                  </a:lnTo>
                  <a:lnTo>
                    <a:pt x="4254" y="2677"/>
                  </a:lnTo>
                  <a:lnTo>
                    <a:pt x="4254" y="2659"/>
                  </a:lnTo>
                  <a:lnTo>
                    <a:pt x="4251" y="2624"/>
                  </a:lnTo>
                  <a:lnTo>
                    <a:pt x="4251" y="2608"/>
                  </a:lnTo>
                  <a:lnTo>
                    <a:pt x="4208" y="2608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accent1">
                  <a:lumMod val="20000"/>
                  <a:lumOff val="8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95" b="0" i="0" u="none" strike="noStrike" kern="1200" cap="none" spc="0" normalizeH="0" baseline="0" noProof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6" name="Freeform 101"/>
            <p:cNvSpPr>
              <a:spLocks/>
            </p:cNvSpPr>
            <p:nvPr/>
          </p:nvSpPr>
          <p:spPr bwMode="auto">
            <a:xfrm>
              <a:off x="5516599" y="2076446"/>
              <a:ext cx="35372" cy="35608"/>
            </a:xfrm>
            <a:custGeom>
              <a:avLst/>
              <a:gdLst>
                <a:gd name="T0" fmla="*/ 487 w 490"/>
                <a:gd name="T1" fmla="*/ 116 h 493"/>
                <a:gd name="T2" fmla="*/ 471 w 490"/>
                <a:gd name="T3" fmla="*/ 66 h 493"/>
                <a:gd name="T4" fmla="*/ 454 w 490"/>
                <a:gd name="T5" fmla="*/ 46 h 493"/>
                <a:gd name="T6" fmla="*/ 436 w 490"/>
                <a:gd name="T7" fmla="*/ 6 h 493"/>
                <a:gd name="T8" fmla="*/ 396 w 490"/>
                <a:gd name="T9" fmla="*/ 0 h 493"/>
                <a:gd name="T10" fmla="*/ 315 w 490"/>
                <a:gd name="T11" fmla="*/ 12 h 493"/>
                <a:gd name="T12" fmla="*/ 278 w 490"/>
                <a:gd name="T13" fmla="*/ 47 h 493"/>
                <a:gd name="T14" fmla="*/ 244 w 490"/>
                <a:gd name="T15" fmla="*/ 60 h 493"/>
                <a:gd name="T16" fmla="*/ 215 w 490"/>
                <a:gd name="T17" fmla="*/ 56 h 493"/>
                <a:gd name="T18" fmla="*/ 187 w 490"/>
                <a:gd name="T19" fmla="*/ 50 h 493"/>
                <a:gd name="T20" fmla="*/ 172 w 490"/>
                <a:gd name="T21" fmla="*/ 63 h 493"/>
                <a:gd name="T22" fmla="*/ 171 w 490"/>
                <a:gd name="T23" fmla="*/ 98 h 493"/>
                <a:gd name="T24" fmla="*/ 192 w 490"/>
                <a:gd name="T25" fmla="*/ 147 h 493"/>
                <a:gd name="T26" fmla="*/ 218 w 490"/>
                <a:gd name="T27" fmla="*/ 187 h 493"/>
                <a:gd name="T28" fmla="*/ 188 w 490"/>
                <a:gd name="T29" fmla="*/ 183 h 493"/>
                <a:gd name="T30" fmla="*/ 163 w 490"/>
                <a:gd name="T31" fmla="*/ 175 h 493"/>
                <a:gd name="T32" fmla="*/ 118 w 490"/>
                <a:gd name="T33" fmla="*/ 171 h 493"/>
                <a:gd name="T34" fmla="*/ 64 w 490"/>
                <a:gd name="T35" fmla="*/ 155 h 493"/>
                <a:gd name="T36" fmla="*/ 30 w 490"/>
                <a:gd name="T37" fmla="*/ 154 h 493"/>
                <a:gd name="T38" fmla="*/ 12 w 490"/>
                <a:gd name="T39" fmla="*/ 190 h 493"/>
                <a:gd name="T40" fmla="*/ 0 w 490"/>
                <a:gd name="T41" fmla="*/ 242 h 493"/>
                <a:gd name="T42" fmla="*/ 12 w 490"/>
                <a:gd name="T43" fmla="*/ 268 h 493"/>
                <a:gd name="T44" fmla="*/ 24 w 490"/>
                <a:gd name="T45" fmla="*/ 295 h 493"/>
                <a:gd name="T46" fmla="*/ 15 w 490"/>
                <a:gd name="T47" fmla="*/ 339 h 493"/>
                <a:gd name="T48" fmla="*/ 26 w 490"/>
                <a:gd name="T49" fmla="*/ 355 h 493"/>
                <a:gd name="T50" fmla="*/ 54 w 490"/>
                <a:gd name="T51" fmla="*/ 364 h 493"/>
                <a:gd name="T52" fmla="*/ 79 w 490"/>
                <a:gd name="T53" fmla="*/ 384 h 493"/>
                <a:gd name="T54" fmla="*/ 86 w 490"/>
                <a:gd name="T55" fmla="*/ 421 h 493"/>
                <a:gd name="T56" fmla="*/ 112 w 490"/>
                <a:gd name="T57" fmla="*/ 451 h 493"/>
                <a:gd name="T58" fmla="*/ 146 w 490"/>
                <a:gd name="T59" fmla="*/ 467 h 493"/>
                <a:gd name="T60" fmla="*/ 223 w 490"/>
                <a:gd name="T61" fmla="*/ 476 h 493"/>
                <a:gd name="T62" fmla="*/ 243 w 490"/>
                <a:gd name="T63" fmla="*/ 492 h 493"/>
                <a:gd name="T64" fmla="*/ 290 w 490"/>
                <a:gd name="T65" fmla="*/ 491 h 493"/>
                <a:gd name="T66" fmla="*/ 302 w 490"/>
                <a:gd name="T67" fmla="*/ 468 h 493"/>
                <a:gd name="T68" fmla="*/ 299 w 490"/>
                <a:gd name="T69" fmla="*/ 423 h 493"/>
                <a:gd name="T70" fmla="*/ 304 w 490"/>
                <a:gd name="T71" fmla="*/ 385 h 493"/>
                <a:gd name="T72" fmla="*/ 331 w 490"/>
                <a:gd name="T73" fmla="*/ 372 h 493"/>
                <a:gd name="T74" fmla="*/ 359 w 490"/>
                <a:gd name="T75" fmla="*/ 327 h 493"/>
                <a:gd name="T76" fmla="*/ 387 w 490"/>
                <a:gd name="T77" fmla="*/ 281 h 493"/>
                <a:gd name="T78" fmla="*/ 444 w 490"/>
                <a:gd name="T79" fmla="*/ 264 h 493"/>
                <a:gd name="T80" fmla="*/ 470 w 490"/>
                <a:gd name="T81" fmla="*/ 243 h 493"/>
                <a:gd name="T82" fmla="*/ 468 w 490"/>
                <a:gd name="T83" fmla="*/ 211 h 493"/>
                <a:gd name="T84" fmla="*/ 458 w 490"/>
                <a:gd name="T85" fmla="*/ 199 h 493"/>
                <a:gd name="T86" fmla="*/ 424 w 490"/>
                <a:gd name="T87" fmla="*/ 204 h 493"/>
                <a:gd name="T88" fmla="*/ 376 w 490"/>
                <a:gd name="T89" fmla="*/ 206 h 493"/>
                <a:gd name="T90" fmla="*/ 340 w 490"/>
                <a:gd name="T91" fmla="*/ 186 h 493"/>
                <a:gd name="T92" fmla="*/ 311 w 490"/>
                <a:gd name="T93" fmla="*/ 158 h 493"/>
                <a:gd name="T94" fmla="*/ 296 w 490"/>
                <a:gd name="T95" fmla="*/ 127 h 493"/>
                <a:gd name="T96" fmla="*/ 296 w 490"/>
                <a:gd name="T97" fmla="*/ 87 h 493"/>
                <a:gd name="T98" fmla="*/ 330 w 490"/>
                <a:gd name="T99" fmla="*/ 96 h 493"/>
                <a:gd name="T100" fmla="*/ 355 w 490"/>
                <a:gd name="T101" fmla="*/ 155 h 493"/>
                <a:gd name="T102" fmla="*/ 380 w 490"/>
                <a:gd name="T103" fmla="*/ 175 h 493"/>
                <a:gd name="T104" fmla="*/ 422 w 490"/>
                <a:gd name="T105" fmla="*/ 180 h 493"/>
                <a:gd name="T106" fmla="*/ 467 w 490"/>
                <a:gd name="T107" fmla="*/ 163 h 493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490"/>
                <a:gd name="T163" fmla="*/ 0 h 493"/>
                <a:gd name="T164" fmla="*/ 490 w 490"/>
                <a:gd name="T165" fmla="*/ 493 h 493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490" h="493">
                  <a:moveTo>
                    <a:pt x="488" y="139"/>
                  </a:moveTo>
                  <a:lnTo>
                    <a:pt x="490" y="135"/>
                  </a:lnTo>
                  <a:lnTo>
                    <a:pt x="490" y="127"/>
                  </a:lnTo>
                  <a:lnTo>
                    <a:pt x="487" y="116"/>
                  </a:lnTo>
                  <a:lnTo>
                    <a:pt x="484" y="104"/>
                  </a:lnTo>
                  <a:lnTo>
                    <a:pt x="479" y="82"/>
                  </a:lnTo>
                  <a:lnTo>
                    <a:pt x="476" y="67"/>
                  </a:lnTo>
                  <a:lnTo>
                    <a:pt x="471" y="66"/>
                  </a:lnTo>
                  <a:lnTo>
                    <a:pt x="467" y="63"/>
                  </a:lnTo>
                  <a:lnTo>
                    <a:pt x="463" y="60"/>
                  </a:lnTo>
                  <a:lnTo>
                    <a:pt x="460" y="56"/>
                  </a:lnTo>
                  <a:lnTo>
                    <a:pt x="454" y="46"/>
                  </a:lnTo>
                  <a:lnTo>
                    <a:pt x="450" y="34"/>
                  </a:lnTo>
                  <a:lnTo>
                    <a:pt x="444" y="22"/>
                  </a:lnTo>
                  <a:lnTo>
                    <a:pt x="439" y="11"/>
                  </a:lnTo>
                  <a:lnTo>
                    <a:pt x="436" y="6"/>
                  </a:lnTo>
                  <a:lnTo>
                    <a:pt x="432" y="3"/>
                  </a:lnTo>
                  <a:lnTo>
                    <a:pt x="427" y="0"/>
                  </a:lnTo>
                  <a:lnTo>
                    <a:pt x="423" y="0"/>
                  </a:lnTo>
                  <a:lnTo>
                    <a:pt x="396" y="0"/>
                  </a:lnTo>
                  <a:lnTo>
                    <a:pt x="372" y="0"/>
                  </a:lnTo>
                  <a:lnTo>
                    <a:pt x="348" y="3"/>
                  </a:lnTo>
                  <a:lnTo>
                    <a:pt x="326" y="6"/>
                  </a:lnTo>
                  <a:lnTo>
                    <a:pt x="315" y="12"/>
                  </a:lnTo>
                  <a:lnTo>
                    <a:pt x="306" y="20"/>
                  </a:lnTo>
                  <a:lnTo>
                    <a:pt x="296" y="28"/>
                  </a:lnTo>
                  <a:lnTo>
                    <a:pt x="287" y="38"/>
                  </a:lnTo>
                  <a:lnTo>
                    <a:pt x="278" y="47"/>
                  </a:lnTo>
                  <a:lnTo>
                    <a:pt x="266" y="54"/>
                  </a:lnTo>
                  <a:lnTo>
                    <a:pt x="259" y="56"/>
                  </a:lnTo>
                  <a:lnTo>
                    <a:pt x="252" y="59"/>
                  </a:lnTo>
                  <a:lnTo>
                    <a:pt x="244" y="60"/>
                  </a:lnTo>
                  <a:lnTo>
                    <a:pt x="236" y="60"/>
                  </a:lnTo>
                  <a:lnTo>
                    <a:pt x="227" y="60"/>
                  </a:lnTo>
                  <a:lnTo>
                    <a:pt x="220" y="59"/>
                  </a:lnTo>
                  <a:lnTo>
                    <a:pt x="215" y="56"/>
                  </a:lnTo>
                  <a:lnTo>
                    <a:pt x="210" y="55"/>
                  </a:lnTo>
                  <a:lnTo>
                    <a:pt x="202" y="50"/>
                  </a:lnTo>
                  <a:lnTo>
                    <a:pt x="194" y="48"/>
                  </a:lnTo>
                  <a:lnTo>
                    <a:pt x="187" y="50"/>
                  </a:lnTo>
                  <a:lnTo>
                    <a:pt x="182" y="51"/>
                  </a:lnTo>
                  <a:lnTo>
                    <a:pt x="178" y="55"/>
                  </a:lnTo>
                  <a:lnTo>
                    <a:pt x="175" y="59"/>
                  </a:lnTo>
                  <a:lnTo>
                    <a:pt x="172" y="63"/>
                  </a:lnTo>
                  <a:lnTo>
                    <a:pt x="171" y="68"/>
                  </a:lnTo>
                  <a:lnTo>
                    <a:pt x="170" y="74"/>
                  </a:lnTo>
                  <a:lnTo>
                    <a:pt x="170" y="79"/>
                  </a:lnTo>
                  <a:lnTo>
                    <a:pt x="171" y="98"/>
                  </a:lnTo>
                  <a:lnTo>
                    <a:pt x="174" y="112"/>
                  </a:lnTo>
                  <a:lnTo>
                    <a:pt x="178" y="126"/>
                  </a:lnTo>
                  <a:lnTo>
                    <a:pt x="184" y="138"/>
                  </a:lnTo>
                  <a:lnTo>
                    <a:pt x="192" y="147"/>
                  </a:lnTo>
                  <a:lnTo>
                    <a:pt x="200" y="155"/>
                  </a:lnTo>
                  <a:lnTo>
                    <a:pt x="208" y="162"/>
                  </a:lnTo>
                  <a:lnTo>
                    <a:pt x="218" y="168"/>
                  </a:lnTo>
                  <a:lnTo>
                    <a:pt x="218" y="187"/>
                  </a:lnTo>
                  <a:lnTo>
                    <a:pt x="210" y="188"/>
                  </a:lnTo>
                  <a:lnTo>
                    <a:pt x="202" y="187"/>
                  </a:lnTo>
                  <a:lnTo>
                    <a:pt x="195" y="186"/>
                  </a:lnTo>
                  <a:lnTo>
                    <a:pt x="188" y="183"/>
                  </a:lnTo>
                  <a:lnTo>
                    <a:pt x="182" y="180"/>
                  </a:lnTo>
                  <a:lnTo>
                    <a:pt x="176" y="178"/>
                  </a:lnTo>
                  <a:lnTo>
                    <a:pt x="170" y="175"/>
                  </a:lnTo>
                  <a:lnTo>
                    <a:pt x="163" y="175"/>
                  </a:lnTo>
                  <a:lnTo>
                    <a:pt x="155" y="175"/>
                  </a:lnTo>
                  <a:lnTo>
                    <a:pt x="146" y="175"/>
                  </a:lnTo>
                  <a:lnTo>
                    <a:pt x="132" y="174"/>
                  </a:lnTo>
                  <a:lnTo>
                    <a:pt x="118" y="171"/>
                  </a:lnTo>
                  <a:lnTo>
                    <a:pt x="104" y="167"/>
                  </a:lnTo>
                  <a:lnTo>
                    <a:pt x="91" y="163"/>
                  </a:lnTo>
                  <a:lnTo>
                    <a:pt x="78" y="159"/>
                  </a:lnTo>
                  <a:lnTo>
                    <a:pt x="64" y="155"/>
                  </a:lnTo>
                  <a:lnTo>
                    <a:pt x="51" y="152"/>
                  </a:lnTo>
                  <a:lnTo>
                    <a:pt x="36" y="151"/>
                  </a:lnTo>
                  <a:lnTo>
                    <a:pt x="34" y="151"/>
                  </a:lnTo>
                  <a:lnTo>
                    <a:pt x="30" y="154"/>
                  </a:lnTo>
                  <a:lnTo>
                    <a:pt x="27" y="158"/>
                  </a:lnTo>
                  <a:lnTo>
                    <a:pt x="23" y="163"/>
                  </a:lnTo>
                  <a:lnTo>
                    <a:pt x="18" y="175"/>
                  </a:lnTo>
                  <a:lnTo>
                    <a:pt x="12" y="190"/>
                  </a:lnTo>
                  <a:lnTo>
                    <a:pt x="7" y="204"/>
                  </a:lnTo>
                  <a:lnTo>
                    <a:pt x="4" y="219"/>
                  </a:lnTo>
                  <a:lnTo>
                    <a:pt x="2" y="232"/>
                  </a:lnTo>
                  <a:lnTo>
                    <a:pt x="0" y="242"/>
                  </a:lnTo>
                  <a:lnTo>
                    <a:pt x="2" y="249"/>
                  </a:lnTo>
                  <a:lnTo>
                    <a:pt x="4" y="256"/>
                  </a:lnTo>
                  <a:lnTo>
                    <a:pt x="8" y="263"/>
                  </a:lnTo>
                  <a:lnTo>
                    <a:pt x="12" y="268"/>
                  </a:lnTo>
                  <a:lnTo>
                    <a:pt x="18" y="273"/>
                  </a:lnTo>
                  <a:lnTo>
                    <a:pt x="22" y="280"/>
                  </a:lnTo>
                  <a:lnTo>
                    <a:pt x="24" y="287"/>
                  </a:lnTo>
                  <a:lnTo>
                    <a:pt x="24" y="295"/>
                  </a:lnTo>
                  <a:lnTo>
                    <a:pt x="19" y="311"/>
                  </a:lnTo>
                  <a:lnTo>
                    <a:pt x="12" y="325"/>
                  </a:lnTo>
                  <a:lnTo>
                    <a:pt x="14" y="332"/>
                  </a:lnTo>
                  <a:lnTo>
                    <a:pt x="15" y="339"/>
                  </a:lnTo>
                  <a:lnTo>
                    <a:pt x="16" y="344"/>
                  </a:lnTo>
                  <a:lnTo>
                    <a:pt x="19" y="348"/>
                  </a:lnTo>
                  <a:lnTo>
                    <a:pt x="22" y="352"/>
                  </a:lnTo>
                  <a:lnTo>
                    <a:pt x="26" y="355"/>
                  </a:lnTo>
                  <a:lnTo>
                    <a:pt x="30" y="356"/>
                  </a:lnTo>
                  <a:lnTo>
                    <a:pt x="34" y="359"/>
                  </a:lnTo>
                  <a:lnTo>
                    <a:pt x="43" y="361"/>
                  </a:lnTo>
                  <a:lnTo>
                    <a:pt x="54" y="364"/>
                  </a:lnTo>
                  <a:lnTo>
                    <a:pt x="63" y="368"/>
                  </a:lnTo>
                  <a:lnTo>
                    <a:pt x="74" y="373"/>
                  </a:lnTo>
                  <a:lnTo>
                    <a:pt x="76" y="379"/>
                  </a:lnTo>
                  <a:lnTo>
                    <a:pt x="79" y="384"/>
                  </a:lnTo>
                  <a:lnTo>
                    <a:pt x="80" y="391"/>
                  </a:lnTo>
                  <a:lnTo>
                    <a:pt x="82" y="397"/>
                  </a:lnTo>
                  <a:lnTo>
                    <a:pt x="83" y="411"/>
                  </a:lnTo>
                  <a:lnTo>
                    <a:pt x="86" y="421"/>
                  </a:lnTo>
                  <a:lnTo>
                    <a:pt x="91" y="431"/>
                  </a:lnTo>
                  <a:lnTo>
                    <a:pt x="98" y="437"/>
                  </a:lnTo>
                  <a:lnTo>
                    <a:pt x="104" y="444"/>
                  </a:lnTo>
                  <a:lnTo>
                    <a:pt x="112" y="451"/>
                  </a:lnTo>
                  <a:lnTo>
                    <a:pt x="119" y="456"/>
                  </a:lnTo>
                  <a:lnTo>
                    <a:pt x="128" y="460"/>
                  </a:lnTo>
                  <a:lnTo>
                    <a:pt x="136" y="464"/>
                  </a:lnTo>
                  <a:lnTo>
                    <a:pt x="146" y="467"/>
                  </a:lnTo>
                  <a:lnTo>
                    <a:pt x="164" y="471"/>
                  </a:lnTo>
                  <a:lnTo>
                    <a:pt x="183" y="475"/>
                  </a:lnTo>
                  <a:lnTo>
                    <a:pt x="203" y="476"/>
                  </a:lnTo>
                  <a:lnTo>
                    <a:pt x="223" y="476"/>
                  </a:lnTo>
                  <a:lnTo>
                    <a:pt x="227" y="481"/>
                  </a:lnTo>
                  <a:lnTo>
                    <a:pt x="231" y="487"/>
                  </a:lnTo>
                  <a:lnTo>
                    <a:pt x="236" y="489"/>
                  </a:lnTo>
                  <a:lnTo>
                    <a:pt x="243" y="492"/>
                  </a:lnTo>
                  <a:lnTo>
                    <a:pt x="258" y="493"/>
                  </a:lnTo>
                  <a:lnTo>
                    <a:pt x="272" y="493"/>
                  </a:lnTo>
                  <a:lnTo>
                    <a:pt x="282" y="493"/>
                  </a:lnTo>
                  <a:lnTo>
                    <a:pt x="290" y="491"/>
                  </a:lnTo>
                  <a:lnTo>
                    <a:pt x="295" y="487"/>
                  </a:lnTo>
                  <a:lnTo>
                    <a:pt x="298" y="481"/>
                  </a:lnTo>
                  <a:lnTo>
                    <a:pt x="300" y="476"/>
                  </a:lnTo>
                  <a:lnTo>
                    <a:pt x="302" y="468"/>
                  </a:lnTo>
                  <a:lnTo>
                    <a:pt x="302" y="460"/>
                  </a:lnTo>
                  <a:lnTo>
                    <a:pt x="302" y="452"/>
                  </a:lnTo>
                  <a:lnTo>
                    <a:pt x="300" y="436"/>
                  </a:lnTo>
                  <a:lnTo>
                    <a:pt x="299" y="423"/>
                  </a:lnTo>
                  <a:lnTo>
                    <a:pt x="296" y="413"/>
                  </a:lnTo>
                  <a:lnTo>
                    <a:pt x="296" y="404"/>
                  </a:lnTo>
                  <a:lnTo>
                    <a:pt x="296" y="385"/>
                  </a:lnTo>
                  <a:lnTo>
                    <a:pt x="304" y="385"/>
                  </a:lnTo>
                  <a:lnTo>
                    <a:pt x="312" y="383"/>
                  </a:lnTo>
                  <a:lnTo>
                    <a:pt x="319" y="380"/>
                  </a:lnTo>
                  <a:lnTo>
                    <a:pt x="326" y="376"/>
                  </a:lnTo>
                  <a:lnTo>
                    <a:pt x="331" y="372"/>
                  </a:lnTo>
                  <a:lnTo>
                    <a:pt x="336" y="367"/>
                  </a:lnTo>
                  <a:lnTo>
                    <a:pt x="342" y="361"/>
                  </a:lnTo>
                  <a:lnTo>
                    <a:pt x="346" y="355"/>
                  </a:lnTo>
                  <a:lnTo>
                    <a:pt x="359" y="327"/>
                  </a:lnTo>
                  <a:lnTo>
                    <a:pt x="368" y="301"/>
                  </a:lnTo>
                  <a:lnTo>
                    <a:pt x="374" y="293"/>
                  </a:lnTo>
                  <a:lnTo>
                    <a:pt x="379" y="287"/>
                  </a:lnTo>
                  <a:lnTo>
                    <a:pt x="387" y="281"/>
                  </a:lnTo>
                  <a:lnTo>
                    <a:pt x="395" y="277"/>
                  </a:lnTo>
                  <a:lnTo>
                    <a:pt x="411" y="272"/>
                  </a:lnTo>
                  <a:lnTo>
                    <a:pt x="428" y="268"/>
                  </a:lnTo>
                  <a:lnTo>
                    <a:pt x="444" y="264"/>
                  </a:lnTo>
                  <a:lnTo>
                    <a:pt x="458" y="259"/>
                  </a:lnTo>
                  <a:lnTo>
                    <a:pt x="463" y="255"/>
                  </a:lnTo>
                  <a:lnTo>
                    <a:pt x="467" y="249"/>
                  </a:lnTo>
                  <a:lnTo>
                    <a:pt x="470" y="243"/>
                  </a:lnTo>
                  <a:lnTo>
                    <a:pt x="471" y="235"/>
                  </a:lnTo>
                  <a:lnTo>
                    <a:pt x="470" y="223"/>
                  </a:lnTo>
                  <a:lnTo>
                    <a:pt x="468" y="215"/>
                  </a:lnTo>
                  <a:lnTo>
                    <a:pt x="468" y="211"/>
                  </a:lnTo>
                  <a:lnTo>
                    <a:pt x="468" y="207"/>
                  </a:lnTo>
                  <a:lnTo>
                    <a:pt x="468" y="203"/>
                  </a:lnTo>
                  <a:lnTo>
                    <a:pt x="471" y="199"/>
                  </a:lnTo>
                  <a:lnTo>
                    <a:pt x="458" y="199"/>
                  </a:lnTo>
                  <a:lnTo>
                    <a:pt x="451" y="199"/>
                  </a:lnTo>
                  <a:lnTo>
                    <a:pt x="447" y="199"/>
                  </a:lnTo>
                  <a:lnTo>
                    <a:pt x="440" y="199"/>
                  </a:lnTo>
                  <a:lnTo>
                    <a:pt x="424" y="204"/>
                  </a:lnTo>
                  <a:lnTo>
                    <a:pt x="404" y="211"/>
                  </a:lnTo>
                  <a:lnTo>
                    <a:pt x="395" y="211"/>
                  </a:lnTo>
                  <a:lnTo>
                    <a:pt x="386" y="208"/>
                  </a:lnTo>
                  <a:lnTo>
                    <a:pt x="376" y="206"/>
                  </a:lnTo>
                  <a:lnTo>
                    <a:pt x="367" y="202"/>
                  </a:lnTo>
                  <a:lnTo>
                    <a:pt x="358" y="198"/>
                  </a:lnTo>
                  <a:lnTo>
                    <a:pt x="348" y="192"/>
                  </a:lnTo>
                  <a:lnTo>
                    <a:pt x="340" y="186"/>
                  </a:lnTo>
                  <a:lnTo>
                    <a:pt x="332" y="179"/>
                  </a:lnTo>
                  <a:lnTo>
                    <a:pt x="324" y="172"/>
                  </a:lnTo>
                  <a:lnTo>
                    <a:pt x="318" y="166"/>
                  </a:lnTo>
                  <a:lnTo>
                    <a:pt x="311" y="158"/>
                  </a:lnTo>
                  <a:lnTo>
                    <a:pt x="306" y="150"/>
                  </a:lnTo>
                  <a:lnTo>
                    <a:pt x="302" y="143"/>
                  </a:lnTo>
                  <a:lnTo>
                    <a:pt x="299" y="135"/>
                  </a:lnTo>
                  <a:lnTo>
                    <a:pt x="296" y="127"/>
                  </a:lnTo>
                  <a:lnTo>
                    <a:pt x="296" y="120"/>
                  </a:lnTo>
                  <a:lnTo>
                    <a:pt x="296" y="106"/>
                  </a:lnTo>
                  <a:lnTo>
                    <a:pt x="296" y="95"/>
                  </a:lnTo>
                  <a:lnTo>
                    <a:pt x="296" y="87"/>
                  </a:lnTo>
                  <a:lnTo>
                    <a:pt x="296" y="79"/>
                  </a:lnTo>
                  <a:lnTo>
                    <a:pt x="314" y="79"/>
                  </a:lnTo>
                  <a:lnTo>
                    <a:pt x="326" y="79"/>
                  </a:lnTo>
                  <a:lnTo>
                    <a:pt x="330" y="96"/>
                  </a:lnTo>
                  <a:lnTo>
                    <a:pt x="334" y="115"/>
                  </a:lnTo>
                  <a:lnTo>
                    <a:pt x="340" y="132"/>
                  </a:lnTo>
                  <a:lnTo>
                    <a:pt x="350" y="148"/>
                  </a:lnTo>
                  <a:lnTo>
                    <a:pt x="355" y="155"/>
                  </a:lnTo>
                  <a:lnTo>
                    <a:pt x="360" y="162"/>
                  </a:lnTo>
                  <a:lnTo>
                    <a:pt x="366" y="167"/>
                  </a:lnTo>
                  <a:lnTo>
                    <a:pt x="372" y="172"/>
                  </a:lnTo>
                  <a:lnTo>
                    <a:pt x="380" y="175"/>
                  </a:lnTo>
                  <a:lnTo>
                    <a:pt x="387" y="179"/>
                  </a:lnTo>
                  <a:lnTo>
                    <a:pt x="395" y="180"/>
                  </a:lnTo>
                  <a:lnTo>
                    <a:pt x="404" y="180"/>
                  </a:lnTo>
                  <a:lnTo>
                    <a:pt x="422" y="180"/>
                  </a:lnTo>
                  <a:lnTo>
                    <a:pt x="435" y="178"/>
                  </a:lnTo>
                  <a:lnTo>
                    <a:pt x="447" y="174"/>
                  </a:lnTo>
                  <a:lnTo>
                    <a:pt x="458" y="168"/>
                  </a:lnTo>
                  <a:lnTo>
                    <a:pt x="467" y="163"/>
                  </a:lnTo>
                  <a:lnTo>
                    <a:pt x="475" y="155"/>
                  </a:lnTo>
                  <a:lnTo>
                    <a:pt x="482" y="147"/>
                  </a:lnTo>
                  <a:lnTo>
                    <a:pt x="488" y="139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accent1">
                  <a:lumMod val="20000"/>
                  <a:lumOff val="8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95" b="0" i="0" u="none" strike="noStrike" kern="1200" cap="none" spc="0" normalizeH="0" baseline="0" noProof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7" name="Freeform 102"/>
            <p:cNvSpPr>
              <a:spLocks/>
            </p:cNvSpPr>
            <p:nvPr/>
          </p:nvSpPr>
          <p:spPr bwMode="auto">
            <a:xfrm>
              <a:off x="5553150" y="2062768"/>
              <a:ext cx="23110" cy="15800"/>
            </a:xfrm>
            <a:custGeom>
              <a:avLst/>
              <a:gdLst>
                <a:gd name="T0" fmla="*/ 242 w 318"/>
                <a:gd name="T1" fmla="*/ 168 h 223"/>
                <a:gd name="T2" fmla="*/ 258 w 318"/>
                <a:gd name="T3" fmla="*/ 160 h 223"/>
                <a:gd name="T4" fmla="*/ 273 w 318"/>
                <a:gd name="T5" fmla="*/ 145 h 223"/>
                <a:gd name="T6" fmla="*/ 286 w 318"/>
                <a:gd name="T7" fmla="*/ 127 h 223"/>
                <a:gd name="T8" fmla="*/ 304 w 318"/>
                <a:gd name="T9" fmla="*/ 95 h 223"/>
                <a:gd name="T10" fmla="*/ 317 w 318"/>
                <a:gd name="T11" fmla="*/ 52 h 223"/>
                <a:gd name="T12" fmla="*/ 318 w 318"/>
                <a:gd name="T13" fmla="*/ 24 h 223"/>
                <a:gd name="T14" fmla="*/ 301 w 318"/>
                <a:gd name="T15" fmla="*/ 7 h 223"/>
                <a:gd name="T16" fmla="*/ 264 w 318"/>
                <a:gd name="T17" fmla="*/ 4 h 223"/>
                <a:gd name="T18" fmla="*/ 214 w 318"/>
                <a:gd name="T19" fmla="*/ 17 h 223"/>
                <a:gd name="T20" fmla="*/ 193 w 318"/>
                <a:gd name="T21" fmla="*/ 27 h 223"/>
                <a:gd name="T22" fmla="*/ 184 w 318"/>
                <a:gd name="T23" fmla="*/ 33 h 223"/>
                <a:gd name="T24" fmla="*/ 172 w 318"/>
                <a:gd name="T25" fmla="*/ 51 h 223"/>
                <a:gd name="T26" fmla="*/ 161 w 318"/>
                <a:gd name="T27" fmla="*/ 72 h 223"/>
                <a:gd name="T28" fmla="*/ 154 w 318"/>
                <a:gd name="T29" fmla="*/ 81 h 223"/>
                <a:gd name="T30" fmla="*/ 132 w 318"/>
                <a:gd name="T31" fmla="*/ 85 h 223"/>
                <a:gd name="T32" fmla="*/ 129 w 318"/>
                <a:gd name="T33" fmla="*/ 73 h 223"/>
                <a:gd name="T34" fmla="*/ 121 w 318"/>
                <a:gd name="T35" fmla="*/ 65 h 223"/>
                <a:gd name="T36" fmla="*/ 112 w 318"/>
                <a:gd name="T37" fmla="*/ 61 h 223"/>
                <a:gd name="T38" fmla="*/ 102 w 318"/>
                <a:gd name="T39" fmla="*/ 60 h 223"/>
                <a:gd name="T40" fmla="*/ 90 w 318"/>
                <a:gd name="T41" fmla="*/ 64 h 223"/>
                <a:gd name="T42" fmla="*/ 81 w 318"/>
                <a:gd name="T43" fmla="*/ 72 h 223"/>
                <a:gd name="T44" fmla="*/ 69 w 318"/>
                <a:gd name="T45" fmla="*/ 99 h 223"/>
                <a:gd name="T46" fmla="*/ 53 w 318"/>
                <a:gd name="T47" fmla="*/ 151 h 223"/>
                <a:gd name="T48" fmla="*/ 38 w 318"/>
                <a:gd name="T49" fmla="*/ 145 h 223"/>
                <a:gd name="T50" fmla="*/ 28 w 318"/>
                <a:gd name="T51" fmla="*/ 137 h 223"/>
                <a:gd name="T52" fmla="*/ 12 w 318"/>
                <a:gd name="T53" fmla="*/ 115 h 223"/>
                <a:gd name="T54" fmla="*/ 0 w 318"/>
                <a:gd name="T55" fmla="*/ 132 h 223"/>
                <a:gd name="T56" fmla="*/ 1 w 318"/>
                <a:gd name="T57" fmla="*/ 160 h 223"/>
                <a:gd name="T58" fmla="*/ 9 w 318"/>
                <a:gd name="T59" fmla="*/ 188 h 223"/>
                <a:gd name="T60" fmla="*/ 21 w 318"/>
                <a:gd name="T61" fmla="*/ 205 h 223"/>
                <a:gd name="T62" fmla="*/ 32 w 318"/>
                <a:gd name="T63" fmla="*/ 213 h 223"/>
                <a:gd name="T64" fmla="*/ 44 w 318"/>
                <a:gd name="T65" fmla="*/ 220 h 223"/>
                <a:gd name="T66" fmla="*/ 58 w 318"/>
                <a:gd name="T67" fmla="*/ 223 h 223"/>
                <a:gd name="T68" fmla="*/ 82 w 318"/>
                <a:gd name="T69" fmla="*/ 223 h 223"/>
                <a:gd name="T70" fmla="*/ 106 w 318"/>
                <a:gd name="T71" fmla="*/ 217 h 223"/>
                <a:gd name="T72" fmla="*/ 126 w 318"/>
                <a:gd name="T73" fmla="*/ 211 h 223"/>
                <a:gd name="T74" fmla="*/ 148 w 318"/>
                <a:gd name="T75" fmla="*/ 205 h 223"/>
                <a:gd name="T76" fmla="*/ 177 w 318"/>
                <a:gd name="T77" fmla="*/ 205 h 223"/>
                <a:gd name="T78" fmla="*/ 188 w 318"/>
                <a:gd name="T79" fmla="*/ 200 h 223"/>
                <a:gd name="T80" fmla="*/ 197 w 318"/>
                <a:gd name="T81" fmla="*/ 188 h 223"/>
                <a:gd name="T82" fmla="*/ 212 w 318"/>
                <a:gd name="T83" fmla="*/ 177 h 223"/>
                <a:gd name="T84" fmla="*/ 228 w 318"/>
                <a:gd name="T85" fmla="*/ 171 h 22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318"/>
                <a:gd name="T130" fmla="*/ 0 h 223"/>
                <a:gd name="T131" fmla="*/ 318 w 318"/>
                <a:gd name="T132" fmla="*/ 223 h 223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318" h="223">
                  <a:moveTo>
                    <a:pt x="234" y="169"/>
                  </a:moveTo>
                  <a:lnTo>
                    <a:pt x="242" y="168"/>
                  </a:lnTo>
                  <a:lnTo>
                    <a:pt x="250" y="165"/>
                  </a:lnTo>
                  <a:lnTo>
                    <a:pt x="258" y="160"/>
                  </a:lnTo>
                  <a:lnTo>
                    <a:pt x="265" y="153"/>
                  </a:lnTo>
                  <a:lnTo>
                    <a:pt x="273" y="145"/>
                  </a:lnTo>
                  <a:lnTo>
                    <a:pt x="280" y="137"/>
                  </a:lnTo>
                  <a:lnTo>
                    <a:pt x="286" y="127"/>
                  </a:lnTo>
                  <a:lnTo>
                    <a:pt x="293" y="116"/>
                  </a:lnTo>
                  <a:lnTo>
                    <a:pt x="304" y="95"/>
                  </a:lnTo>
                  <a:lnTo>
                    <a:pt x="312" y="72"/>
                  </a:lnTo>
                  <a:lnTo>
                    <a:pt x="317" y="52"/>
                  </a:lnTo>
                  <a:lnTo>
                    <a:pt x="318" y="36"/>
                  </a:lnTo>
                  <a:lnTo>
                    <a:pt x="318" y="24"/>
                  </a:lnTo>
                  <a:lnTo>
                    <a:pt x="318" y="12"/>
                  </a:lnTo>
                  <a:lnTo>
                    <a:pt x="301" y="7"/>
                  </a:lnTo>
                  <a:lnTo>
                    <a:pt x="282" y="0"/>
                  </a:lnTo>
                  <a:lnTo>
                    <a:pt x="264" y="4"/>
                  </a:lnTo>
                  <a:lnTo>
                    <a:pt x="232" y="12"/>
                  </a:lnTo>
                  <a:lnTo>
                    <a:pt x="214" y="17"/>
                  </a:lnTo>
                  <a:lnTo>
                    <a:pt x="200" y="23"/>
                  </a:lnTo>
                  <a:lnTo>
                    <a:pt x="193" y="27"/>
                  </a:lnTo>
                  <a:lnTo>
                    <a:pt x="188" y="29"/>
                  </a:lnTo>
                  <a:lnTo>
                    <a:pt x="184" y="33"/>
                  </a:lnTo>
                  <a:lnTo>
                    <a:pt x="180" y="36"/>
                  </a:lnTo>
                  <a:lnTo>
                    <a:pt x="172" y="51"/>
                  </a:lnTo>
                  <a:lnTo>
                    <a:pt x="165" y="65"/>
                  </a:lnTo>
                  <a:lnTo>
                    <a:pt x="161" y="72"/>
                  </a:lnTo>
                  <a:lnTo>
                    <a:pt x="158" y="77"/>
                  </a:lnTo>
                  <a:lnTo>
                    <a:pt x="154" y="81"/>
                  </a:lnTo>
                  <a:lnTo>
                    <a:pt x="150" y="85"/>
                  </a:lnTo>
                  <a:lnTo>
                    <a:pt x="132" y="85"/>
                  </a:lnTo>
                  <a:lnTo>
                    <a:pt x="132" y="79"/>
                  </a:lnTo>
                  <a:lnTo>
                    <a:pt x="129" y="73"/>
                  </a:lnTo>
                  <a:lnTo>
                    <a:pt x="125" y="69"/>
                  </a:lnTo>
                  <a:lnTo>
                    <a:pt x="121" y="65"/>
                  </a:lnTo>
                  <a:lnTo>
                    <a:pt x="117" y="64"/>
                  </a:lnTo>
                  <a:lnTo>
                    <a:pt x="112" y="61"/>
                  </a:lnTo>
                  <a:lnTo>
                    <a:pt x="106" y="61"/>
                  </a:lnTo>
                  <a:lnTo>
                    <a:pt x="102" y="60"/>
                  </a:lnTo>
                  <a:lnTo>
                    <a:pt x="96" y="61"/>
                  </a:lnTo>
                  <a:lnTo>
                    <a:pt x="90" y="64"/>
                  </a:lnTo>
                  <a:lnTo>
                    <a:pt x="85" y="68"/>
                  </a:lnTo>
                  <a:lnTo>
                    <a:pt x="81" y="72"/>
                  </a:lnTo>
                  <a:lnTo>
                    <a:pt x="74" y="84"/>
                  </a:lnTo>
                  <a:lnTo>
                    <a:pt x="69" y="99"/>
                  </a:lnTo>
                  <a:lnTo>
                    <a:pt x="61" y="129"/>
                  </a:lnTo>
                  <a:lnTo>
                    <a:pt x="53" y="151"/>
                  </a:lnTo>
                  <a:lnTo>
                    <a:pt x="45" y="148"/>
                  </a:lnTo>
                  <a:lnTo>
                    <a:pt x="38" y="145"/>
                  </a:lnTo>
                  <a:lnTo>
                    <a:pt x="33" y="141"/>
                  </a:lnTo>
                  <a:lnTo>
                    <a:pt x="28" y="137"/>
                  </a:lnTo>
                  <a:lnTo>
                    <a:pt x="20" y="127"/>
                  </a:lnTo>
                  <a:lnTo>
                    <a:pt x="12" y="115"/>
                  </a:lnTo>
                  <a:lnTo>
                    <a:pt x="0" y="115"/>
                  </a:lnTo>
                  <a:lnTo>
                    <a:pt x="0" y="132"/>
                  </a:lnTo>
                  <a:lnTo>
                    <a:pt x="0" y="145"/>
                  </a:lnTo>
                  <a:lnTo>
                    <a:pt x="1" y="160"/>
                  </a:lnTo>
                  <a:lnTo>
                    <a:pt x="4" y="175"/>
                  </a:lnTo>
                  <a:lnTo>
                    <a:pt x="9" y="188"/>
                  </a:lnTo>
                  <a:lnTo>
                    <a:pt x="17" y="200"/>
                  </a:lnTo>
                  <a:lnTo>
                    <a:pt x="21" y="205"/>
                  </a:lnTo>
                  <a:lnTo>
                    <a:pt x="26" y="209"/>
                  </a:lnTo>
                  <a:lnTo>
                    <a:pt x="32" y="213"/>
                  </a:lnTo>
                  <a:lnTo>
                    <a:pt x="37" y="217"/>
                  </a:lnTo>
                  <a:lnTo>
                    <a:pt x="44" y="220"/>
                  </a:lnTo>
                  <a:lnTo>
                    <a:pt x="50" y="221"/>
                  </a:lnTo>
                  <a:lnTo>
                    <a:pt x="58" y="223"/>
                  </a:lnTo>
                  <a:lnTo>
                    <a:pt x="66" y="223"/>
                  </a:lnTo>
                  <a:lnTo>
                    <a:pt x="82" y="223"/>
                  </a:lnTo>
                  <a:lnTo>
                    <a:pt x="96" y="220"/>
                  </a:lnTo>
                  <a:lnTo>
                    <a:pt x="106" y="217"/>
                  </a:lnTo>
                  <a:lnTo>
                    <a:pt x="116" y="215"/>
                  </a:lnTo>
                  <a:lnTo>
                    <a:pt x="126" y="211"/>
                  </a:lnTo>
                  <a:lnTo>
                    <a:pt x="136" y="208"/>
                  </a:lnTo>
                  <a:lnTo>
                    <a:pt x="148" y="205"/>
                  </a:lnTo>
                  <a:lnTo>
                    <a:pt x="162" y="205"/>
                  </a:lnTo>
                  <a:lnTo>
                    <a:pt x="177" y="205"/>
                  </a:lnTo>
                  <a:lnTo>
                    <a:pt x="186" y="205"/>
                  </a:lnTo>
                  <a:lnTo>
                    <a:pt x="188" y="200"/>
                  </a:lnTo>
                  <a:lnTo>
                    <a:pt x="192" y="195"/>
                  </a:lnTo>
                  <a:lnTo>
                    <a:pt x="197" y="188"/>
                  </a:lnTo>
                  <a:lnTo>
                    <a:pt x="204" y="183"/>
                  </a:lnTo>
                  <a:lnTo>
                    <a:pt x="212" y="177"/>
                  </a:lnTo>
                  <a:lnTo>
                    <a:pt x="220" y="173"/>
                  </a:lnTo>
                  <a:lnTo>
                    <a:pt x="228" y="171"/>
                  </a:lnTo>
                  <a:lnTo>
                    <a:pt x="234" y="169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accent1">
                  <a:lumMod val="20000"/>
                  <a:lumOff val="8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95" b="0" i="0" u="none" strike="noStrike" kern="1200" cap="none" spc="0" normalizeH="0" baseline="0" noProof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8" name="Freeform 103"/>
            <p:cNvSpPr>
              <a:spLocks/>
            </p:cNvSpPr>
            <p:nvPr/>
          </p:nvSpPr>
          <p:spPr bwMode="auto">
            <a:xfrm>
              <a:off x="5555744" y="2110639"/>
              <a:ext cx="16035" cy="15092"/>
            </a:xfrm>
            <a:custGeom>
              <a:avLst/>
              <a:gdLst>
                <a:gd name="T0" fmla="*/ 45 w 222"/>
                <a:gd name="T1" fmla="*/ 1 h 212"/>
                <a:gd name="T2" fmla="*/ 38 w 222"/>
                <a:gd name="T3" fmla="*/ 6 h 212"/>
                <a:gd name="T4" fmla="*/ 28 w 222"/>
                <a:gd name="T5" fmla="*/ 22 h 212"/>
                <a:gd name="T6" fmla="*/ 12 w 222"/>
                <a:gd name="T7" fmla="*/ 50 h 212"/>
                <a:gd name="T8" fmla="*/ 1 w 222"/>
                <a:gd name="T9" fmla="*/ 76 h 212"/>
                <a:gd name="T10" fmla="*/ 1 w 222"/>
                <a:gd name="T11" fmla="*/ 96 h 212"/>
                <a:gd name="T12" fmla="*/ 9 w 222"/>
                <a:gd name="T13" fmla="*/ 113 h 212"/>
                <a:gd name="T14" fmla="*/ 20 w 222"/>
                <a:gd name="T15" fmla="*/ 129 h 212"/>
                <a:gd name="T16" fmla="*/ 29 w 222"/>
                <a:gd name="T17" fmla="*/ 146 h 212"/>
                <a:gd name="T18" fmla="*/ 29 w 222"/>
                <a:gd name="T19" fmla="*/ 168 h 212"/>
                <a:gd name="T20" fmla="*/ 22 w 222"/>
                <a:gd name="T21" fmla="*/ 180 h 212"/>
                <a:gd name="T22" fmla="*/ 13 w 222"/>
                <a:gd name="T23" fmla="*/ 188 h 212"/>
                <a:gd name="T24" fmla="*/ 6 w 222"/>
                <a:gd name="T25" fmla="*/ 198 h 212"/>
                <a:gd name="T26" fmla="*/ 12 w 222"/>
                <a:gd name="T27" fmla="*/ 209 h 212"/>
                <a:gd name="T28" fmla="*/ 21 w 222"/>
                <a:gd name="T29" fmla="*/ 210 h 212"/>
                <a:gd name="T30" fmla="*/ 28 w 222"/>
                <a:gd name="T31" fmla="*/ 200 h 212"/>
                <a:gd name="T32" fmla="*/ 38 w 222"/>
                <a:gd name="T33" fmla="*/ 181 h 212"/>
                <a:gd name="T34" fmla="*/ 44 w 222"/>
                <a:gd name="T35" fmla="*/ 172 h 212"/>
                <a:gd name="T36" fmla="*/ 50 w 222"/>
                <a:gd name="T37" fmla="*/ 164 h 212"/>
                <a:gd name="T38" fmla="*/ 66 w 222"/>
                <a:gd name="T39" fmla="*/ 157 h 212"/>
                <a:gd name="T40" fmla="*/ 104 w 222"/>
                <a:gd name="T41" fmla="*/ 149 h 212"/>
                <a:gd name="T42" fmla="*/ 138 w 222"/>
                <a:gd name="T43" fmla="*/ 138 h 212"/>
                <a:gd name="T44" fmla="*/ 173 w 222"/>
                <a:gd name="T45" fmla="*/ 125 h 212"/>
                <a:gd name="T46" fmla="*/ 197 w 222"/>
                <a:gd name="T47" fmla="*/ 112 h 212"/>
                <a:gd name="T48" fmla="*/ 209 w 222"/>
                <a:gd name="T49" fmla="*/ 101 h 212"/>
                <a:gd name="T50" fmla="*/ 217 w 222"/>
                <a:gd name="T51" fmla="*/ 88 h 212"/>
                <a:gd name="T52" fmla="*/ 222 w 222"/>
                <a:gd name="T53" fmla="*/ 70 h 212"/>
                <a:gd name="T54" fmla="*/ 222 w 222"/>
                <a:gd name="T55" fmla="*/ 54 h 212"/>
                <a:gd name="T56" fmla="*/ 220 w 222"/>
                <a:gd name="T57" fmla="*/ 42 h 212"/>
                <a:gd name="T58" fmla="*/ 212 w 222"/>
                <a:gd name="T59" fmla="*/ 29 h 212"/>
                <a:gd name="T60" fmla="*/ 194 w 222"/>
                <a:gd name="T61" fmla="*/ 14 h 212"/>
                <a:gd name="T62" fmla="*/ 170 w 222"/>
                <a:gd name="T63" fmla="*/ 6 h 212"/>
                <a:gd name="T64" fmla="*/ 129 w 222"/>
                <a:gd name="T65" fmla="*/ 1 h 212"/>
                <a:gd name="T66" fmla="*/ 73 w 222"/>
                <a:gd name="T67" fmla="*/ 1 h 212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22"/>
                <a:gd name="T103" fmla="*/ 0 h 212"/>
                <a:gd name="T104" fmla="*/ 222 w 222"/>
                <a:gd name="T105" fmla="*/ 212 h 212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22" h="212">
                  <a:moveTo>
                    <a:pt x="48" y="1"/>
                  </a:moveTo>
                  <a:lnTo>
                    <a:pt x="45" y="1"/>
                  </a:lnTo>
                  <a:lnTo>
                    <a:pt x="42" y="4"/>
                  </a:lnTo>
                  <a:lnTo>
                    <a:pt x="38" y="6"/>
                  </a:lnTo>
                  <a:lnTo>
                    <a:pt x="36" y="12"/>
                  </a:lnTo>
                  <a:lnTo>
                    <a:pt x="28" y="22"/>
                  </a:lnTo>
                  <a:lnTo>
                    <a:pt x="20" y="36"/>
                  </a:lnTo>
                  <a:lnTo>
                    <a:pt x="12" y="50"/>
                  </a:lnTo>
                  <a:lnTo>
                    <a:pt x="5" y="64"/>
                  </a:lnTo>
                  <a:lnTo>
                    <a:pt x="1" y="76"/>
                  </a:lnTo>
                  <a:lnTo>
                    <a:pt x="0" y="85"/>
                  </a:lnTo>
                  <a:lnTo>
                    <a:pt x="1" y="96"/>
                  </a:lnTo>
                  <a:lnTo>
                    <a:pt x="4" y="105"/>
                  </a:lnTo>
                  <a:lnTo>
                    <a:pt x="9" y="113"/>
                  </a:lnTo>
                  <a:lnTo>
                    <a:pt x="14" y="121"/>
                  </a:lnTo>
                  <a:lnTo>
                    <a:pt x="20" y="129"/>
                  </a:lnTo>
                  <a:lnTo>
                    <a:pt x="25" y="137"/>
                  </a:lnTo>
                  <a:lnTo>
                    <a:pt x="29" y="146"/>
                  </a:lnTo>
                  <a:lnTo>
                    <a:pt x="30" y="157"/>
                  </a:lnTo>
                  <a:lnTo>
                    <a:pt x="29" y="168"/>
                  </a:lnTo>
                  <a:lnTo>
                    <a:pt x="26" y="174"/>
                  </a:lnTo>
                  <a:lnTo>
                    <a:pt x="22" y="180"/>
                  </a:lnTo>
                  <a:lnTo>
                    <a:pt x="17" y="184"/>
                  </a:lnTo>
                  <a:lnTo>
                    <a:pt x="13" y="188"/>
                  </a:lnTo>
                  <a:lnTo>
                    <a:pt x="9" y="192"/>
                  </a:lnTo>
                  <a:lnTo>
                    <a:pt x="6" y="198"/>
                  </a:lnTo>
                  <a:lnTo>
                    <a:pt x="5" y="205"/>
                  </a:lnTo>
                  <a:lnTo>
                    <a:pt x="12" y="209"/>
                  </a:lnTo>
                  <a:lnTo>
                    <a:pt x="17" y="212"/>
                  </a:lnTo>
                  <a:lnTo>
                    <a:pt x="21" y="210"/>
                  </a:lnTo>
                  <a:lnTo>
                    <a:pt x="24" y="206"/>
                  </a:lnTo>
                  <a:lnTo>
                    <a:pt x="28" y="200"/>
                  </a:lnTo>
                  <a:lnTo>
                    <a:pt x="32" y="193"/>
                  </a:lnTo>
                  <a:lnTo>
                    <a:pt x="38" y="181"/>
                  </a:lnTo>
                  <a:lnTo>
                    <a:pt x="42" y="176"/>
                  </a:lnTo>
                  <a:lnTo>
                    <a:pt x="44" y="172"/>
                  </a:lnTo>
                  <a:lnTo>
                    <a:pt x="46" y="168"/>
                  </a:lnTo>
                  <a:lnTo>
                    <a:pt x="50" y="164"/>
                  </a:lnTo>
                  <a:lnTo>
                    <a:pt x="54" y="161"/>
                  </a:lnTo>
                  <a:lnTo>
                    <a:pt x="66" y="157"/>
                  </a:lnTo>
                  <a:lnTo>
                    <a:pt x="78" y="153"/>
                  </a:lnTo>
                  <a:lnTo>
                    <a:pt x="104" y="149"/>
                  </a:lnTo>
                  <a:lnTo>
                    <a:pt x="120" y="145"/>
                  </a:lnTo>
                  <a:lnTo>
                    <a:pt x="138" y="138"/>
                  </a:lnTo>
                  <a:lnTo>
                    <a:pt x="157" y="132"/>
                  </a:lnTo>
                  <a:lnTo>
                    <a:pt x="173" y="125"/>
                  </a:lnTo>
                  <a:lnTo>
                    <a:pt x="189" y="117"/>
                  </a:lnTo>
                  <a:lnTo>
                    <a:pt x="197" y="112"/>
                  </a:lnTo>
                  <a:lnTo>
                    <a:pt x="202" y="106"/>
                  </a:lnTo>
                  <a:lnTo>
                    <a:pt x="209" y="101"/>
                  </a:lnTo>
                  <a:lnTo>
                    <a:pt x="213" y="94"/>
                  </a:lnTo>
                  <a:lnTo>
                    <a:pt x="217" y="88"/>
                  </a:lnTo>
                  <a:lnTo>
                    <a:pt x="220" y="80"/>
                  </a:lnTo>
                  <a:lnTo>
                    <a:pt x="222" y="70"/>
                  </a:lnTo>
                  <a:lnTo>
                    <a:pt x="222" y="61"/>
                  </a:lnTo>
                  <a:lnTo>
                    <a:pt x="222" y="54"/>
                  </a:lnTo>
                  <a:lnTo>
                    <a:pt x="221" y="49"/>
                  </a:lnTo>
                  <a:lnTo>
                    <a:pt x="220" y="42"/>
                  </a:lnTo>
                  <a:lnTo>
                    <a:pt x="217" y="37"/>
                  </a:lnTo>
                  <a:lnTo>
                    <a:pt x="212" y="29"/>
                  </a:lnTo>
                  <a:lnTo>
                    <a:pt x="204" y="21"/>
                  </a:lnTo>
                  <a:lnTo>
                    <a:pt x="194" y="14"/>
                  </a:lnTo>
                  <a:lnTo>
                    <a:pt x="184" y="10"/>
                  </a:lnTo>
                  <a:lnTo>
                    <a:pt x="170" y="6"/>
                  </a:lnTo>
                  <a:lnTo>
                    <a:pt x="158" y="4"/>
                  </a:lnTo>
                  <a:lnTo>
                    <a:pt x="129" y="1"/>
                  </a:lnTo>
                  <a:lnTo>
                    <a:pt x="101" y="0"/>
                  </a:lnTo>
                  <a:lnTo>
                    <a:pt x="73" y="1"/>
                  </a:lnTo>
                  <a:lnTo>
                    <a:pt x="48" y="1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accent1">
                  <a:lumMod val="20000"/>
                  <a:lumOff val="8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95" b="0" i="0" u="none" strike="noStrike" kern="1200" cap="none" spc="0" normalizeH="0" baseline="0" noProof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9" name="Freeform 119"/>
            <p:cNvSpPr>
              <a:spLocks/>
            </p:cNvSpPr>
            <p:nvPr/>
          </p:nvSpPr>
          <p:spPr bwMode="auto">
            <a:xfrm>
              <a:off x="5246591" y="2127853"/>
              <a:ext cx="197613" cy="204687"/>
            </a:xfrm>
            <a:custGeom>
              <a:avLst/>
              <a:gdLst>
                <a:gd name="T0" fmla="*/ 439 w 2746"/>
                <a:gd name="T1" fmla="*/ 2841 h 2846"/>
                <a:gd name="T2" fmla="*/ 549 w 2746"/>
                <a:gd name="T3" fmla="*/ 2682 h 2846"/>
                <a:gd name="T4" fmla="*/ 658 w 2746"/>
                <a:gd name="T5" fmla="*/ 2725 h 2846"/>
                <a:gd name="T6" fmla="*/ 774 w 2746"/>
                <a:gd name="T7" fmla="*/ 2838 h 2846"/>
                <a:gd name="T8" fmla="*/ 1089 w 2746"/>
                <a:gd name="T9" fmla="*/ 2810 h 2846"/>
                <a:gd name="T10" fmla="*/ 1253 w 2746"/>
                <a:gd name="T11" fmla="*/ 2576 h 2846"/>
                <a:gd name="T12" fmla="*/ 1397 w 2746"/>
                <a:gd name="T13" fmla="*/ 2367 h 2846"/>
                <a:gd name="T14" fmla="*/ 1647 w 2746"/>
                <a:gd name="T15" fmla="*/ 2185 h 2846"/>
                <a:gd name="T16" fmla="*/ 1741 w 2746"/>
                <a:gd name="T17" fmla="*/ 2163 h 2846"/>
                <a:gd name="T18" fmla="*/ 1841 w 2746"/>
                <a:gd name="T19" fmla="*/ 2184 h 2846"/>
                <a:gd name="T20" fmla="*/ 1979 w 2746"/>
                <a:gd name="T21" fmla="*/ 2189 h 2846"/>
                <a:gd name="T22" fmla="*/ 2190 w 2746"/>
                <a:gd name="T23" fmla="*/ 2211 h 2846"/>
                <a:gd name="T24" fmla="*/ 2287 w 2746"/>
                <a:gd name="T25" fmla="*/ 2196 h 2846"/>
                <a:gd name="T26" fmla="*/ 2383 w 2746"/>
                <a:gd name="T27" fmla="*/ 2104 h 2846"/>
                <a:gd name="T28" fmla="*/ 2556 w 2746"/>
                <a:gd name="T29" fmla="*/ 1992 h 2846"/>
                <a:gd name="T30" fmla="*/ 2560 w 2746"/>
                <a:gd name="T31" fmla="*/ 1888 h 2846"/>
                <a:gd name="T32" fmla="*/ 2744 w 2746"/>
                <a:gd name="T33" fmla="*/ 1555 h 2846"/>
                <a:gd name="T34" fmla="*/ 2654 w 2746"/>
                <a:gd name="T35" fmla="*/ 1408 h 2846"/>
                <a:gd name="T36" fmla="*/ 2508 w 2746"/>
                <a:gd name="T37" fmla="*/ 1226 h 2846"/>
                <a:gd name="T38" fmla="*/ 2431 w 2746"/>
                <a:gd name="T39" fmla="*/ 1079 h 2846"/>
                <a:gd name="T40" fmla="*/ 2432 w 2746"/>
                <a:gd name="T41" fmla="*/ 914 h 2846"/>
                <a:gd name="T42" fmla="*/ 2320 w 2746"/>
                <a:gd name="T43" fmla="*/ 945 h 2846"/>
                <a:gd name="T44" fmla="*/ 2366 w 2746"/>
                <a:gd name="T45" fmla="*/ 1058 h 2846"/>
                <a:gd name="T46" fmla="*/ 2114 w 2746"/>
                <a:gd name="T47" fmla="*/ 1243 h 2846"/>
                <a:gd name="T48" fmla="*/ 2416 w 2746"/>
                <a:gd name="T49" fmla="*/ 709 h 2846"/>
                <a:gd name="T50" fmla="*/ 2430 w 2746"/>
                <a:gd name="T51" fmla="*/ 368 h 2846"/>
                <a:gd name="T52" fmla="*/ 2191 w 2746"/>
                <a:gd name="T53" fmla="*/ 180 h 2846"/>
                <a:gd name="T54" fmla="*/ 2011 w 2746"/>
                <a:gd name="T55" fmla="*/ 285 h 2846"/>
                <a:gd name="T56" fmla="*/ 1969 w 2746"/>
                <a:gd name="T57" fmla="*/ 233 h 2846"/>
                <a:gd name="T58" fmla="*/ 1873 w 2746"/>
                <a:gd name="T59" fmla="*/ 140 h 2846"/>
                <a:gd name="T60" fmla="*/ 1862 w 2746"/>
                <a:gd name="T61" fmla="*/ 87 h 2846"/>
                <a:gd name="T62" fmla="*/ 1771 w 2746"/>
                <a:gd name="T63" fmla="*/ 3 h 2846"/>
                <a:gd name="T64" fmla="*/ 1677 w 2746"/>
                <a:gd name="T65" fmla="*/ 65 h 2846"/>
                <a:gd name="T66" fmla="*/ 1609 w 2746"/>
                <a:gd name="T67" fmla="*/ 312 h 2846"/>
                <a:gd name="T68" fmla="*/ 1529 w 2746"/>
                <a:gd name="T69" fmla="*/ 384 h 2846"/>
                <a:gd name="T70" fmla="*/ 1487 w 2746"/>
                <a:gd name="T71" fmla="*/ 430 h 2846"/>
                <a:gd name="T72" fmla="*/ 1357 w 2746"/>
                <a:gd name="T73" fmla="*/ 557 h 2846"/>
                <a:gd name="T74" fmla="*/ 1359 w 2746"/>
                <a:gd name="T75" fmla="*/ 468 h 2846"/>
                <a:gd name="T76" fmla="*/ 1238 w 2746"/>
                <a:gd name="T77" fmla="*/ 509 h 2846"/>
                <a:gd name="T78" fmla="*/ 1140 w 2746"/>
                <a:gd name="T79" fmla="*/ 588 h 2846"/>
                <a:gd name="T80" fmla="*/ 952 w 2746"/>
                <a:gd name="T81" fmla="*/ 669 h 2846"/>
                <a:gd name="T82" fmla="*/ 694 w 2746"/>
                <a:gd name="T83" fmla="*/ 939 h 2846"/>
                <a:gd name="T84" fmla="*/ 754 w 2746"/>
                <a:gd name="T85" fmla="*/ 1170 h 2846"/>
                <a:gd name="T86" fmla="*/ 451 w 2746"/>
                <a:gd name="T87" fmla="*/ 1153 h 2846"/>
                <a:gd name="T88" fmla="*/ 209 w 2746"/>
                <a:gd name="T89" fmla="*/ 1207 h 2846"/>
                <a:gd name="T90" fmla="*/ 233 w 2746"/>
                <a:gd name="T91" fmla="*/ 1450 h 2846"/>
                <a:gd name="T92" fmla="*/ 308 w 2746"/>
                <a:gd name="T93" fmla="*/ 1531 h 2846"/>
                <a:gd name="T94" fmla="*/ 368 w 2746"/>
                <a:gd name="T95" fmla="*/ 1627 h 2846"/>
                <a:gd name="T96" fmla="*/ 367 w 2746"/>
                <a:gd name="T97" fmla="*/ 1816 h 2846"/>
                <a:gd name="T98" fmla="*/ 349 w 2746"/>
                <a:gd name="T99" fmla="*/ 2101 h 2846"/>
                <a:gd name="T100" fmla="*/ 359 w 2746"/>
                <a:gd name="T101" fmla="*/ 1885 h 2846"/>
                <a:gd name="T102" fmla="*/ 272 w 2746"/>
                <a:gd name="T103" fmla="*/ 2003 h 2846"/>
                <a:gd name="T104" fmla="*/ 376 w 2746"/>
                <a:gd name="T105" fmla="*/ 1679 h 2846"/>
                <a:gd name="T106" fmla="*/ 260 w 2746"/>
                <a:gd name="T107" fmla="*/ 1655 h 2846"/>
                <a:gd name="T108" fmla="*/ 88 w 2746"/>
                <a:gd name="T109" fmla="*/ 1460 h 2846"/>
                <a:gd name="T110" fmla="*/ 79 w 2746"/>
                <a:gd name="T111" fmla="*/ 1550 h 2846"/>
                <a:gd name="T112" fmla="*/ 160 w 2746"/>
                <a:gd name="T113" fmla="*/ 1674 h 2846"/>
                <a:gd name="T114" fmla="*/ 111 w 2746"/>
                <a:gd name="T115" fmla="*/ 1794 h 2846"/>
                <a:gd name="T116" fmla="*/ 152 w 2746"/>
                <a:gd name="T117" fmla="*/ 1987 h 2846"/>
                <a:gd name="T118" fmla="*/ 4 w 2746"/>
                <a:gd name="T119" fmla="*/ 2123 h 2846"/>
                <a:gd name="T120" fmla="*/ 116 w 2746"/>
                <a:gd name="T121" fmla="*/ 2305 h 2846"/>
                <a:gd name="T122" fmla="*/ 252 w 2746"/>
                <a:gd name="T123" fmla="*/ 2352 h 2846"/>
                <a:gd name="T124" fmla="*/ 281 w 2746"/>
                <a:gd name="T125" fmla="*/ 2496 h 284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746"/>
                <a:gd name="T190" fmla="*/ 0 h 2846"/>
                <a:gd name="T191" fmla="*/ 2746 w 2746"/>
                <a:gd name="T192" fmla="*/ 2846 h 284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746" h="2846">
                  <a:moveTo>
                    <a:pt x="276" y="2557"/>
                  </a:moveTo>
                  <a:lnTo>
                    <a:pt x="287" y="2589"/>
                  </a:lnTo>
                  <a:lnTo>
                    <a:pt x="301" y="2629"/>
                  </a:lnTo>
                  <a:lnTo>
                    <a:pt x="320" y="2676"/>
                  </a:lnTo>
                  <a:lnTo>
                    <a:pt x="343" y="2724"/>
                  </a:lnTo>
                  <a:lnTo>
                    <a:pt x="353" y="2746"/>
                  </a:lnTo>
                  <a:lnTo>
                    <a:pt x="365" y="2768"/>
                  </a:lnTo>
                  <a:lnTo>
                    <a:pt x="379" y="2788"/>
                  </a:lnTo>
                  <a:lnTo>
                    <a:pt x="391" y="2805"/>
                  </a:lnTo>
                  <a:lnTo>
                    <a:pt x="403" y="2820"/>
                  </a:lnTo>
                  <a:lnTo>
                    <a:pt x="416" y="2830"/>
                  </a:lnTo>
                  <a:lnTo>
                    <a:pt x="421" y="2836"/>
                  </a:lnTo>
                  <a:lnTo>
                    <a:pt x="428" y="2838"/>
                  </a:lnTo>
                  <a:lnTo>
                    <a:pt x="433" y="2840"/>
                  </a:lnTo>
                  <a:lnTo>
                    <a:pt x="439" y="2841"/>
                  </a:lnTo>
                  <a:lnTo>
                    <a:pt x="445" y="2840"/>
                  </a:lnTo>
                  <a:lnTo>
                    <a:pt x="451" y="2838"/>
                  </a:lnTo>
                  <a:lnTo>
                    <a:pt x="456" y="2836"/>
                  </a:lnTo>
                  <a:lnTo>
                    <a:pt x="460" y="2833"/>
                  </a:lnTo>
                  <a:lnTo>
                    <a:pt x="469" y="2825"/>
                  </a:lnTo>
                  <a:lnTo>
                    <a:pt x="476" y="2814"/>
                  </a:lnTo>
                  <a:lnTo>
                    <a:pt x="489" y="2788"/>
                  </a:lnTo>
                  <a:lnTo>
                    <a:pt x="501" y="2756"/>
                  </a:lnTo>
                  <a:lnTo>
                    <a:pt x="508" y="2741"/>
                  </a:lnTo>
                  <a:lnTo>
                    <a:pt x="514" y="2725"/>
                  </a:lnTo>
                  <a:lnTo>
                    <a:pt x="522" y="2710"/>
                  </a:lnTo>
                  <a:lnTo>
                    <a:pt x="532" y="2698"/>
                  </a:lnTo>
                  <a:lnTo>
                    <a:pt x="537" y="2693"/>
                  </a:lnTo>
                  <a:lnTo>
                    <a:pt x="544" y="2688"/>
                  </a:lnTo>
                  <a:lnTo>
                    <a:pt x="549" y="2682"/>
                  </a:lnTo>
                  <a:lnTo>
                    <a:pt x="556" y="2680"/>
                  </a:lnTo>
                  <a:lnTo>
                    <a:pt x="564" y="2676"/>
                  </a:lnTo>
                  <a:lnTo>
                    <a:pt x="572" y="2673"/>
                  </a:lnTo>
                  <a:lnTo>
                    <a:pt x="580" y="2672"/>
                  </a:lnTo>
                  <a:lnTo>
                    <a:pt x="589" y="2672"/>
                  </a:lnTo>
                  <a:lnTo>
                    <a:pt x="600" y="2672"/>
                  </a:lnTo>
                  <a:lnTo>
                    <a:pt x="609" y="2673"/>
                  </a:lnTo>
                  <a:lnTo>
                    <a:pt x="617" y="2676"/>
                  </a:lnTo>
                  <a:lnTo>
                    <a:pt x="624" y="2680"/>
                  </a:lnTo>
                  <a:lnTo>
                    <a:pt x="630" y="2682"/>
                  </a:lnTo>
                  <a:lnTo>
                    <a:pt x="637" y="2688"/>
                  </a:lnTo>
                  <a:lnTo>
                    <a:pt x="641" y="2693"/>
                  </a:lnTo>
                  <a:lnTo>
                    <a:pt x="646" y="2698"/>
                  </a:lnTo>
                  <a:lnTo>
                    <a:pt x="653" y="2710"/>
                  </a:lnTo>
                  <a:lnTo>
                    <a:pt x="658" y="2725"/>
                  </a:lnTo>
                  <a:lnTo>
                    <a:pt x="664" y="2741"/>
                  </a:lnTo>
                  <a:lnTo>
                    <a:pt x="666" y="2756"/>
                  </a:lnTo>
                  <a:lnTo>
                    <a:pt x="670" y="2772"/>
                  </a:lnTo>
                  <a:lnTo>
                    <a:pt x="674" y="2788"/>
                  </a:lnTo>
                  <a:lnTo>
                    <a:pt x="680" y="2801"/>
                  </a:lnTo>
                  <a:lnTo>
                    <a:pt x="686" y="2814"/>
                  </a:lnTo>
                  <a:lnTo>
                    <a:pt x="690" y="2820"/>
                  </a:lnTo>
                  <a:lnTo>
                    <a:pt x="696" y="2825"/>
                  </a:lnTo>
                  <a:lnTo>
                    <a:pt x="701" y="2829"/>
                  </a:lnTo>
                  <a:lnTo>
                    <a:pt x="708" y="2833"/>
                  </a:lnTo>
                  <a:lnTo>
                    <a:pt x="714" y="2836"/>
                  </a:lnTo>
                  <a:lnTo>
                    <a:pt x="722" y="2838"/>
                  </a:lnTo>
                  <a:lnTo>
                    <a:pt x="730" y="2840"/>
                  </a:lnTo>
                  <a:lnTo>
                    <a:pt x="740" y="2841"/>
                  </a:lnTo>
                  <a:lnTo>
                    <a:pt x="774" y="2838"/>
                  </a:lnTo>
                  <a:lnTo>
                    <a:pt x="810" y="2834"/>
                  </a:lnTo>
                  <a:lnTo>
                    <a:pt x="848" y="2829"/>
                  </a:lnTo>
                  <a:lnTo>
                    <a:pt x="888" y="2825"/>
                  </a:lnTo>
                  <a:lnTo>
                    <a:pt x="908" y="2824"/>
                  </a:lnTo>
                  <a:lnTo>
                    <a:pt x="929" y="2824"/>
                  </a:lnTo>
                  <a:lnTo>
                    <a:pt x="952" y="2824"/>
                  </a:lnTo>
                  <a:lnTo>
                    <a:pt x="974" y="2825"/>
                  </a:lnTo>
                  <a:lnTo>
                    <a:pt x="997" y="2828"/>
                  </a:lnTo>
                  <a:lnTo>
                    <a:pt x="1021" y="2833"/>
                  </a:lnTo>
                  <a:lnTo>
                    <a:pt x="1046" y="2838"/>
                  </a:lnTo>
                  <a:lnTo>
                    <a:pt x="1072" y="2846"/>
                  </a:lnTo>
                  <a:lnTo>
                    <a:pt x="1076" y="2836"/>
                  </a:lnTo>
                  <a:lnTo>
                    <a:pt x="1078" y="2829"/>
                  </a:lnTo>
                  <a:lnTo>
                    <a:pt x="1082" y="2821"/>
                  </a:lnTo>
                  <a:lnTo>
                    <a:pt x="1089" y="2810"/>
                  </a:lnTo>
                  <a:lnTo>
                    <a:pt x="1104" y="2790"/>
                  </a:lnTo>
                  <a:lnTo>
                    <a:pt x="1117" y="2770"/>
                  </a:lnTo>
                  <a:lnTo>
                    <a:pt x="1129" y="2750"/>
                  </a:lnTo>
                  <a:lnTo>
                    <a:pt x="1141" y="2730"/>
                  </a:lnTo>
                  <a:lnTo>
                    <a:pt x="1161" y="2690"/>
                  </a:lnTo>
                  <a:lnTo>
                    <a:pt x="1181" y="2654"/>
                  </a:lnTo>
                  <a:lnTo>
                    <a:pt x="1190" y="2638"/>
                  </a:lnTo>
                  <a:lnTo>
                    <a:pt x="1198" y="2622"/>
                  </a:lnTo>
                  <a:lnTo>
                    <a:pt x="1208" y="2609"/>
                  </a:lnTo>
                  <a:lnTo>
                    <a:pt x="1217" y="2598"/>
                  </a:lnTo>
                  <a:lnTo>
                    <a:pt x="1226" y="2588"/>
                  </a:lnTo>
                  <a:lnTo>
                    <a:pt x="1237" y="2581"/>
                  </a:lnTo>
                  <a:lnTo>
                    <a:pt x="1242" y="2578"/>
                  </a:lnTo>
                  <a:lnTo>
                    <a:pt x="1247" y="2577"/>
                  </a:lnTo>
                  <a:lnTo>
                    <a:pt x="1253" y="2576"/>
                  </a:lnTo>
                  <a:lnTo>
                    <a:pt x="1258" y="2576"/>
                  </a:lnTo>
                  <a:lnTo>
                    <a:pt x="1274" y="2576"/>
                  </a:lnTo>
                  <a:lnTo>
                    <a:pt x="1294" y="2576"/>
                  </a:lnTo>
                  <a:lnTo>
                    <a:pt x="1299" y="2574"/>
                  </a:lnTo>
                  <a:lnTo>
                    <a:pt x="1303" y="2573"/>
                  </a:lnTo>
                  <a:lnTo>
                    <a:pt x="1307" y="2570"/>
                  </a:lnTo>
                  <a:lnTo>
                    <a:pt x="1310" y="2568"/>
                  </a:lnTo>
                  <a:lnTo>
                    <a:pt x="1315" y="2558"/>
                  </a:lnTo>
                  <a:lnTo>
                    <a:pt x="1319" y="2548"/>
                  </a:lnTo>
                  <a:lnTo>
                    <a:pt x="1323" y="2522"/>
                  </a:lnTo>
                  <a:lnTo>
                    <a:pt x="1330" y="2497"/>
                  </a:lnTo>
                  <a:lnTo>
                    <a:pt x="1345" y="2469"/>
                  </a:lnTo>
                  <a:lnTo>
                    <a:pt x="1370" y="2417"/>
                  </a:lnTo>
                  <a:lnTo>
                    <a:pt x="1385" y="2389"/>
                  </a:lnTo>
                  <a:lnTo>
                    <a:pt x="1397" y="2367"/>
                  </a:lnTo>
                  <a:lnTo>
                    <a:pt x="1407" y="2349"/>
                  </a:lnTo>
                  <a:lnTo>
                    <a:pt x="1414" y="2341"/>
                  </a:lnTo>
                  <a:lnTo>
                    <a:pt x="1427" y="2333"/>
                  </a:lnTo>
                  <a:lnTo>
                    <a:pt x="1442" y="2324"/>
                  </a:lnTo>
                  <a:lnTo>
                    <a:pt x="1455" y="2313"/>
                  </a:lnTo>
                  <a:lnTo>
                    <a:pt x="1469" y="2301"/>
                  </a:lnTo>
                  <a:lnTo>
                    <a:pt x="1498" y="2275"/>
                  </a:lnTo>
                  <a:lnTo>
                    <a:pt x="1527" y="2249"/>
                  </a:lnTo>
                  <a:lnTo>
                    <a:pt x="1543" y="2236"/>
                  </a:lnTo>
                  <a:lnTo>
                    <a:pt x="1559" y="2224"/>
                  </a:lnTo>
                  <a:lnTo>
                    <a:pt x="1575" y="2213"/>
                  </a:lnTo>
                  <a:lnTo>
                    <a:pt x="1593" y="2204"/>
                  </a:lnTo>
                  <a:lnTo>
                    <a:pt x="1610" y="2196"/>
                  </a:lnTo>
                  <a:lnTo>
                    <a:pt x="1629" y="2189"/>
                  </a:lnTo>
                  <a:lnTo>
                    <a:pt x="1647" y="2185"/>
                  </a:lnTo>
                  <a:lnTo>
                    <a:pt x="1667" y="2184"/>
                  </a:lnTo>
                  <a:lnTo>
                    <a:pt x="1674" y="2184"/>
                  </a:lnTo>
                  <a:lnTo>
                    <a:pt x="1679" y="2187"/>
                  </a:lnTo>
                  <a:lnTo>
                    <a:pt x="1683" y="2188"/>
                  </a:lnTo>
                  <a:lnTo>
                    <a:pt x="1689" y="2191"/>
                  </a:lnTo>
                  <a:lnTo>
                    <a:pt x="1693" y="2192"/>
                  </a:lnTo>
                  <a:lnTo>
                    <a:pt x="1698" y="2195"/>
                  </a:lnTo>
                  <a:lnTo>
                    <a:pt x="1703" y="2196"/>
                  </a:lnTo>
                  <a:lnTo>
                    <a:pt x="1710" y="2196"/>
                  </a:lnTo>
                  <a:lnTo>
                    <a:pt x="1715" y="2196"/>
                  </a:lnTo>
                  <a:lnTo>
                    <a:pt x="1719" y="2193"/>
                  </a:lnTo>
                  <a:lnTo>
                    <a:pt x="1723" y="2191"/>
                  </a:lnTo>
                  <a:lnTo>
                    <a:pt x="1727" y="2185"/>
                  </a:lnTo>
                  <a:lnTo>
                    <a:pt x="1734" y="2175"/>
                  </a:lnTo>
                  <a:lnTo>
                    <a:pt x="1741" y="2163"/>
                  </a:lnTo>
                  <a:lnTo>
                    <a:pt x="1745" y="2157"/>
                  </a:lnTo>
                  <a:lnTo>
                    <a:pt x="1749" y="2151"/>
                  </a:lnTo>
                  <a:lnTo>
                    <a:pt x="1754" y="2145"/>
                  </a:lnTo>
                  <a:lnTo>
                    <a:pt x="1759" y="2140"/>
                  </a:lnTo>
                  <a:lnTo>
                    <a:pt x="1766" y="2136"/>
                  </a:lnTo>
                  <a:lnTo>
                    <a:pt x="1774" y="2133"/>
                  </a:lnTo>
                  <a:lnTo>
                    <a:pt x="1783" y="2131"/>
                  </a:lnTo>
                  <a:lnTo>
                    <a:pt x="1794" y="2129"/>
                  </a:lnTo>
                  <a:lnTo>
                    <a:pt x="1802" y="2131"/>
                  </a:lnTo>
                  <a:lnTo>
                    <a:pt x="1807" y="2133"/>
                  </a:lnTo>
                  <a:lnTo>
                    <a:pt x="1814" y="2137"/>
                  </a:lnTo>
                  <a:lnTo>
                    <a:pt x="1819" y="2143"/>
                  </a:lnTo>
                  <a:lnTo>
                    <a:pt x="1827" y="2155"/>
                  </a:lnTo>
                  <a:lnTo>
                    <a:pt x="1834" y="2169"/>
                  </a:lnTo>
                  <a:lnTo>
                    <a:pt x="1841" y="2184"/>
                  </a:lnTo>
                  <a:lnTo>
                    <a:pt x="1849" y="2196"/>
                  </a:lnTo>
                  <a:lnTo>
                    <a:pt x="1851" y="2201"/>
                  </a:lnTo>
                  <a:lnTo>
                    <a:pt x="1857" y="2205"/>
                  </a:lnTo>
                  <a:lnTo>
                    <a:pt x="1861" y="2208"/>
                  </a:lnTo>
                  <a:lnTo>
                    <a:pt x="1866" y="2208"/>
                  </a:lnTo>
                  <a:lnTo>
                    <a:pt x="1877" y="2207"/>
                  </a:lnTo>
                  <a:lnTo>
                    <a:pt x="1885" y="2204"/>
                  </a:lnTo>
                  <a:lnTo>
                    <a:pt x="1893" y="2200"/>
                  </a:lnTo>
                  <a:lnTo>
                    <a:pt x="1901" y="2196"/>
                  </a:lnTo>
                  <a:lnTo>
                    <a:pt x="1907" y="2192"/>
                  </a:lnTo>
                  <a:lnTo>
                    <a:pt x="1917" y="2188"/>
                  </a:lnTo>
                  <a:lnTo>
                    <a:pt x="1926" y="2185"/>
                  </a:lnTo>
                  <a:lnTo>
                    <a:pt x="1938" y="2184"/>
                  </a:lnTo>
                  <a:lnTo>
                    <a:pt x="1961" y="2185"/>
                  </a:lnTo>
                  <a:lnTo>
                    <a:pt x="1979" y="2189"/>
                  </a:lnTo>
                  <a:lnTo>
                    <a:pt x="1996" y="2193"/>
                  </a:lnTo>
                  <a:lnTo>
                    <a:pt x="2012" y="2199"/>
                  </a:lnTo>
                  <a:lnTo>
                    <a:pt x="2028" y="2205"/>
                  </a:lnTo>
                  <a:lnTo>
                    <a:pt x="2047" y="2209"/>
                  </a:lnTo>
                  <a:lnTo>
                    <a:pt x="2068" y="2213"/>
                  </a:lnTo>
                  <a:lnTo>
                    <a:pt x="2095" y="2215"/>
                  </a:lnTo>
                  <a:lnTo>
                    <a:pt x="2116" y="2217"/>
                  </a:lnTo>
                  <a:lnTo>
                    <a:pt x="2138" y="2223"/>
                  </a:lnTo>
                  <a:lnTo>
                    <a:pt x="2148" y="2225"/>
                  </a:lnTo>
                  <a:lnTo>
                    <a:pt x="2160" y="2224"/>
                  </a:lnTo>
                  <a:lnTo>
                    <a:pt x="2166" y="2223"/>
                  </a:lnTo>
                  <a:lnTo>
                    <a:pt x="2172" y="2221"/>
                  </a:lnTo>
                  <a:lnTo>
                    <a:pt x="2179" y="2219"/>
                  </a:lnTo>
                  <a:lnTo>
                    <a:pt x="2186" y="2215"/>
                  </a:lnTo>
                  <a:lnTo>
                    <a:pt x="2190" y="2211"/>
                  </a:lnTo>
                  <a:lnTo>
                    <a:pt x="2194" y="2205"/>
                  </a:lnTo>
                  <a:lnTo>
                    <a:pt x="2199" y="2199"/>
                  </a:lnTo>
                  <a:lnTo>
                    <a:pt x="2204" y="2191"/>
                  </a:lnTo>
                  <a:lnTo>
                    <a:pt x="2210" y="2184"/>
                  </a:lnTo>
                  <a:lnTo>
                    <a:pt x="2215" y="2177"/>
                  </a:lnTo>
                  <a:lnTo>
                    <a:pt x="2220" y="2173"/>
                  </a:lnTo>
                  <a:lnTo>
                    <a:pt x="2227" y="2172"/>
                  </a:lnTo>
                  <a:lnTo>
                    <a:pt x="2236" y="2173"/>
                  </a:lnTo>
                  <a:lnTo>
                    <a:pt x="2244" y="2176"/>
                  </a:lnTo>
                  <a:lnTo>
                    <a:pt x="2252" y="2180"/>
                  </a:lnTo>
                  <a:lnTo>
                    <a:pt x="2260" y="2184"/>
                  </a:lnTo>
                  <a:lnTo>
                    <a:pt x="2267" y="2188"/>
                  </a:lnTo>
                  <a:lnTo>
                    <a:pt x="2274" y="2192"/>
                  </a:lnTo>
                  <a:lnTo>
                    <a:pt x="2280" y="2195"/>
                  </a:lnTo>
                  <a:lnTo>
                    <a:pt x="2287" y="2196"/>
                  </a:lnTo>
                  <a:lnTo>
                    <a:pt x="2295" y="2196"/>
                  </a:lnTo>
                  <a:lnTo>
                    <a:pt x="2302" y="2193"/>
                  </a:lnTo>
                  <a:lnTo>
                    <a:pt x="2306" y="2191"/>
                  </a:lnTo>
                  <a:lnTo>
                    <a:pt x="2311" y="2188"/>
                  </a:lnTo>
                  <a:lnTo>
                    <a:pt x="2318" y="2179"/>
                  </a:lnTo>
                  <a:lnTo>
                    <a:pt x="2323" y="2167"/>
                  </a:lnTo>
                  <a:lnTo>
                    <a:pt x="2328" y="2155"/>
                  </a:lnTo>
                  <a:lnTo>
                    <a:pt x="2334" y="2143"/>
                  </a:lnTo>
                  <a:lnTo>
                    <a:pt x="2338" y="2137"/>
                  </a:lnTo>
                  <a:lnTo>
                    <a:pt x="2342" y="2132"/>
                  </a:lnTo>
                  <a:lnTo>
                    <a:pt x="2347" y="2128"/>
                  </a:lnTo>
                  <a:lnTo>
                    <a:pt x="2354" y="2124"/>
                  </a:lnTo>
                  <a:lnTo>
                    <a:pt x="2364" y="2119"/>
                  </a:lnTo>
                  <a:lnTo>
                    <a:pt x="2374" y="2112"/>
                  </a:lnTo>
                  <a:lnTo>
                    <a:pt x="2383" y="2104"/>
                  </a:lnTo>
                  <a:lnTo>
                    <a:pt x="2394" y="2096"/>
                  </a:lnTo>
                  <a:lnTo>
                    <a:pt x="2412" y="2076"/>
                  </a:lnTo>
                  <a:lnTo>
                    <a:pt x="2430" y="2056"/>
                  </a:lnTo>
                  <a:lnTo>
                    <a:pt x="2447" y="2036"/>
                  </a:lnTo>
                  <a:lnTo>
                    <a:pt x="2463" y="2019"/>
                  </a:lnTo>
                  <a:lnTo>
                    <a:pt x="2471" y="2012"/>
                  </a:lnTo>
                  <a:lnTo>
                    <a:pt x="2478" y="2005"/>
                  </a:lnTo>
                  <a:lnTo>
                    <a:pt x="2486" y="2000"/>
                  </a:lnTo>
                  <a:lnTo>
                    <a:pt x="2492" y="1997"/>
                  </a:lnTo>
                  <a:lnTo>
                    <a:pt x="2500" y="1995"/>
                  </a:lnTo>
                  <a:lnTo>
                    <a:pt x="2508" y="1993"/>
                  </a:lnTo>
                  <a:lnTo>
                    <a:pt x="2516" y="1992"/>
                  </a:lnTo>
                  <a:lnTo>
                    <a:pt x="2526" y="1992"/>
                  </a:lnTo>
                  <a:lnTo>
                    <a:pt x="2542" y="1992"/>
                  </a:lnTo>
                  <a:lnTo>
                    <a:pt x="2556" y="1992"/>
                  </a:lnTo>
                  <a:lnTo>
                    <a:pt x="2563" y="1992"/>
                  </a:lnTo>
                  <a:lnTo>
                    <a:pt x="2570" y="1991"/>
                  </a:lnTo>
                  <a:lnTo>
                    <a:pt x="2575" y="1988"/>
                  </a:lnTo>
                  <a:lnTo>
                    <a:pt x="2579" y="1985"/>
                  </a:lnTo>
                  <a:lnTo>
                    <a:pt x="2583" y="1980"/>
                  </a:lnTo>
                  <a:lnTo>
                    <a:pt x="2587" y="1973"/>
                  </a:lnTo>
                  <a:lnTo>
                    <a:pt x="2588" y="1965"/>
                  </a:lnTo>
                  <a:lnTo>
                    <a:pt x="2588" y="1955"/>
                  </a:lnTo>
                  <a:lnTo>
                    <a:pt x="2587" y="1944"/>
                  </a:lnTo>
                  <a:lnTo>
                    <a:pt x="2584" y="1935"/>
                  </a:lnTo>
                  <a:lnTo>
                    <a:pt x="2579" y="1925"/>
                  </a:lnTo>
                  <a:lnTo>
                    <a:pt x="2574" y="1916"/>
                  </a:lnTo>
                  <a:lnTo>
                    <a:pt x="2568" y="1907"/>
                  </a:lnTo>
                  <a:lnTo>
                    <a:pt x="2563" y="1897"/>
                  </a:lnTo>
                  <a:lnTo>
                    <a:pt x="2560" y="1888"/>
                  </a:lnTo>
                  <a:lnTo>
                    <a:pt x="2559" y="1877"/>
                  </a:lnTo>
                  <a:lnTo>
                    <a:pt x="2643" y="1660"/>
                  </a:lnTo>
                  <a:lnTo>
                    <a:pt x="2654" y="1652"/>
                  </a:lnTo>
                  <a:lnTo>
                    <a:pt x="2670" y="1643"/>
                  </a:lnTo>
                  <a:lnTo>
                    <a:pt x="2686" y="1635"/>
                  </a:lnTo>
                  <a:lnTo>
                    <a:pt x="2703" y="1626"/>
                  </a:lnTo>
                  <a:lnTo>
                    <a:pt x="2711" y="1620"/>
                  </a:lnTo>
                  <a:lnTo>
                    <a:pt x="2719" y="1615"/>
                  </a:lnTo>
                  <a:lnTo>
                    <a:pt x="2727" y="1608"/>
                  </a:lnTo>
                  <a:lnTo>
                    <a:pt x="2732" y="1602"/>
                  </a:lnTo>
                  <a:lnTo>
                    <a:pt x="2738" y="1594"/>
                  </a:lnTo>
                  <a:lnTo>
                    <a:pt x="2742" y="1584"/>
                  </a:lnTo>
                  <a:lnTo>
                    <a:pt x="2744" y="1575"/>
                  </a:lnTo>
                  <a:lnTo>
                    <a:pt x="2746" y="1564"/>
                  </a:lnTo>
                  <a:lnTo>
                    <a:pt x="2744" y="1555"/>
                  </a:lnTo>
                  <a:lnTo>
                    <a:pt x="2743" y="1548"/>
                  </a:lnTo>
                  <a:lnTo>
                    <a:pt x="2740" y="1540"/>
                  </a:lnTo>
                  <a:lnTo>
                    <a:pt x="2736" y="1535"/>
                  </a:lnTo>
                  <a:lnTo>
                    <a:pt x="2727" y="1524"/>
                  </a:lnTo>
                  <a:lnTo>
                    <a:pt x="2716" y="1516"/>
                  </a:lnTo>
                  <a:lnTo>
                    <a:pt x="2704" y="1508"/>
                  </a:lnTo>
                  <a:lnTo>
                    <a:pt x="2692" y="1502"/>
                  </a:lnTo>
                  <a:lnTo>
                    <a:pt x="2682" y="1494"/>
                  </a:lnTo>
                  <a:lnTo>
                    <a:pt x="2674" y="1486"/>
                  </a:lnTo>
                  <a:lnTo>
                    <a:pt x="2668" y="1476"/>
                  </a:lnTo>
                  <a:lnTo>
                    <a:pt x="2664" y="1467"/>
                  </a:lnTo>
                  <a:lnTo>
                    <a:pt x="2662" y="1458"/>
                  </a:lnTo>
                  <a:lnTo>
                    <a:pt x="2659" y="1448"/>
                  </a:lnTo>
                  <a:lnTo>
                    <a:pt x="2656" y="1428"/>
                  </a:lnTo>
                  <a:lnTo>
                    <a:pt x="2654" y="1408"/>
                  </a:lnTo>
                  <a:lnTo>
                    <a:pt x="2652" y="1388"/>
                  </a:lnTo>
                  <a:lnTo>
                    <a:pt x="2648" y="1370"/>
                  </a:lnTo>
                  <a:lnTo>
                    <a:pt x="2646" y="1360"/>
                  </a:lnTo>
                  <a:lnTo>
                    <a:pt x="2642" y="1351"/>
                  </a:lnTo>
                  <a:lnTo>
                    <a:pt x="2638" y="1343"/>
                  </a:lnTo>
                  <a:lnTo>
                    <a:pt x="2631" y="1335"/>
                  </a:lnTo>
                  <a:lnTo>
                    <a:pt x="2622" y="1324"/>
                  </a:lnTo>
                  <a:lnTo>
                    <a:pt x="2612" y="1315"/>
                  </a:lnTo>
                  <a:lnTo>
                    <a:pt x="2603" y="1306"/>
                  </a:lnTo>
                  <a:lnTo>
                    <a:pt x="2594" y="1298"/>
                  </a:lnTo>
                  <a:lnTo>
                    <a:pt x="2574" y="1282"/>
                  </a:lnTo>
                  <a:lnTo>
                    <a:pt x="2554" y="1267"/>
                  </a:lnTo>
                  <a:lnTo>
                    <a:pt x="2535" y="1253"/>
                  </a:lnTo>
                  <a:lnTo>
                    <a:pt x="2518" y="1235"/>
                  </a:lnTo>
                  <a:lnTo>
                    <a:pt x="2508" y="1226"/>
                  </a:lnTo>
                  <a:lnTo>
                    <a:pt x="2500" y="1215"/>
                  </a:lnTo>
                  <a:lnTo>
                    <a:pt x="2494" y="1203"/>
                  </a:lnTo>
                  <a:lnTo>
                    <a:pt x="2487" y="1191"/>
                  </a:lnTo>
                  <a:lnTo>
                    <a:pt x="2480" y="1179"/>
                  </a:lnTo>
                  <a:lnTo>
                    <a:pt x="2475" y="1169"/>
                  </a:lnTo>
                  <a:lnTo>
                    <a:pt x="2472" y="1159"/>
                  </a:lnTo>
                  <a:lnTo>
                    <a:pt x="2470" y="1150"/>
                  </a:lnTo>
                  <a:lnTo>
                    <a:pt x="2464" y="1133"/>
                  </a:lnTo>
                  <a:lnTo>
                    <a:pt x="2460" y="1117"/>
                  </a:lnTo>
                  <a:lnTo>
                    <a:pt x="2458" y="1110"/>
                  </a:lnTo>
                  <a:lnTo>
                    <a:pt x="2455" y="1103"/>
                  </a:lnTo>
                  <a:lnTo>
                    <a:pt x="2451" y="1097"/>
                  </a:lnTo>
                  <a:lnTo>
                    <a:pt x="2446" y="1091"/>
                  </a:lnTo>
                  <a:lnTo>
                    <a:pt x="2439" y="1085"/>
                  </a:lnTo>
                  <a:lnTo>
                    <a:pt x="2431" y="1079"/>
                  </a:lnTo>
                  <a:lnTo>
                    <a:pt x="2420" y="1075"/>
                  </a:lnTo>
                  <a:lnTo>
                    <a:pt x="2408" y="1070"/>
                  </a:lnTo>
                  <a:lnTo>
                    <a:pt x="2418" y="1043"/>
                  </a:lnTo>
                  <a:lnTo>
                    <a:pt x="2427" y="1022"/>
                  </a:lnTo>
                  <a:lnTo>
                    <a:pt x="2432" y="1013"/>
                  </a:lnTo>
                  <a:lnTo>
                    <a:pt x="2435" y="1003"/>
                  </a:lnTo>
                  <a:lnTo>
                    <a:pt x="2438" y="995"/>
                  </a:lnTo>
                  <a:lnTo>
                    <a:pt x="2438" y="986"/>
                  </a:lnTo>
                  <a:lnTo>
                    <a:pt x="2440" y="974"/>
                  </a:lnTo>
                  <a:lnTo>
                    <a:pt x="2444" y="961"/>
                  </a:lnTo>
                  <a:lnTo>
                    <a:pt x="2447" y="953"/>
                  </a:lnTo>
                  <a:lnTo>
                    <a:pt x="2448" y="943"/>
                  </a:lnTo>
                  <a:lnTo>
                    <a:pt x="2450" y="930"/>
                  </a:lnTo>
                  <a:lnTo>
                    <a:pt x="2450" y="914"/>
                  </a:lnTo>
                  <a:lnTo>
                    <a:pt x="2432" y="914"/>
                  </a:lnTo>
                  <a:lnTo>
                    <a:pt x="2423" y="909"/>
                  </a:lnTo>
                  <a:lnTo>
                    <a:pt x="2414" y="903"/>
                  </a:lnTo>
                  <a:lnTo>
                    <a:pt x="2403" y="898"/>
                  </a:lnTo>
                  <a:lnTo>
                    <a:pt x="2390" y="890"/>
                  </a:lnTo>
                  <a:lnTo>
                    <a:pt x="2374" y="895"/>
                  </a:lnTo>
                  <a:lnTo>
                    <a:pt x="2360" y="899"/>
                  </a:lnTo>
                  <a:lnTo>
                    <a:pt x="2350" y="905"/>
                  </a:lnTo>
                  <a:lnTo>
                    <a:pt x="2340" y="910"/>
                  </a:lnTo>
                  <a:lnTo>
                    <a:pt x="2332" y="915"/>
                  </a:lnTo>
                  <a:lnTo>
                    <a:pt x="2327" y="919"/>
                  </a:lnTo>
                  <a:lnTo>
                    <a:pt x="2323" y="925"/>
                  </a:lnTo>
                  <a:lnTo>
                    <a:pt x="2320" y="930"/>
                  </a:lnTo>
                  <a:lnTo>
                    <a:pt x="2319" y="935"/>
                  </a:lnTo>
                  <a:lnTo>
                    <a:pt x="2319" y="939"/>
                  </a:lnTo>
                  <a:lnTo>
                    <a:pt x="2320" y="945"/>
                  </a:lnTo>
                  <a:lnTo>
                    <a:pt x="2323" y="950"/>
                  </a:lnTo>
                  <a:lnTo>
                    <a:pt x="2330" y="959"/>
                  </a:lnTo>
                  <a:lnTo>
                    <a:pt x="2339" y="969"/>
                  </a:lnTo>
                  <a:lnTo>
                    <a:pt x="2360" y="987"/>
                  </a:lnTo>
                  <a:lnTo>
                    <a:pt x="2380" y="1003"/>
                  </a:lnTo>
                  <a:lnTo>
                    <a:pt x="2383" y="1009"/>
                  </a:lnTo>
                  <a:lnTo>
                    <a:pt x="2386" y="1013"/>
                  </a:lnTo>
                  <a:lnTo>
                    <a:pt x="2387" y="1015"/>
                  </a:lnTo>
                  <a:lnTo>
                    <a:pt x="2388" y="1019"/>
                  </a:lnTo>
                  <a:lnTo>
                    <a:pt x="2388" y="1023"/>
                  </a:lnTo>
                  <a:lnTo>
                    <a:pt x="2386" y="1027"/>
                  </a:lnTo>
                  <a:lnTo>
                    <a:pt x="2383" y="1031"/>
                  </a:lnTo>
                  <a:lnTo>
                    <a:pt x="2378" y="1034"/>
                  </a:lnTo>
                  <a:lnTo>
                    <a:pt x="2372" y="1046"/>
                  </a:lnTo>
                  <a:lnTo>
                    <a:pt x="2366" y="1058"/>
                  </a:lnTo>
                  <a:lnTo>
                    <a:pt x="2359" y="1069"/>
                  </a:lnTo>
                  <a:lnTo>
                    <a:pt x="2351" y="1079"/>
                  </a:lnTo>
                  <a:lnTo>
                    <a:pt x="2336" y="1098"/>
                  </a:lnTo>
                  <a:lnTo>
                    <a:pt x="2319" y="1115"/>
                  </a:lnTo>
                  <a:lnTo>
                    <a:pt x="2300" y="1130"/>
                  </a:lnTo>
                  <a:lnTo>
                    <a:pt x="2282" y="1143"/>
                  </a:lnTo>
                  <a:lnTo>
                    <a:pt x="2263" y="1157"/>
                  </a:lnTo>
                  <a:lnTo>
                    <a:pt x="2243" y="1169"/>
                  </a:lnTo>
                  <a:lnTo>
                    <a:pt x="2204" y="1190"/>
                  </a:lnTo>
                  <a:lnTo>
                    <a:pt x="2168" y="1210"/>
                  </a:lnTo>
                  <a:lnTo>
                    <a:pt x="2152" y="1221"/>
                  </a:lnTo>
                  <a:lnTo>
                    <a:pt x="2138" y="1233"/>
                  </a:lnTo>
                  <a:lnTo>
                    <a:pt x="2124" y="1245"/>
                  </a:lnTo>
                  <a:lnTo>
                    <a:pt x="2112" y="1257"/>
                  </a:lnTo>
                  <a:lnTo>
                    <a:pt x="2114" y="1243"/>
                  </a:lnTo>
                  <a:lnTo>
                    <a:pt x="2116" y="1227"/>
                  </a:lnTo>
                  <a:lnTo>
                    <a:pt x="2120" y="1211"/>
                  </a:lnTo>
                  <a:lnTo>
                    <a:pt x="2127" y="1194"/>
                  </a:lnTo>
                  <a:lnTo>
                    <a:pt x="2135" y="1177"/>
                  </a:lnTo>
                  <a:lnTo>
                    <a:pt x="2144" y="1157"/>
                  </a:lnTo>
                  <a:lnTo>
                    <a:pt x="2155" y="1137"/>
                  </a:lnTo>
                  <a:lnTo>
                    <a:pt x="2167" y="1117"/>
                  </a:lnTo>
                  <a:lnTo>
                    <a:pt x="2224" y="1026"/>
                  </a:lnTo>
                  <a:lnTo>
                    <a:pt x="2291" y="926"/>
                  </a:lnTo>
                  <a:lnTo>
                    <a:pt x="2326" y="873"/>
                  </a:lnTo>
                  <a:lnTo>
                    <a:pt x="2359" y="819"/>
                  </a:lnTo>
                  <a:lnTo>
                    <a:pt x="2374" y="791"/>
                  </a:lnTo>
                  <a:lnTo>
                    <a:pt x="2390" y="763"/>
                  </a:lnTo>
                  <a:lnTo>
                    <a:pt x="2403" y="737"/>
                  </a:lnTo>
                  <a:lnTo>
                    <a:pt x="2416" y="709"/>
                  </a:lnTo>
                  <a:lnTo>
                    <a:pt x="2430" y="681"/>
                  </a:lnTo>
                  <a:lnTo>
                    <a:pt x="2440" y="653"/>
                  </a:lnTo>
                  <a:lnTo>
                    <a:pt x="2450" y="625"/>
                  </a:lnTo>
                  <a:lnTo>
                    <a:pt x="2459" y="597"/>
                  </a:lnTo>
                  <a:lnTo>
                    <a:pt x="2466" y="569"/>
                  </a:lnTo>
                  <a:lnTo>
                    <a:pt x="2470" y="541"/>
                  </a:lnTo>
                  <a:lnTo>
                    <a:pt x="2474" y="513"/>
                  </a:lnTo>
                  <a:lnTo>
                    <a:pt x="2474" y="486"/>
                  </a:lnTo>
                  <a:lnTo>
                    <a:pt x="2474" y="476"/>
                  </a:lnTo>
                  <a:lnTo>
                    <a:pt x="2472" y="465"/>
                  </a:lnTo>
                  <a:lnTo>
                    <a:pt x="2470" y="454"/>
                  </a:lnTo>
                  <a:lnTo>
                    <a:pt x="2466" y="442"/>
                  </a:lnTo>
                  <a:lnTo>
                    <a:pt x="2456" y="418"/>
                  </a:lnTo>
                  <a:lnTo>
                    <a:pt x="2444" y="393"/>
                  </a:lnTo>
                  <a:lnTo>
                    <a:pt x="2430" y="368"/>
                  </a:lnTo>
                  <a:lnTo>
                    <a:pt x="2412" y="341"/>
                  </a:lnTo>
                  <a:lnTo>
                    <a:pt x="2392" y="316"/>
                  </a:lnTo>
                  <a:lnTo>
                    <a:pt x="2371" y="292"/>
                  </a:lnTo>
                  <a:lnTo>
                    <a:pt x="2348" y="269"/>
                  </a:lnTo>
                  <a:lnTo>
                    <a:pt x="2326" y="248"/>
                  </a:lnTo>
                  <a:lnTo>
                    <a:pt x="2302" y="229"/>
                  </a:lnTo>
                  <a:lnTo>
                    <a:pt x="2279" y="212"/>
                  </a:lnTo>
                  <a:lnTo>
                    <a:pt x="2267" y="205"/>
                  </a:lnTo>
                  <a:lnTo>
                    <a:pt x="2255" y="198"/>
                  </a:lnTo>
                  <a:lnTo>
                    <a:pt x="2244" y="193"/>
                  </a:lnTo>
                  <a:lnTo>
                    <a:pt x="2232" y="188"/>
                  </a:lnTo>
                  <a:lnTo>
                    <a:pt x="2222" y="184"/>
                  </a:lnTo>
                  <a:lnTo>
                    <a:pt x="2211" y="181"/>
                  </a:lnTo>
                  <a:lnTo>
                    <a:pt x="2200" y="180"/>
                  </a:lnTo>
                  <a:lnTo>
                    <a:pt x="2191" y="180"/>
                  </a:lnTo>
                  <a:lnTo>
                    <a:pt x="2159" y="180"/>
                  </a:lnTo>
                  <a:lnTo>
                    <a:pt x="2119" y="182"/>
                  </a:lnTo>
                  <a:lnTo>
                    <a:pt x="2099" y="185"/>
                  </a:lnTo>
                  <a:lnTo>
                    <a:pt x="2079" y="189"/>
                  </a:lnTo>
                  <a:lnTo>
                    <a:pt x="2070" y="192"/>
                  </a:lnTo>
                  <a:lnTo>
                    <a:pt x="2062" y="196"/>
                  </a:lnTo>
                  <a:lnTo>
                    <a:pt x="2054" y="198"/>
                  </a:lnTo>
                  <a:lnTo>
                    <a:pt x="2047" y="204"/>
                  </a:lnTo>
                  <a:lnTo>
                    <a:pt x="2044" y="222"/>
                  </a:lnTo>
                  <a:lnTo>
                    <a:pt x="2040" y="238"/>
                  </a:lnTo>
                  <a:lnTo>
                    <a:pt x="2036" y="252"/>
                  </a:lnTo>
                  <a:lnTo>
                    <a:pt x="2031" y="264"/>
                  </a:lnTo>
                  <a:lnTo>
                    <a:pt x="2024" y="272"/>
                  </a:lnTo>
                  <a:lnTo>
                    <a:pt x="2019" y="280"/>
                  </a:lnTo>
                  <a:lnTo>
                    <a:pt x="2011" y="285"/>
                  </a:lnTo>
                  <a:lnTo>
                    <a:pt x="2004" y="289"/>
                  </a:lnTo>
                  <a:lnTo>
                    <a:pt x="1996" y="292"/>
                  </a:lnTo>
                  <a:lnTo>
                    <a:pt x="1990" y="293"/>
                  </a:lnTo>
                  <a:lnTo>
                    <a:pt x="1982" y="294"/>
                  </a:lnTo>
                  <a:lnTo>
                    <a:pt x="1974" y="294"/>
                  </a:lnTo>
                  <a:lnTo>
                    <a:pt x="1959" y="294"/>
                  </a:lnTo>
                  <a:lnTo>
                    <a:pt x="1945" y="293"/>
                  </a:lnTo>
                  <a:lnTo>
                    <a:pt x="1942" y="293"/>
                  </a:lnTo>
                  <a:lnTo>
                    <a:pt x="1941" y="292"/>
                  </a:lnTo>
                  <a:lnTo>
                    <a:pt x="1941" y="289"/>
                  </a:lnTo>
                  <a:lnTo>
                    <a:pt x="1941" y="285"/>
                  </a:lnTo>
                  <a:lnTo>
                    <a:pt x="1946" y="276"/>
                  </a:lnTo>
                  <a:lnTo>
                    <a:pt x="1953" y="264"/>
                  </a:lnTo>
                  <a:lnTo>
                    <a:pt x="1961" y="249"/>
                  </a:lnTo>
                  <a:lnTo>
                    <a:pt x="1969" y="233"/>
                  </a:lnTo>
                  <a:lnTo>
                    <a:pt x="1975" y="217"/>
                  </a:lnTo>
                  <a:lnTo>
                    <a:pt x="1979" y="201"/>
                  </a:lnTo>
                  <a:lnTo>
                    <a:pt x="1981" y="193"/>
                  </a:lnTo>
                  <a:lnTo>
                    <a:pt x="1981" y="185"/>
                  </a:lnTo>
                  <a:lnTo>
                    <a:pt x="1979" y="178"/>
                  </a:lnTo>
                  <a:lnTo>
                    <a:pt x="1978" y="170"/>
                  </a:lnTo>
                  <a:lnTo>
                    <a:pt x="1974" y="165"/>
                  </a:lnTo>
                  <a:lnTo>
                    <a:pt x="1969" y="158"/>
                  </a:lnTo>
                  <a:lnTo>
                    <a:pt x="1961" y="153"/>
                  </a:lnTo>
                  <a:lnTo>
                    <a:pt x="1953" y="149"/>
                  </a:lnTo>
                  <a:lnTo>
                    <a:pt x="1941" y="145"/>
                  </a:lnTo>
                  <a:lnTo>
                    <a:pt x="1927" y="142"/>
                  </a:lnTo>
                  <a:lnTo>
                    <a:pt x="1913" y="141"/>
                  </a:lnTo>
                  <a:lnTo>
                    <a:pt x="1894" y="140"/>
                  </a:lnTo>
                  <a:lnTo>
                    <a:pt x="1873" y="140"/>
                  </a:lnTo>
                  <a:lnTo>
                    <a:pt x="1850" y="141"/>
                  </a:lnTo>
                  <a:lnTo>
                    <a:pt x="1823" y="145"/>
                  </a:lnTo>
                  <a:lnTo>
                    <a:pt x="1794" y="149"/>
                  </a:lnTo>
                  <a:lnTo>
                    <a:pt x="1791" y="146"/>
                  </a:lnTo>
                  <a:lnTo>
                    <a:pt x="1790" y="145"/>
                  </a:lnTo>
                  <a:lnTo>
                    <a:pt x="1789" y="142"/>
                  </a:lnTo>
                  <a:lnTo>
                    <a:pt x="1789" y="140"/>
                  </a:lnTo>
                  <a:lnTo>
                    <a:pt x="1793" y="136"/>
                  </a:lnTo>
                  <a:lnTo>
                    <a:pt x="1799" y="132"/>
                  </a:lnTo>
                  <a:lnTo>
                    <a:pt x="1817" y="122"/>
                  </a:lnTo>
                  <a:lnTo>
                    <a:pt x="1838" y="111"/>
                  </a:lnTo>
                  <a:lnTo>
                    <a:pt x="1847" y="104"/>
                  </a:lnTo>
                  <a:lnTo>
                    <a:pt x="1855" y="96"/>
                  </a:lnTo>
                  <a:lnTo>
                    <a:pt x="1859" y="92"/>
                  </a:lnTo>
                  <a:lnTo>
                    <a:pt x="1862" y="87"/>
                  </a:lnTo>
                  <a:lnTo>
                    <a:pt x="1863" y="83"/>
                  </a:lnTo>
                  <a:lnTo>
                    <a:pt x="1865" y="77"/>
                  </a:lnTo>
                  <a:lnTo>
                    <a:pt x="1866" y="72"/>
                  </a:lnTo>
                  <a:lnTo>
                    <a:pt x="1865" y="65"/>
                  </a:lnTo>
                  <a:lnTo>
                    <a:pt x="1863" y="60"/>
                  </a:lnTo>
                  <a:lnTo>
                    <a:pt x="1861" y="53"/>
                  </a:lnTo>
                  <a:lnTo>
                    <a:pt x="1857" y="47"/>
                  </a:lnTo>
                  <a:lnTo>
                    <a:pt x="1851" y="39"/>
                  </a:lnTo>
                  <a:lnTo>
                    <a:pt x="1845" y="31"/>
                  </a:lnTo>
                  <a:lnTo>
                    <a:pt x="1837" y="23"/>
                  </a:lnTo>
                  <a:lnTo>
                    <a:pt x="1822" y="16"/>
                  </a:lnTo>
                  <a:lnTo>
                    <a:pt x="1809" y="12"/>
                  </a:lnTo>
                  <a:lnTo>
                    <a:pt x="1795" y="8"/>
                  </a:lnTo>
                  <a:lnTo>
                    <a:pt x="1783" y="4"/>
                  </a:lnTo>
                  <a:lnTo>
                    <a:pt x="1771" y="3"/>
                  </a:lnTo>
                  <a:lnTo>
                    <a:pt x="1761" y="1"/>
                  </a:lnTo>
                  <a:lnTo>
                    <a:pt x="1751" y="0"/>
                  </a:lnTo>
                  <a:lnTo>
                    <a:pt x="1743" y="1"/>
                  </a:lnTo>
                  <a:lnTo>
                    <a:pt x="1734" y="3"/>
                  </a:lnTo>
                  <a:lnTo>
                    <a:pt x="1727" y="4"/>
                  </a:lnTo>
                  <a:lnTo>
                    <a:pt x="1721" y="7"/>
                  </a:lnTo>
                  <a:lnTo>
                    <a:pt x="1715" y="11"/>
                  </a:lnTo>
                  <a:lnTo>
                    <a:pt x="1711" y="13"/>
                  </a:lnTo>
                  <a:lnTo>
                    <a:pt x="1707" y="19"/>
                  </a:lnTo>
                  <a:lnTo>
                    <a:pt x="1705" y="24"/>
                  </a:lnTo>
                  <a:lnTo>
                    <a:pt x="1703" y="29"/>
                  </a:lnTo>
                  <a:lnTo>
                    <a:pt x="1697" y="36"/>
                  </a:lnTo>
                  <a:lnTo>
                    <a:pt x="1690" y="45"/>
                  </a:lnTo>
                  <a:lnTo>
                    <a:pt x="1683" y="55"/>
                  </a:lnTo>
                  <a:lnTo>
                    <a:pt x="1677" y="65"/>
                  </a:lnTo>
                  <a:lnTo>
                    <a:pt x="1665" y="89"/>
                  </a:lnTo>
                  <a:lnTo>
                    <a:pt x="1651" y="115"/>
                  </a:lnTo>
                  <a:lnTo>
                    <a:pt x="1638" y="141"/>
                  </a:lnTo>
                  <a:lnTo>
                    <a:pt x="1625" y="166"/>
                  </a:lnTo>
                  <a:lnTo>
                    <a:pt x="1610" y="189"/>
                  </a:lnTo>
                  <a:lnTo>
                    <a:pt x="1595" y="209"/>
                  </a:lnTo>
                  <a:lnTo>
                    <a:pt x="1591" y="214"/>
                  </a:lnTo>
                  <a:lnTo>
                    <a:pt x="1589" y="220"/>
                  </a:lnTo>
                  <a:lnTo>
                    <a:pt x="1587" y="225"/>
                  </a:lnTo>
                  <a:lnTo>
                    <a:pt x="1586" y="230"/>
                  </a:lnTo>
                  <a:lnTo>
                    <a:pt x="1586" y="241"/>
                  </a:lnTo>
                  <a:lnTo>
                    <a:pt x="1589" y="253"/>
                  </a:lnTo>
                  <a:lnTo>
                    <a:pt x="1597" y="276"/>
                  </a:lnTo>
                  <a:lnTo>
                    <a:pt x="1606" y="300"/>
                  </a:lnTo>
                  <a:lnTo>
                    <a:pt x="1609" y="312"/>
                  </a:lnTo>
                  <a:lnTo>
                    <a:pt x="1611" y="324"/>
                  </a:lnTo>
                  <a:lnTo>
                    <a:pt x="1611" y="329"/>
                  </a:lnTo>
                  <a:lnTo>
                    <a:pt x="1610" y="334"/>
                  </a:lnTo>
                  <a:lnTo>
                    <a:pt x="1609" y="341"/>
                  </a:lnTo>
                  <a:lnTo>
                    <a:pt x="1607" y="346"/>
                  </a:lnTo>
                  <a:lnTo>
                    <a:pt x="1605" y="352"/>
                  </a:lnTo>
                  <a:lnTo>
                    <a:pt x="1601" y="358"/>
                  </a:lnTo>
                  <a:lnTo>
                    <a:pt x="1595" y="364"/>
                  </a:lnTo>
                  <a:lnTo>
                    <a:pt x="1590" y="369"/>
                  </a:lnTo>
                  <a:lnTo>
                    <a:pt x="1582" y="374"/>
                  </a:lnTo>
                  <a:lnTo>
                    <a:pt x="1574" y="380"/>
                  </a:lnTo>
                  <a:lnTo>
                    <a:pt x="1565" y="385"/>
                  </a:lnTo>
                  <a:lnTo>
                    <a:pt x="1553" y="390"/>
                  </a:lnTo>
                  <a:lnTo>
                    <a:pt x="1546" y="388"/>
                  </a:lnTo>
                  <a:lnTo>
                    <a:pt x="1529" y="384"/>
                  </a:lnTo>
                  <a:lnTo>
                    <a:pt x="1518" y="382"/>
                  </a:lnTo>
                  <a:lnTo>
                    <a:pt x="1506" y="381"/>
                  </a:lnTo>
                  <a:lnTo>
                    <a:pt x="1495" y="381"/>
                  </a:lnTo>
                  <a:lnTo>
                    <a:pt x="1486" y="381"/>
                  </a:lnTo>
                  <a:lnTo>
                    <a:pt x="1482" y="382"/>
                  </a:lnTo>
                  <a:lnTo>
                    <a:pt x="1478" y="385"/>
                  </a:lnTo>
                  <a:lnTo>
                    <a:pt x="1475" y="386"/>
                  </a:lnTo>
                  <a:lnTo>
                    <a:pt x="1473" y="389"/>
                  </a:lnTo>
                  <a:lnTo>
                    <a:pt x="1471" y="393"/>
                  </a:lnTo>
                  <a:lnTo>
                    <a:pt x="1471" y="397"/>
                  </a:lnTo>
                  <a:lnTo>
                    <a:pt x="1473" y="402"/>
                  </a:lnTo>
                  <a:lnTo>
                    <a:pt x="1474" y="408"/>
                  </a:lnTo>
                  <a:lnTo>
                    <a:pt x="1477" y="414"/>
                  </a:lnTo>
                  <a:lnTo>
                    <a:pt x="1482" y="421"/>
                  </a:lnTo>
                  <a:lnTo>
                    <a:pt x="1487" y="430"/>
                  </a:lnTo>
                  <a:lnTo>
                    <a:pt x="1495" y="438"/>
                  </a:lnTo>
                  <a:lnTo>
                    <a:pt x="1514" y="461"/>
                  </a:lnTo>
                  <a:lnTo>
                    <a:pt x="1541" y="486"/>
                  </a:lnTo>
                  <a:lnTo>
                    <a:pt x="1519" y="477"/>
                  </a:lnTo>
                  <a:lnTo>
                    <a:pt x="1502" y="470"/>
                  </a:lnTo>
                  <a:lnTo>
                    <a:pt x="1487" y="468"/>
                  </a:lnTo>
                  <a:lnTo>
                    <a:pt x="1478" y="466"/>
                  </a:lnTo>
                  <a:lnTo>
                    <a:pt x="1463" y="466"/>
                  </a:lnTo>
                  <a:lnTo>
                    <a:pt x="1450" y="468"/>
                  </a:lnTo>
                  <a:lnTo>
                    <a:pt x="1437" y="484"/>
                  </a:lnTo>
                  <a:lnTo>
                    <a:pt x="1407" y="516"/>
                  </a:lnTo>
                  <a:lnTo>
                    <a:pt x="1391" y="533"/>
                  </a:lnTo>
                  <a:lnTo>
                    <a:pt x="1374" y="548"/>
                  </a:lnTo>
                  <a:lnTo>
                    <a:pt x="1365" y="553"/>
                  </a:lnTo>
                  <a:lnTo>
                    <a:pt x="1357" y="557"/>
                  </a:lnTo>
                  <a:lnTo>
                    <a:pt x="1349" y="558"/>
                  </a:lnTo>
                  <a:lnTo>
                    <a:pt x="1342" y="558"/>
                  </a:lnTo>
                  <a:lnTo>
                    <a:pt x="1339" y="558"/>
                  </a:lnTo>
                  <a:lnTo>
                    <a:pt x="1337" y="557"/>
                  </a:lnTo>
                  <a:lnTo>
                    <a:pt x="1335" y="554"/>
                  </a:lnTo>
                  <a:lnTo>
                    <a:pt x="1334" y="553"/>
                  </a:lnTo>
                  <a:lnTo>
                    <a:pt x="1334" y="546"/>
                  </a:lnTo>
                  <a:lnTo>
                    <a:pt x="1335" y="540"/>
                  </a:lnTo>
                  <a:lnTo>
                    <a:pt x="1342" y="524"/>
                  </a:lnTo>
                  <a:lnTo>
                    <a:pt x="1350" y="505"/>
                  </a:lnTo>
                  <a:lnTo>
                    <a:pt x="1354" y="496"/>
                  </a:lnTo>
                  <a:lnTo>
                    <a:pt x="1358" y="488"/>
                  </a:lnTo>
                  <a:lnTo>
                    <a:pt x="1359" y="478"/>
                  </a:lnTo>
                  <a:lnTo>
                    <a:pt x="1359" y="472"/>
                  </a:lnTo>
                  <a:lnTo>
                    <a:pt x="1359" y="468"/>
                  </a:lnTo>
                  <a:lnTo>
                    <a:pt x="1358" y="465"/>
                  </a:lnTo>
                  <a:lnTo>
                    <a:pt x="1357" y="462"/>
                  </a:lnTo>
                  <a:lnTo>
                    <a:pt x="1354" y="461"/>
                  </a:lnTo>
                  <a:lnTo>
                    <a:pt x="1351" y="458"/>
                  </a:lnTo>
                  <a:lnTo>
                    <a:pt x="1347" y="457"/>
                  </a:lnTo>
                  <a:lnTo>
                    <a:pt x="1342" y="457"/>
                  </a:lnTo>
                  <a:lnTo>
                    <a:pt x="1337" y="456"/>
                  </a:lnTo>
                  <a:lnTo>
                    <a:pt x="1322" y="468"/>
                  </a:lnTo>
                  <a:lnTo>
                    <a:pt x="1309" y="477"/>
                  </a:lnTo>
                  <a:lnTo>
                    <a:pt x="1295" y="486"/>
                  </a:lnTo>
                  <a:lnTo>
                    <a:pt x="1282" y="493"/>
                  </a:lnTo>
                  <a:lnTo>
                    <a:pt x="1270" y="498"/>
                  </a:lnTo>
                  <a:lnTo>
                    <a:pt x="1259" y="504"/>
                  </a:lnTo>
                  <a:lnTo>
                    <a:pt x="1249" y="506"/>
                  </a:lnTo>
                  <a:lnTo>
                    <a:pt x="1238" y="509"/>
                  </a:lnTo>
                  <a:lnTo>
                    <a:pt x="1198" y="517"/>
                  </a:lnTo>
                  <a:lnTo>
                    <a:pt x="1162" y="522"/>
                  </a:lnTo>
                  <a:lnTo>
                    <a:pt x="1142" y="524"/>
                  </a:lnTo>
                  <a:lnTo>
                    <a:pt x="1128" y="525"/>
                  </a:lnTo>
                  <a:lnTo>
                    <a:pt x="1118" y="528"/>
                  </a:lnTo>
                  <a:lnTo>
                    <a:pt x="1112" y="532"/>
                  </a:lnTo>
                  <a:lnTo>
                    <a:pt x="1110" y="533"/>
                  </a:lnTo>
                  <a:lnTo>
                    <a:pt x="1110" y="536"/>
                  </a:lnTo>
                  <a:lnTo>
                    <a:pt x="1110" y="538"/>
                  </a:lnTo>
                  <a:lnTo>
                    <a:pt x="1110" y="541"/>
                  </a:lnTo>
                  <a:lnTo>
                    <a:pt x="1113" y="548"/>
                  </a:lnTo>
                  <a:lnTo>
                    <a:pt x="1117" y="553"/>
                  </a:lnTo>
                  <a:lnTo>
                    <a:pt x="1128" y="566"/>
                  </a:lnTo>
                  <a:lnTo>
                    <a:pt x="1137" y="581"/>
                  </a:lnTo>
                  <a:lnTo>
                    <a:pt x="1140" y="588"/>
                  </a:lnTo>
                  <a:lnTo>
                    <a:pt x="1140" y="594"/>
                  </a:lnTo>
                  <a:lnTo>
                    <a:pt x="1140" y="598"/>
                  </a:lnTo>
                  <a:lnTo>
                    <a:pt x="1137" y="601"/>
                  </a:lnTo>
                  <a:lnTo>
                    <a:pt x="1136" y="604"/>
                  </a:lnTo>
                  <a:lnTo>
                    <a:pt x="1132" y="606"/>
                  </a:lnTo>
                  <a:lnTo>
                    <a:pt x="1125" y="612"/>
                  </a:lnTo>
                  <a:lnTo>
                    <a:pt x="1117" y="616"/>
                  </a:lnTo>
                  <a:lnTo>
                    <a:pt x="1106" y="618"/>
                  </a:lnTo>
                  <a:lnTo>
                    <a:pt x="1096" y="622"/>
                  </a:lnTo>
                  <a:lnTo>
                    <a:pt x="1069" y="629"/>
                  </a:lnTo>
                  <a:lnTo>
                    <a:pt x="1041" y="637"/>
                  </a:lnTo>
                  <a:lnTo>
                    <a:pt x="1010" y="645"/>
                  </a:lnTo>
                  <a:lnTo>
                    <a:pt x="980" y="656"/>
                  </a:lnTo>
                  <a:lnTo>
                    <a:pt x="965" y="662"/>
                  </a:lnTo>
                  <a:lnTo>
                    <a:pt x="952" y="669"/>
                  </a:lnTo>
                  <a:lnTo>
                    <a:pt x="938" y="677"/>
                  </a:lnTo>
                  <a:lnTo>
                    <a:pt x="926" y="685"/>
                  </a:lnTo>
                  <a:lnTo>
                    <a:pt x="906" y="698"/>
                  </a:lnTo>
                  <a:lnTo>
                    <a:pt x="888" y="713"/>
                  </a:lnTo>
                  <a:lnTo>
                    <a:pt x="870" y="726"/>
                  </a:lnTo>
                  <a:lnTo>
                    <a:pt x="854" y="741"/>
                  </a:lnTo>
                  <a:lnTo>
                    <a:pt x="822" y="769"/>
                  </a:lnTo>
                  <a:lnTo>
                    <a:pt x="796" y="797"/>
                  </a:lnTo>
                  <a:lnTo>
                    <a:pt x="769" y="826"/>
                  </a:lnTo>
                  <a:lnTo>
                    <a:pt x="746" y="855"/>
                  </a:lnTo>
                  <a:lnTo>
                    <a:pt x="725" y="885"/>
                  </a:lnTo>
                  <a:lnTo>
                    <a:pt x="704" y="914"/>
                  </a:lnTo>
                  <a:lnTo>
                    <a:pt x="700" y="921"/>
                  </a:lnTo>
                  <a:lnTo>
                    <a:pt x="696" y="930"/>
                  </a:lnTo>
                  <a:lnTo>
                    <a:pt x="694" y="939"/>
                  </a:lnTo>
                  <a:lnTo>
                    <a:pt x="693" y="950"/>
                  </a:lnTo>
                  <a:lnTo>
                    <a:pt x="694" y="962"/>
                  </a:lnTo>
                  <a:lnTo>
                    <a:pt x="696" y="974"/>
                  </a:lnTo>
                  <a:lnTo>
                    <a:pt x="698" y="986"/>
                  </a:lnTo>
                  <a:lnTo>
                    <a:pt x="701" y="999"/>
                  </a:lnTo>
                  <a:lnTo>
                    <a:pt x="709" y="1026"/>
                  </a:lnTo>
                  <a:lnTo>
                    <a:pt x="720" y="1054"/>
                  </a:lnTo>
                  <a:lnTo>
                    <a:pt x="729" y="1081"/>
                  </a:lnTo>
                  <a:lnTo>
                    <a:pt x="740" y="1106"/>
                  </a:lnTo>
                  <a:lnTo>
                    <a:pt x="748" y="1129"/>
                  </a:lnTo>
                  <a:lnTo>
                    <a:pt x="753" y="1147"/>
                  </a:lnTo>
                  <a:lnTo>
                    <a:pt x="756" y="1155"/>
                  </a:lnTo>
                  <a:lnTo>
                    <a:pt x="756" y="1162"/>
                  </a:lnTo>
                  <a:lnTo>
                    <a:pt x="756" y="1167"/>
                  </a:lnTo>
                  <a:lnTo>
                    <a:pt x="754" y="1170"/>
                  </a:lnTo>
                  <a:lnTo>
                    <a:pt x="750" y="1173"/>
                  </a:lnTo>
                  <a:lnTo>
                    <a:pt x="746" y="1173"/>
                  </a:lnTo>
                  <a:lnTo>
                    <a:pt x="740" y="1171"/>
                  </a:lnTo>
                  <a:lnTo>
                    <a:pt x="732" y="1167"/>
                  </a:lnTo>
                  <a:lnTo>
                    <a:pt x="722" y="1162"/>
                  </a:lnTo>
                  <a:lnTo>
                    <a:pt x="710" y="1154"/>
                  </a:lnTo>
                  <a:lnTo>
                    <a:pt x="696" y="1143"/>
                  </a:lnTo>
                  <a:lnTo>
                    <a:pt x="680" y="1130"/>
                  </a:lnTo>
                  <a:lnTo>
                    <a:pt x="649" y="1137"/>
                  </a:lnTo>
                  <a:lnTo>
                    <a:pt x="621" y="1142"/>
                  </a:lnTo>
                  <a:lnTo>
                    <a:pt x="594" y="1146"/>
                  </a:lnTo>
                  <a:lnTo>
                    <a:pt x="570" y="1149"/>
                  </a:lnTo>
                  <a:lnTo>
                    <a:pt x="526" y="1153"/>
                  </a:lnTo>
                  <a:lnTo>
                    <a:pt x="486" y="1153"/>
                  </a:lnTo>
                  <a:lnTo>
                    <a:pt x="451" y="1153"/>
                  </a:lnTo>
                  <a:lnTo>
                    <a:pt x="415" y="1151"/>
                  </a:lnTo>
                  <a:lnTo>
                    <a:pt x="380" y="1150"/>
                  </a:lnTo>
                  <a:lnTo>
                    <a:pt x="343" y="1149"/>
                  </a:lnTo>
                  <a:lnTo>
                    <a:pt x="317" y="1150"/>
                  </a:lnTo>
                  <a:lnTo>
                    <a:pt x="295" y="1151"/>
                  </a:lnTo>
                  <a:lnTo>
                    <a:pt x="273" y="1155"/>
                  </a:lnTo>
                  <a:lnTo>
                    <a:pt x="256" y="1161"/>
                  </a:lnTo>
                  <a:lnTo>
                    <a:pt x="241" y="1166"/>
                  </a:lnTo>
                  <a:lnTo>
                    <a:pt x="229" y="1175"/>
                  </a:lnTo>
                  <a:lnTo>
                    <a:pt x="224" y="1179"/>
                  </a:lnTo>
                  <a:lnTo>
                    <a:pt x="220" y="1185"/>
                  </a:lnTo>
                  <a:lnTo>
                    <a:pt x="216" y="1190"/>
                  </a:lnTo>
                  <a:lnTo>
                    <a:pt x="213" y="1195"/>
                  </a:lnTo>
                  <a:lnTo>
                    <a:pt x="211" y="1202"/>
                  </a:lnTo>
                  <a:lnTo>
                    <a:pt x="209" y="1207"/>
                  </a:lnTo>
                  <a:lnTo>
                    <a:pt x="208" y="1215"/>
                  </a:lnTo>
                  <a:lnTo>
                    <a:pt x="207" y="1222"/>
                  </a:lnTo>
                  <a:lnTo>
                    <a:pt x="208" y="1238"/>
                  </a:lnTo>
                  <a:lnTo>
                    <a:pt x="211" y="1255"/>
                  </a:lnTo>
                  <a:lnTo>
                    <a:pt x="216" y="1274"/>
                  </a:lnTo>
                  <a:lnTo>
                    <a:pt x="224" y="1295"/>
                  </a:lnTo>
                  <a:lnTo>
                    <a:pt x="233" y="1318"/>
                  </a:lnTo>
                  <a:lnTo>
                    <a:pt x="247" y="1342"/>
                  </a:lnTo>
                  <a:lnTo>
                    <a:pt x="249" y="1350"/>
                  </a:lnTo>
                  <a:lnTo>
                    <a:pt x="251" y="1359"/>
                  </a:lnTo>
                  <a:lnTo>
                    <a:pt x="249" y="1371"/>
                  </a:lnTo>
                  <a:lnTo>
                    <a:pt x="247" y="1382"/>
                  </a:lnTo>
                  <a:lnTo>
                    <a:pt x="240" y="1408"/>
                  </a:lnTo>
                  <a:lnTo>
                    <a:pt x="235" y="1435"/>
                  </a:lnTo>
                  <a:lnTo>
                    <a:pt x="233" y="1450"/>
                  </a:lnTo>
                  <a:lnTo>
                    <a:pt x="233" y="1463"/>
                  </a:lnTo>
                  <a:lnTo>
                    <a:pt x="235" y="1476"/>
                  </a:lnTo>
                  <a:lnTo>
                    <a:pt x="240" y="1490"/>
                  </a:lnTo>
                  <a:lnTo>
                    <a:pt x="243" y="1495"/>
                  </a:lnTo>
                  <a:lnTo>
                    <a:pt x="248" y="1502"/>
                  </a:lnTo>
                  <a:lnTo>
                    <a:pt x="253" y="1508"/>
                  </a:lnTo>
                  <a:lnTo>
                    <a:pt x="259" y="1514"/>
                  </a:lnTo>
                  <a:lnTo>
                    <a:pt x="267" y="1519"/>
                  </a:lnTo>
                  <a:lnTo>
                    <a:pt x="275" y="1524"/>
                  </a:lnTo>
                  <a:lnTo>
                    <a:pt x="284" y="1530"/>
                  </a:lnTo>
                  <a:lnTo>
                    <a:pt x="295" y="1534"/>
                  </a:lnTo>
                  <a:lnTo>
                    <a:pt x="299" y="1531"/>
                  </a:lnTo>
                  <a:lnTo>
                    <a:pt x="301" y="1530"/>
                  </a:lnTo>
                  <a:lnTo>
                    <a:pt x="305" y="1530"/>
                  </a:lnTo>
                  <a:lnTo>
                    <a:pt x="308" y="1531"/>
                  </a:lnTo>
                  <a:lnTo>
                    <a:pt x="313" y="1534"/>
                  </a:lnTo>
                  <a:lnTo>
                    <a:pt x="317" y="1540"/>
                  </a:lnTo>
                  <a:lnTo>
                    <a:pt x="325" y="1559"/>
                  </a:lnTo>
                  <a:lnTo>
                    <a:pt x="332" y="1582"/>
                  </a:lnTo>
                  <a:lnTo>
                    <a:pt x="335" y="1592"/>
                  </a:lnTo>
                  <a:lnTo>
                    <a:pt x="339" y="1603"/>
                  </a:lnTo>
                  <a:lnTo>
                    <a:pt x="341" y="1614"/>
                  </a:lnTo>
                  <a:lnTo>
                    <a:pt x="347" y="1622"/>
                  </a:lnTo>
                  <a:lnTo>
                    <a:pt x="349" y="1624"/>
                  </a:lnTo>
                  <a:lnTo>
                    <a:pt x="352" y="1627"/>
                  </a:lnTo>
                  <a:lnTo>
                    <a:pt x="355" y="1628"/>
                  </a:lnTo>
                  <a:lnTo>
                    <a:pt x="357" y="1630"/>
                  </a:lnTo>
                  <a:lnTo>
                    <a:pt x="361" y="1630"/>
                  </a:lnTo>
                  <a:lnTo>
                    <a:pt x="364" y="1628"/>
                  </a:lnTo>
                  <a:lnTo>
                    <a:pt x="368" y="1627"/>
                  </a:lnTo>
                  <a:lnTo>
                    <a:pt x="373" y="1624"/>
                  </a:lnTo>
                  <a:lnTo>
                    <a:pt x="392" y="1650"/>
                  </a:lnTo>
                  <a:lnTo>
                    <a:pt x="407" y="1672"/>
                  </a:lnTo>
                  <a:lnTo>
                    <a:pt x="412" y="1683"/>
                  </a:lnTo>
                  <a:lnTo>
                    <a:pt x="417" y="1694"/>
                  </a:lnTo>
                  <a:lnTo>
                    <a:pt x="420" y="1703"/>
                  </a:lnTo>
                  <a:lnTo>
                    <a:pt x="421" y="1714"/>
                  </a:lnTo>
                  <a:lnTo>
                    <a:pt x="421" y="1724"/>
                  </a:lnTo>
                  <a:lnTo>
                    <a:pt x="420" y="1735"/>
                  </a:lnTo>
                  <a:lnTo>
                    <a:pt x="416" y="1747"/>
                  </a:lnTo>
                  <a:lnTo>
                    <a:pt x="411" y="1759"/>
                  </a:lnTo>
                  <a:lnTo>
                    <a:pt x="404" y="1772"/>
                  </a:lnTo>
                  <a:lnTo>
                    <a:pt x="393" y="1786"/>
                  </a:lnTo>
                  <a:lnTo>
                    <a:pt x="381" y="1800"/>
                  </a:lnTo>
                  <a:lnTo>
                    <a:pt x="367" y="1816"/>
                  </a:lnTo>
                  <a:lnTo>
                    <a:pt x="377" y="1842"/>
                  </a:lnTo>
                  <a:lnTo>
                    <a:pt x="397" y="1897"/>
                  </a:lnTo>
                  <a:lnTo>
                    <a:pt x="408" y="1929"/>
                  </a:lnTo>
                  <a:lnTo>
                    <a:pt x="415" y="1961"/>
                  </a:lnTo>
                  <a:lnTo>
                    <a:pt x="417" y="1976"/>
                  </a:lnTo>
                  <a:lnTo>
                    <a:pt x="419" y="1989"/>
                  </a:lnTo>
                  <a:lnTo>
                    <a:pt x="417" y="2000"/>
                  </a:lnTo>
                  <a:lnTo>
                    <a:pt x="415" y="2009"/>
                  </a:lnTo>
                  <a:lnTo>
                    <a:pt x="401" y="2033"/>
                  </a:lnTo>
                  <a:lnTo>
                    <a:pt x="389" y="2053"/>
                  </a:lnTo>
                  <a:lnTo>
                    <a:pt x="379" y="2069"/>
                  </a:lnTo>
                  <a:lnTo>
                    <a:pt x="369" y="2081"/>
                  </a:lnTo>
                  <a:lnTo>
                    <a:pt x="361" y="2091"/>
                  </a:lnTo>
                  <a:lnTo>
                    <a:pt x="355" y="2097"/>
                  </a:lnTo>
                  <a:lnTo>
                    <a:pt x="349" y="2101"/>
                  </a:lnTo>
                  <a:lnTo>
                    <a:pt x="344" y="2103"/>
                  </a:lnTo>
                  <a:lnTo>
                    <a:pt x="340" y="2101"/>
                  </a:lnTo>
                  <a:lnTo>
                    <a:pt x="336" y="2099"/>
                  </a:lnTo>
                  <a:lnTo>
                    <a:pt x="333" y="2095"/>
                  </a:lnTo>
                  <a:lnTo>
                    <a:pt x="331" y="2089"/>
                  </a:lnTo>
                  <a:lnTo>
                    <a:pt x="325" y="2077"/>
                  </a:lnTo>
                  <a:lnTo>
                    <a:pt x="319" y="2064"/>
                  </a:lnTo>
                  <a:lnTo>
                    <a:pt x="335" y="2025"/>
                  </a:lnTo>
                  <a:lnTo>
                    <a:pt x="347" y="1992"/>
                  </a:lnTo>
                  <a:lnTo>
                    <a:pt x="355" y="1961"/>
                  </a:lnTo>
                  <a:lnTo>
                    <a:pt x="360" y="1936"/>
                  </a:lnTo>
                  <a:lnTo>
                    <a:pt x="363" y="1915"/>
                  </a:lnTo>
                  <a:lnTo>
                    <a:pt x="361" y="1897"/>
                  </a:lnTo>
                  <a:lnTo>
                    <a:pt x="360" y="1891"/>
                  </a:lnTo>
                  <a:lnTo>
                    <a:pt x="359" y="1885"/>
                  </a:lnTo>
                  <a:lnTo>
                    <a:pt x="356" y="1881"/>
                  </a:lnTo>
                  <a:lnTo>
                    <a:pt x="353" y="1877"/>
                  </a:lnTo>
                  <a:lnTo>
                    <a:pt x="349" y="1876"/>
                  </a:lnTo>
                  <a:lnTo>
                    <a:pt x="347" y="1876"/>
                  </a:lnTo>
                  <a:lnTo>
                    <a:pt x="343" y="1876"/>
                  </a:lnTo>
                  <a:lnTo>
                    <a:pt x="337" y="1879"/>
                  </a:lnTo>
                  <a:lnTo>
                    <a:pt x="333" y="1883"/>
                  </a:lnTo>
                  <a:lnTo>
                    <a:pt x="328" y="1888"/>
                  </a:lnTo>
                  <a:lnTo>
                    <a:pt x="323" y="1893"/>
                  </a:lnTo>
                  <a:lnTo>
                    <a:pt x="317" y="1901"/>
                  </a:lnTo>
                  <a:lnTo>
                    <a:pt x="305" y="1923"/>
                  </a:lnTo>
                  <a:lnTo>
                    <a:pt x="293" y="1949"/>
                  </a:lnTo>
                  <a:lnTo>
                    <a:pt x="283" y="1981"/>
                  </a:lnTo>
                  <a:lnTo>
                    <a:pt x="271" y="2021"/>
                  </a:lnTo>
                  <a:lnTo>
                    <a:pt x="272" y="2003"/>
                  </a:lnTo>
                  <a:lnTo>
                    <a:pt x="276" y="1973"/>
                  </a:lnTo>
                  <a:lnTo>
                    <a:pt x="283" y="1939"/>
                  </a:lnTo>
                  <a:lnTo>
                    <a:pt x="292" y="1901"/>
                  </a:lnTo>
                  <a:lnTo>
                    <a:pt x="301" y="1863"/>
                  </a:lnTo>
                  <a:lnTo>
                    <a:pt x="311" y="1828"/>
                  </a:lnTo>
                  <a:lnTo>
                    <a:pt x="316" y="1814"/>
                  </a:lnTo>
                  <a:lnTo>
                    <a:pt x="321" y="1800"/>
                  </a:lnTo>
                  <a:lnTo>
                    <a:pt x="327" y="1790"/>
                  </a:lnTo>
                  <a:lnTo>
                    <a:pt x="331" y="1780"/>
                  </a:lnTo>
                  <a:lnTo>
                    <a:pt x="351" y="1744"/>
                  </a:lnTo>
                  <a:lnTo>
                    <a:pt x="365" y="1716"/>
                  </a:lnTo>
                  <a:lnTo>
                    <a:pt x="369" y="1704"/>
                  </a:lnTo>
                  <a:lnTo>
                    <a:pt x="373" y="1695"/>
                  </a:lnTo>
                  <a:lnTo>
                    <a:pt x="375" y="1687"/>
                  </a:lnTo>
                  <a:lnTo>
                    <a:pt x="376" y="1679"/>
                  </a:lnTo>
                  <a:lnTo>
                    <a:pt x="376" y="1674"/>
                  </a:lnTo>
                  <a:lnTo>
                    <a:pt x="375" y="1670"/>
                  </a:lnTo>
                  <a:lnTo>
                    <a:pt x="372" y="1666"/>
                  </a:lnTo>
                  <a:lnTo>
                    <a:pt x="369" y="1663"/>
                  </a:lnTo>
                  <a:lnTo>
                    <a:pt x="365" y="1662"/>
                  </a:lnTo>
                  <a:lnTo>
                    <a:pt x="360" y="1662"/>
                  </a:lnTo>
                  <a:lnTo>
                    <a:pt x="356" y="1660"/>
                  </a:lnTo>
                  <a:lnTo>
                    <a:pt x="349" y="1662"/>
                  </a:lnTo>
                  <a:lnTo>
                    <a:pt x="323" y="1664"/>
                  </a:lnTo>
                  <a:lnTo>
                    <a:pt x="292" y="1667"/>
                  </a:lnTo>
                  <a:lnTo>
                    <a:pt x="285" y="1666"/>
                  </a:lnTo>
                  <a:lnTo>
                    <a:pt x="279" y="1664"/>
                  </a:lnTo>
                  <a:lnTo>
                    <a:pt x="272" y="1663"/>
                  </a:lnTo>
                  <a:lnTo>
                    <a:pt x="265" y="1659"/>
                  </a:lnTo>
                  <a:lnTo>
                    <a:pt x="260" y="1655"/>
                  </a:lnTo>
                  <a:lnTo>
                    <a:pt x="255" y="1651"/>
                  </a:lnTo>
                  <a:lnTo>
                    <a:pt x="251" y="1644"/>
                  </a:lnTo>
                  <a:lnTo>
                    <a:pt x="247" y="1636"/>
                  </a:lnTo>
                  <a:lnTo>
                    <a:pt x="239" y="1619"/>
                  </a:lnTo>
                  <a:lnTo>
                    <a:pt x="231" y="1604"/>
                  </a:lnTo>
                  <a:lnTo>
                    <a:pt x="223" y="1591"/>
                  </a:lnTo>
                  <a:lnTo>
                    <a:pt x="215" y="1579"/>
                  </a:lnTo>
                  <a:lnTo>
                    <a:pt x="199" y="1559"/>
                  </a:lnTo>
                  <a:lnTo>
                    <a:pt x="181" y="1542"/>
                  </a:lnTo>
                  <a:lnTo>
                    <a:pt x="163" y="1524"/>
                  </a:lnTo>
                  <a:lnTo>
                    <a:pt x="141" y="1506"/>
                  </a:lnTo>
                  <a:lnTo>
                    <a:pt x="117" y="1483"/>
                  </a:lnTo>
                  <a:lnTo>
                    <a:pt x="89" y="1455"/>
                  </a:lnTo>
                  <a:lnTo>
                    <a:pt x="89" y="1458"/>
                  </a:lnTo>
                  <a:lnTo>
                    <a:pt x="88" y="1460"/>
                  </a:lnTo>
                  <a:lnTo>
                    <a:pt x="85" y="1462"/>
                  </a:lnTo>
                  <a:lnTo>
                    <a:pt x="81" y="1464"/>
                  </a:lnTo>
                  <a:lnTo>
                    <a:pt x="72" y="1467"/>
                  </a:lnTo>
                  <a:lnTo>
                    <a:pt x="60" y="1467"/>
                  </a:lnTo>
                  <a:lnTo>
                    <a:pt x="56" y="1474"/>
                  </a:lnTo>
                  <a:lnTo>
                    <a:pt x="53" y="1479"/>
                  </a:lnTo>
                  <a:lnTo>
                    <a:pt x="52" y="1484"/>
                  </a:lnTo>
                  <a:lnTo>
                    <a:pt x="52" y="1488"/>
                  </a:lnTo>
                  <a:lnTo>
                    <a:pt x="53" y="1498"/>
                  </a:lnTo>
                  <a:lnTo>
                    <a:pt x="53" y="1510"/>
                  </a:lnTo>
                  <a:lnTo>
                    <a:pt x="55" y="1522"/>
                  </a:lnTo>
                  <a:lnTo>
                    <a:pt x="59" y="1531"/>
                  </a:lnTo>
                  <a:lnTo>
                    <a:pt x="64" y="1538"/>
                  </a:lnTo>
                  <a:lnTo>
                    <a:pt x="71" y="1544"/>
                  </a:lnTo>
                  <a:lnTo>
                    <a:pt x="79" y="1550"/>
                  </a:lnTo>
                  <a:lnTo>
                    <a:pt x="88" y="1554"/>
                  </a:lnTo>
                  <a:lnTo>
                    <a:pt x="99" y="1558"/>
                  </a:lnTo>
                  <a:lnTo>
                    <a:pt x="108" y="1562"/>
                  </a:lnTo>
                  <a:lnTo>
                    <a:pt x="119" y="1566"/>
                  </a:lnTo>
                  <a:lnTo>
                    <a:pt x="129" y="1570"/>
                  </a:lnTo>
                  <a:lnTo>
                    <a:pt x="139" y="1575"/>
                  </a:lnTo>
                  <a:lnTo>
                    <a:pt x="148" y="1580"/>
                  </a:lnTo>
                  <a:lnTo>
                    <a:pt x="155" y="1587"/>
                  </a:lnTo>
                  <a:lnTo>
                    <a:pt x="161" y="1595"/>
                  </a:lnTo>
                  <a:lnTo>
                    <a:pt x="165" y="1606"/>
                  </a:lnTo>
                  <a:lnTo>
                    <a:pt x="168" y="1618"/>
                  </a:lnTo>
                  <a:lnTo>
                    <a:pt x="169" y="1636"/>
                  </a:lnTo>
                  <a:lnTo>
                    <a:pt x="168" y="1652"/>
                  </a:lnTo>
                  <a:lnTo>
                    <a:pt x="165" y="1664"/>
                  </a:lnTo>
                  <a:lnTo>
                    <a:pt x="160" y="1674"/>
                  </a:lnTo>
                  <a:lnTo>
                    <a:pt x="153" y="1682"/>
                  </a:lnTo>
                  <a:lnTo>
                    <a:pt x="147" y="1688"/>
                  </a:lnTo>
                  <a:lnTo>
                    <a:pt x="139" y="1692"/>
                  </a:lnTo>
                  <a:lnTo>
                    <a:pt x="131" y="1696"/>
                  </a:lnTo>
                  <a:lnTo>
                    <a:pt x="113" y="1703"/>
                  </a:lnTo>
                  <a:lnTo>
                    <a:pt x="99" y="1710"/>
                  </a:lnTo>
                  <a:lnTo>
                    <a:pt x="92" y="1715"/>
                  </a:lnTo>
                  <a:lnTo>
                    <a:pt x="88" y="1720"/>
                  </a:lnTo>
                  <a:lnTo>
                    <a:pt x="85" y="1728"/>
                  </a:lnTo>
                  <a:lnTo>
                    <a:pt x="84" y="1739"/>
                  </a:lnTo>
                  <a:lnTo>
                    <a:pt x="85" y="1748"/>
                  </a:lnTo>
                  <a:lnTo>
                    <a:pt x="88" y="1758"/>
                  </a:lnTo>
                  <a:lnTo>
                    <a:pt x="92" y="1767"/>
                  </a:lnTo>
                  <a:lnTo>
                    <a:pt x="97" y="1776"/>
                  </a:lnTo>
                  <a:lnTo>
                    <a:pt x="111" y="1794"/>
                  </a:lnTo>
                  <a:lnTo>
                    <a:pt x="125" y="1814"/>
                  </a:lnTo>
                  <a:lnTo>
                    <a:pt x="133" y="1823"/>
                  </a:lnTo>
                  <a:lnTo>
                    <a:pt x="141" y="1834"/>
                  </a:lnTo>
                  <a:lnTo>
                    <a:pt x="148" y="1846"/>
                  </a:lnTo>
                  <a:lnTo>
                    <a:pt x="155" y="1858"/>
                  </a:lnTo>
                  <a:lnTo>
                    <a:pt x="160" y="1871"/>
                  </a:lnTo>
                  <a:lnTo>
                    <a:pt x="164" y="1885"/>
                  </a:lnTo>
                  <a:lnTo>
                    <a:pt x="167" y="1901"/>
                  </a:lnTo>
                  <a:lnTo>
                    <a:pt x="168" y="1919"/>
                  </a:lnTo>
                  <a:lnTo>
                    <a:pt x="168" y="1933"/>
                  </a:lnTo>
                  <a:lnTo>
                    <a:pt x="167" y="1945"/>
                  </a:lnTo>
                  <a:lnTo>
                    <a:pt x="164" y="1957"/>
                  </a:lnTo>
                  <a:lnTo>
                    <a:pt x="161" y="1968"/>
                  </a:lnTo>
                  <a:lnTo>
                    <a:pt x="157" y="1977"/>
                  </a:lnTo>
                  <a:lnTo>
                    <a:pt x="152" y="1987"/>
                  </a:lnTo>
                  <a:lnTo>
                    <a:pt x="148" y="1995"/>
                  </a:lnTo>
                  <a:lnTo>
                    <a:pt x="141" y="2001"/>
                  </a:lnTo>
                  <a:lnTo>
                    <a:pt x="129" y="2015"/>
                  </a:lnTo>
                  <a:lnTo>
                    <a:pt x="115" y="2024"/>
                  </a:lnTo>
                  <a:lnTo>
                    <a:pt x="100" y="2033"/>
                  </a:lnTo>
                  <a:lnTo>
                    <a:pt x="84" y="2041"/>
                  </a:lnTo>
                  <a:lnTo>
                    <a:pt x="68" y="2051"/>
                  </a:lnTo>
                  <a:lnTo>
                    <a:pt x="53" y="2059"/>
                  </a:lnTo>
                  <a:lnTo>
                    <a:pt x="39" y="2069"/>
                  </a:lnTo>
                  <a:lnTo>
                    <a:pt x="25" y="2081"/>
                  </a:lnTo>
                  <a:lnTo>
                    <a:pt x="20" y="2088"/>
                  </a:lnTo>
                  <a:lnTo>
                    <a:pt x="15" y="2095"/>
                  </a:lnTo>
                  <a:lnTo>
                    <a:pt x="11" y="2104"/>
                  </a:lnTo>
                  <a:lnTo>
                    <a:pt x="7" y="2113"/>
                  </a:lnTo>
                  <a:lnTo>
                    <a:pt x="4" y="2123"/>
                  </a:lnTo>
                  <a:lnTo>
                    <a:pt x="1" y="2135"/>
                  </a:lnTo>
                  <a:lnTo>
                    <a:pt x="0" y="2147"/>
                  </a:lnTo>
                  <a:lnTo>
                    <a:pt x="0" y="2160"/>
                  </a:lnTo>
                  <a:lnTo>
                    <a:pt x="0" y="2172"/>
                  </a:lnTo>
                  <a:lnTo>
                    <a:pt x="4" y="2184"/>
                  </a:lnTo>
                  <a:lnTo>
                    <a:pt x="9" y="2197"/>
                  </a:lnTo>
                  <a:lnTo>
                    <a:pt x="17" y="2211"/>
                  </a:lnTo>
                  <a:lnTo>
                    <a:pt x="27" y="2224"/>
                  </a:lnTo>
                  <a:lnTo>
                    <a:pt x="37" y="2237"/>
                  </a:lnTo>
                  <a:lnTo>
                    <a:pt x="48" y="2251"/>
                  </a:lnTo>
                  <a:lnTo>
                    <a:pt x="61" y="2264"/>
                  </a:lnTo>
                  <a:lnTo>
                    <a:pt x="75" y="2276"/>
                  </a:lnTo>
                  <a:lnTo>
                    <a:pt x="88" y="2287"/>
                  </a:lnTo>
                  <a:lnTo>
                    <a:pt x="103" y="2297"/>
                  </a:lnTo>
                  <a:lnTo>
                    <a:pt x="116" y="2305"/>
                  </a:lnTo>
                  <a:lnTo>
                    <a:pt x="131" y="2313"/>
                  </a:lnTo>
                  <a:lnTo>
                    <a:pt x="144" y="2319"/>
                  </a:lnTo>
                  <a:lnTo>
                    <a:pt x="156" y="2321"/>
                  </a:lnTo>
                  <a:lnTo>
                    <a:pt x="168" y="2323"/>
                  </a:lnTo>
                  <a:lnTo>
                    <a:pt x="180" y="2323"/>
                  </a:lnTo>
                  <a:lnTo>
                    <a:pt x="188" y="2321"/>
                  </a:lnTo>
                  <a:lnTo>
                    <a:pt x="195" y="2319"/>
                  </a:lnTo>
                  <a:lnTo>
                    <a:pt x="199" y="2317"/>
                  </a:lnTo>
                  <a:lnTo>
                    <a:pt x="203" y="2316"/>
                  </a:lnTo>
                  <a:lnTo>
                    <a:pt x="207" y="2315"/>
                  </a:lnTo>
                  <a:lnTo>
                    <a:pt x="211" y="2315"/>
                  </a:lnTo>
                  <a:lnTo>
                    <a:pt x="216" y="2316"/>
                  </a:lnTo>
                  <a:lnTo>
                    <a:pt x="227" y="2329"/>
                  </a:lnTo>
                  <a:lnTo>
                    <a:pt x="239" y="2340"/>
                  </a:lnTo>
                  <a:lnTo>
                    <a:pt x="252" y="2352"/>
                  </a:lnTo>
                  <a:lnTo>
                    <a:pt x="264" y="2364"/>
                  </a:lnTo>
                  <a:lnTo>
                    <a:pt x="271" y="2369"/>
                  </a:lnTo>
                  <a:lnTo>
                    <a:pt x="276" y="2377"/>
                  </a:lnTo>
                  <a:lnTo>
                    <a:pt x="281" y="2384"/>
                  </a:lnTo>
                  <a:lnTo>
                    <a:pt x="285" y="2393"/>
                  </a:lnTo>
                  <a:lnTo>
                    <a:pt x="289" y="2403"/>
                  </a:lnTo>
                  <a:lnTo>
                    <a:pt x="292" y="2413"/>
                  </a:lnTo>
                  <a:lnTo>
                    <a:pt x="293" y="2424"/>
                  </a:lnTo>
                  <a:lnTo>
                    <a:pt x="295" y="2437"/>
                  </a:lnTo>
                  <a:lnTo>
                    <a:pt x="295" y="2449"/>
                  </a:lnTo>
                  <a:lnTo>
                    <a:pt x="295" y="2461"/>
                  </a:lnTo>
                  <a:lnTo>
                    <a:pt x="293" y="2470"/>
                  </a:lnTo>
                  <a:lnTo>
                    <a:pt x="291" y="2480"/>
                  </a:lnTo>
                  <a:lnTo>
                    <a:pt x="287" y="2488"/>
                  </a:lnTo>
                  <a:lnTo>
                    <a:pt x="281" y="2496"/>
                  </a:lnTo>
                  <a:lnTo>
                    <a:pt x="275" y="2502"/>
                  </a:lnTo>
                  <a:lnTo>
                    <a:pt x="264" y="2509"/>
                  </a:lnTo>
                  <a:lnTo>
                    <a:pt x="271" y="2540"/>
                  </a:lnTo>
                  <a:lnTo>
                    <a:pt x="276" y="2557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accent1">
                  <a:lumMod val="20000"/>
                  <a:lumOff val="8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95" b="0" i="0" u="none" strike="noStrike" kern="1200" cap="none" spc="0" normalizeH="0" baseline="0" noProof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0" name="Freeform 124"/>
            <p:cNvSpPr>
              <a:spLocks/>
            </p:cNvSpPr>
            <p:nvPr/>
          </p:nvSpPr>
          <p:spPr bwMode="auto">
            <a:xfrm>
              <a:off x="5692280" y="1909489"/>
              <a:ext cx="166485" cy="217657"/>
            </a:xfrm>
            <a:custGeom>
              <a:avLst/>
              <a:gdLst>
                <a:gd name="T0" fmla="*/ 1105 w 2313"/>
                <a:gd name="T1" fmla="*/ 2677 h 3022"/>
                <a:gd name="T2" fmla="*/ 1170 w 2313"/>
                <a:gd name="T3" fmla="*/ 2613 h 3022"/>
                <a:gd name="T4" fmla="*/ 1342 w 2313"/>
                <a:gd name="T5" fmla="*/ 2422 h 3022"/>
                <a:gd name="T6" fmla="*/ 1545 w 2313"/>
                <a:gd name="T7" fmla="*/ 2317 h 3022"/>
                <a:gd name="T8" fmla="*/ 1633 w 2313"/>
                <a:gd name="T9" fmla="*/ 2277 h 3022"/>
                <a:gd name="T10" fmla="*/ 1702 w 2313"/>
                <a:gd name="T11" fmla="*/ 2441 h 3022"/>
                <a:gd name="T12" fmla="*/ 1841 w 2313"/>
                <a:gd name="T13" fmla="*/ 2380 h 3022"/>
                <a:gd name="T14" fmla="*/ 2019 w 2313"/>
                <a:gd name="T15" fmla="*/ 2314 h 3022"/>
                <a:gd name="T16" fmla="*/ 2071 w 2313"/>
                <a:gd name="T17" fmla="*/ 2065 h 3022"/>
                <a:gd name="T18" fmla="*/ 2142 w 2313"/>
                <a:gd name="T19" fmla="*/ 1963 h 3022"/>
                <a:gd name="T20" fmla="*/ 2207 w 2313"/>
                <a:gd name="T21" fmla="*/ 1777 h 3022"/>
                <a:gd name="T22" fmla="*/ 2250 w 2313"/>
                <a:gd name="T23" fmla="*/ 1507 h 3022"/>
                <a:gd name="T24" fmla="*/ 2303 w 2313"/>
                <a:gd name="T25" fmla="*/ 1360 h 3022"/>
                <a:gd name="T26" fmla="*/ 2109 w 2313"/>
                <a:gd name="T27" fmla="*/ 1300 h 3022"/>
                <a:gd name="T28" fmla="*/ 1826 w 2313"/>
                <a:gd name="T29" fmla="*/ 1326 h 3022"/>
                <a:gd name="T30" fmla="*/ 1708 w 2313"/>
                <a:gd name="T31" fmla="*/ 1471 h 3022"/>
                <a:gd name="T32" fmla="*/ 1600 w 2313"/>
                <a:gd name="T33" fmla="*/ 1443 h 3022"/>
                <a:gd name="T34" fmla="*/ 1748 w 2313"/>
                <a:gd name="T35" fmla="*/ 1299 h 3022"/>
                <a:gd name="T36" fmla="*/ 1702 w 2313"/>
                <a:gd name="T37" fmla="*/ 1052 h 3022"/>
                <a:gd name="T38" fmla="*/ 1478 w 2313"/>
                <a:gd name="T39" fmla="*/ 978 h 3022"/>
                <a:gd name="T40" fmla="*/ 1478 w 2313"/>
                <a:gd name="T41" fmla="*/ 882 h 3022"/>
                <a:gd name="T42" fmla="*/ 1668 w 2313"/>
                <a:gd name="T43" fmla="*/ 836 h 3022"/>
                <a:gd name="T44" fmla="*/ 1685 w 2313"/>
                <a:gd name="T45" fmla="*/ 655 h 3022"/>
                <a:gd name="T46" fmla="*/ 1844 w 2313"/>
                <a:gd name="T47" fmla="*/ 654 h 3022"/>
                <a:gd name="T48" fmla="*/ 1926 w 2313"/>
                <a:gd name="T49" fmla="*/ 534 h 3022"/>
                <a:gd name="T50" fmla="*/ 2051 w 2313"/>
                <a:gd name="T51" fmla="*/ 449 h 3022"/>
                <a:gd name="T52" fmla="*/ 2029 w 2313"/>
                <a:gd name="T53" fmla="*/ 339 h 3022"/>
                <a:gd name="T54" fmla="*/ 1893 w 2313"/>
                <a:gd name="T55" fmla="*/ 295 h 3022"/>
                <a:gd name="T56" fmla="*/ 1758 w 2313"/>
                <a:gd name="T57" fmla="*/ 289 h 3022"/>
                <a:gd name="T58" fmla="*/ 1782 w 2313"/>
                <a:gd name="T59" fmla="*/ 173 h 3022"/>
                <a:gd name="T60" fmla="*/ 1674 w 2313"/>
                <a:gd name="T61" fmla="*/ 0 h 3022"/>
                <a:gd name="T62" fmla="*/ 1408 w 2313"/>
                <a:gd name="T63" fmla="*/ 200 h 3022"/>
                <a:gd name="T64" fmla="*/ 1433 w 2313"/>
                <a:gd name="T65" fmla="*/ 346 h 3022"/>
                <a:gd name="T66" fmla="*/ 1538 w 2313"/>
                <a:gd name="T67" fmla="*/ 450 h 3022"/>
                <a:gd name="T68" fmla="*/ 1416 w 2313"/>
                <a:gd name="T69" fmla="*/ 463 h 3022"/>
                <a:gd name="T70" fmla="*/ 1127 w 2313"/>
                <a:gd name="T71" fmla="*/ 511 h 3022"/>
                <a:gd name="T72" fmla="*/ 589 w 2313"/>
                <a:gd name="T73" fmla="*/ 914 h 3022"/>
                <a:gd name="T74" fmla="*/ 343 w 2313"/>
                <a:gd name="T75" fmla="*/ 1324 h 3022"/>
                <a:gd name="T76" fmla="*/ 242 w 2313"/>
                <a:gd name="T77" fmla="*/ 1523 h 3022"/>
                <a:gd name="T78" fmla="*/ 435 w 2313"/>
                <a:gd name="T79" fmla="*/ 1568 h 3022"/>
                <a:gd name="T80" fmla="*/ 515 w 2313"/>
                <a:gd name="T81" fmla="*/ 1641 h 3022"/>
                <a:gd name="T82" fmla="*/ 455 w 2313"/>
                <a:gd name="T83" fmla="*/ 1732 h 3022"/>
                <a:gd name="T84" fmla="*/ 291 w 2313"/>
                <a:gd name="T85" fmla="*/ 1768 h 3022"/>
                <a:gd name="T86" fmla="*/ 195 w 2313"/>
                <a:gd name="T87" fmla="*/ 1769 h 3022"/>
                <a:gd name="T88" fmla="*/ 151 w 2313"/>
                <a:gd name="T89" fmla="*/ 1992 h 3022"/>
                <a:gd name="T90" fmla="*/ 0 w 2313"/>
                <a:gd name="T91" fmla="*/ 2185 h 3022"/>
                <a:gd name="T92" fmla="*/ 83 w 2313"/>
                <a:gd name="T93" fmla="*/ 2237 h 3022"/>
                <a:gd name="T94" fmla="*/ 262 w 2313"/>
                <a:gd name="T95" fmla="*/ 2364 h 3022"/>
                <a:gd name="T96" fmla="*/ 223 w 2313"/>
                <a:gd name="T97" fmla="*/ 2474 h 3022"/>
                <a:gd name="T98" fmla="*/ 182 w 2313"/>
                <a:gd name="T99" fmla="*/ 2611 h 3022"/>
                <a:gd name="T100" fmla="*/ 131 w 2313"/>
                <a:gd name="T101" fmla="*/ 2762 h 3022"/>
                <a:gd name="T102" fmla="*/ 200 w 2313"/>
                <a:gd name="T103" fmla="*/ 2829 h 3022"/>
                <a:gd name="T104" fmla="*/ 311 w 2313"/>
                <a:gd name="T105" fmla="*/ 2887 h 3022"/>
                <a:gd name="T106" fmla="*/ 441 w 2313"/>
                <a:gd name="T107" fmla="*/ 2914 h 3022"/>
                <a:gd name="T108" fmla="*/ 548 w 2313"/>
                <a:gd name="T109" fmla="*/ 2950 h 3022"/>
                <a:gd name="T110" fmla="*/ 705 w 2313"/>
                <a:gd name="T111" fmla="*/ 3010 h 3022"/>
                <a:gd name="T112" fmla="*/ 837 w 2313"/>
                <a:gd name="T113" fmla="*/ 2969 h 3022"/>
                <a:gd name="T114" fmla="*/ 977 w 2313"/>
                <a:gd name="T115" fmla="*/ 2890 h 3022"/>
                <a:gd name="T116" fmla="*/ 1084 w 2313"/>
                <a:gd name="T117" fmla="*/ 2799 h 3022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313"/>
                <a:gd name="T178" fmla="*/ 0 h 3022"/>
                <a:gd name="T179" fmla="*/ 2313 w 2313"/>
                <a:gd name="T180" fmla="*/ 3022 h 3022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313" h="3022">
                  <a:moveTo>
                    <a:pt x="1091" y="2799"/>
                  </a:moveTo>
                  <a:lnTo>
                    <a:pt x="1087" y="2786"/>
                  </a:lnTo>
                  <a:lnTo>
                    <a:pt x="1085" y="2773"/>
                  </a:lnTo>
                  <a:lnTo>
                    <a:pt x="1084" y="2759"/>
                  </a:lnTo>
                  <a:lnTo>
                    <a:pt x="1084" y="2746"/>
                  </a:lnTo>
                  <a:lnTo>
                    <a:pt x="1085" y="2730"/>
                  </a:lnTo>
                  <a:lnTo>
                    <a:pt x="1085" y="2717"/>
                  </a:lnTo>
                  <a:lnTo>
                    <a:pt x="1088" y="2706"/>
                  </a:lnTo>
                  <a:lnTo>
                    <a:pt x="1089" y="2698"/>
                  </a:lnTo>
                  <a:lnTo>
                    <a:pt x="1093" y="2690"/>
                  </a:lnTo>
                  <a:lnTo>
                    <a:pt x="1096" y="2685"/>
                  </a:lnTo>
                  <a:lnTo>
                    <a:pt x="1101" y="2681"/>
                  </a:lnTo>
                  <a:lnTo>
                    <a:pt x="1105" y="2677"/>
                  </a:lnTo>
                  <a:lnTo>
                    <a:pt x="1117" y="2671"/>
                  </a:lnTo>
                  <a:lnTo>
                    <a:pt x="1131" y="2667"/>
                  </a:lnTo>
                  <a:lnTo>
                    <a:pt x="1137" y="2663"/>
                  </a:lnTo>
                  <a:lnTo>
                    <a:pt x="1145" y="2659"/>
                  </a:lnTo>
                  <a:lnTo>
                    <a:pt x="1153" y="2655"/>
                  </a:lnTo>
                  <a:lnTo>
                    <a:pt x="1162" y="2649"/>
                  </a:lnTo>
                  <a:lnTo>
                    <a:pt x="1165" y="2647"/>
                  </a:lnTo>
                  <a:lnTo>
                    <a:pt x="1168" y="2643"/>
                  </a:lnTo>
                  <a:lnTo>
                    <a:pt x="1169" y="2641"/>
                  </a:lnTo>
                  <a:lnTo>
                    <a:pt x="1170" y="2637"/>
                  </a:lnTo>
                  <a:lnTo>
                    <a:pt x="1172" y="2630"/>
                  </a:lnTo>
                  <a:lnTo>
                    <a:pt x="1170" y="2621"/>
                  </a:lnTo>
                  <a:lnTo>
                    <a:pt x="1170" y="2613"/>
                  </a:lnTo>
                  <a:lnTo>
                    <a:pt x="1170" y="2605"/>
                  </a:lnTo>
                  <a:lnTo>
                    <a:pt x="1172" y="2597"/>
                  </a:lnTo>
                  <a:lnTo>
                    <a:pt x="1174" y="2589"/>
                  </a:lnTo>
                  <a:lnTo>
                    <a:pt x="1209" y="2561"/>
                  </a:lnTo>
                  <a:lnTo>
                    <a:pt x="1241" y="2537"/>
                  </a:lnTo>
                  <a:lnTo>
                    <a:pt x="1256" y="2525"/>
                  </a:lnTo>
                  <a:lnTo>
                    <a:pt x="1270" y="2512"/>
                  </a:lnTo>
                  <a:lnTo>
                    <a:pt x="1284" y="2497"/>
                  </a:lnTo>
                  <a:lnTo>
                    <a:pt x="1294" y="2481"/>
                  </a:lnTo>
                  <a:lnTo>
                    <a:pt x="1306" y="2465"/>
                  </a:lnTo>
                  <a:lnTo>
                    <a:pt x="1318" y="2449"/>
                  </a:lnTo>
                  <a:lnTo>
                    <a:pt x="1330" y="2436"/>
                  </a:lnTo>
                  <a:lnTo>
                    <a:pt x="1342" y="2422"/>
                  </a:lnTo>
                  <a:lnTo>
                    <a:pt x="1354" y="2410"/>
                  </a:lnTo>
                  <a:lnTo>
                    <a:pt x="1368" y="2400"/>
                  </a:lnTo>
                  <a:lnTo>
                    <a:pt x="1381" y="2389"/>
                  </a:lnTo>
                  <a:lnTo>
                    <a:pt x="1394" y="2380"/>
                  </a:lnTo>
                  <a:lnTo>
                    <a:pt x="1409" y="2372"/>
                  </a:lnTo>
                  <a:lnTo>
                    <a:pt x="1424" y="2364"/>
                  </a:lnTo>
                  <a:lnTo>
                    <a:pt x="1440" y="2356"/>
                  </a:lnTo>
                  <a:lnTo>
                    <a:pt x="1456" y="2349"/>
                  </a:lnTo>
                  <a:lnTo>
                    <a:pt x="1492" y="2336"/>
                  </a:lnTo>
                  <a:lnTo>
                    <a:pt x="1530" y="2324"/>
                  </a:lnTo>
                  <a:lnTo>
                    <a:pt x="1536" y="2322"/>
                  </a:lnTo>
                  <a:lnTo>
                    <a:pt x="1541" y="2320"/>
                  </a:lnTo>
                  <a:lnTo>
                    <a:pt x="1545" y="2317"/>
                  </a:lnTo>
                  <a:lnTo>
                    <a:pt x="1550" y="2313"/>
                  </a:lnTo>
                  <a:lnTo>
                    <a:pt x="1558" y="2305"/>
                  </a:lnTo>
                  <a:lnTo>
                    <a:pt x="1568" y="2294"/>
                  </a:lnTo>
                  <a:lnTo>
                    <a:pt x="1577" y="2285"/>
                  </a:lnTo>
                  <a:lnTo>
                    <a:pt x="1588" y="2277"/>
                  </a:lnTo>
                  <a:lnTo>
                    <a:pt x="1593" y="2274"/>
                  </a:lnTo>
                  <a:lnTo>
                    <a:pt x="1600" y="2272"/>
                  </a:lnTo>
                  <a:lnTo>
                    <a:pt x="1606" y="2270"/>
                  </a:lnTo>
                  <a:lnTo>
                    <a:pt x="1614" y="2270"/>
                  </a:lnTo>
                  <a:lnTo>
                    <a:pt x="1620" y="2270"/>
                  </a:lnTo>
                  <a:lnTo>
                    <a:pt x="1625" y="2272"/>
                  </a:lnTo>
                  <a:lnTo>
                    <a:pt x="1629" y="2274"/>
                  </a:lnTo>
                  <a:lnTo>
                    <a:pt x="1633" y="2277"/>
                  </a:lnTo>
                  <a:lnTo>
                    <a:pt x="1640" y="2286"/>
                  </a:lnTo>
                  <a:lnTo>
                    <a:pt x="1645" y="2297"/>
                  </a:lnTo>
                  <a:lnTo>
                    <a:pt x="1653" y="2325"/>
                  </a:lnTo>
                  <a:lnTo>
                    <a:pt x="1660" y="2357"/>
                  </a:lnTo>
                  <a:lnTo>
                    <a:pt x="1664" y="2373"/>
                  </a:lnTo>
                  <a:lnTo>
                    <a:pt x="1668" y="2389"/>
                  </a:lnTo>
                  <a:lnTo>
                    <a:pt x="1672" y="2404"/>
                  </a:lnTo>
                  <a:lnTo>
                    <a:pt x="1678" y="2417"/>
                  </a:lnTo>
                  <a:lnTo>
                    <a:pt x="1682" y="2424"/>
                  </a:lnTo>
                  <a:lnTo>
                    <a:pt x="1686" y="2429"/>
                  </a:lnTo>
                  <a:lnTo>
                    <a:pt x="1692" y="2433"/>
                  </a:lnTo>
                  <a:lnTo>
                    <a:pt x="1696" y="2437"/>
                  </a:lnTo>
                  <a:lnTo>
                    <a:pt x="1702" y="2441"/>
                  </a:lnTo>
                  <a:lnTo>
                    <a:pt x="1708" y="2442"/>
                  </a:lnTo>
                  <a:lnTo>
                    <a:pt x="1716" y="2444"/>
                  </a:lnTo>
                  <a:lnTo>
                    <a:pt x="1722" y="2445"/>
                  </a:lnTo>
                  <a:lnTo>
                    <a:pt x="1729" y="2444"/>
                  </a:lnTo>
                  <a:lnTo>
                    <a:pt x="1734" y="2442"/>
                  </a:lnTo>
                  <a:lnTo>
                    <a:pt x="1741" y="2441"/>
                  </a:lnTo>
                  <a:lnTo>
                    <a:pt x="1746" y="2438"/>
                  </a:lnTo>
                  <a:lnTo>
                    <a:pt x="1760" y="2430"/>
                  </a:lnTo>
                  <a:lnTo>
                    <a:pt x="1773" y="2422"/>
                  </a:lnTo>
                  <a:lnTo>
                    <a:pt x="1796" y="2404"/>
                  </a:lnTo>
                  <a:lnTo>
                    <a:pt x="1813" y="2390"/>
                  </a:lnTo>
                  <a:lnTo>
                    <a:pt x="1826" y="2385"/>
                  </a:lnTo>
                  <a:lnTo>
                    <a:pt x="1841" y="2380"/>
                  </a:lnTo>
                  <a:lnTo>
                    <a:pt x="1857" y="2377"/>
                  </a:lnTo>
                  <a:lnTo>
                    <a:pt x="1874" y="2374"/>
                  </a:lnTo>
                  <a:lnTo>
                    <a:pt x="1909" y="2370"/>
                  </a:lnTo>
                  <a:lnTo>
                    <a:pt x="1943" y="2366"/>
                  </a:lnTo>
                  <a:lnTo>
                    <a:pt x="1959" y="2364"/>
                  </a:lnTo>
                  <a:lnTo>
                    <a:pt x="1974" y="2358"/>
                  </a:lnTo>
                  <a:lnTo>
                    <a:pt x="1987" y="2353"/>
                  </a:lnTo>
                  <a:lnTo>
                    <a:pt x="1999" y="2345"/>
                  </a:lnTo>
                  <a:lnTo>
                    <a:pt x="2005" y="2340"/>
                  </a:lnTo>
                  <a:lnTo>
                    <a:pt x="2010" y="2334"/>
                  </a:lnTo>
                  <a:lnTo>
                    <a:pt x="2014" y="2329"/>
                  </a:lnTo>
                  <a:lnTo>
                    <a:pt x="2017" y="2322"/>
                  </a:lnTo>
                  <a:lnTo>
                    <a:pt x="2019" y="2314"/>
                  </a:lnTo>
                  <a:lnTo>
                    <a:pt x="2022" y="2306"/>
                  </a:lnTo>
                  <a:lnTo>
                    <a:pt x="2023" y="2298"/>
                  </a:lnTo>
                  <a:lnTo>
                    <a:pt x="2023" y="2288"/>
                  </a:lnTo>
                  <a:lnTo>
                    <a:pt x="2023" y="2269"/>
                  </a:lnTo>
                  <a:lnTo>
                    <a:pt x="2023" y="2253"/>
                  </a:lnTo>
                  <a:lnTo>
                    <a:pt x="2023" y="2241"/>
                  </a:lnTo>
                  <a:lnTo>
                    <a:pt x="2023" y="2228"/>
                  </a:lnTo>
                  <a:lnTo>
                    <a:pt x="2025" y="2204"/>
                  </a:lnTo>
                  <a:lnTo>
                    <a:pt x="2029" y="2182"/>
                  </a:lnTo>
                  <a:lnTo>
                    <a:pt x="2034" y="2161"/>
                  </a:lnTo>
                  <a:lnTo>
                    <a:pt x="2041" y="2142"/>
                  </a:lnTo>
                  <a:lnTo>
                    <a:pt x="2057" y="2104"/>
                  </a:lnTo>
                  <a:lnTo>
                    <a:pt x="2071" y="2065"/>
                  </a:lnTo>
                  <a:lnTo>
                    <a:pt x="2077" y="2030"/>
                  </a:lnTo>
                  <a:lnTo>
                    <a:pt x="2081" y="1997"/>
                  </a:lnTo>
                  <a:lnTo>
                    <a:pt x="2082" y="1982"/>
                  </a:lnTo>
                  <a:lnTo>
                    <a:pt x="2086" y="1967"/>
                  </a:lnTo>
                  <a:lnTo>
                    <a:pt x="2089" y="1960"/>
                  </a:lnTo>
                  <a:lnTo>
                    <a:pt x="2093" y="1953"/>
                  </a:lnTo>
                  <a:lnTo>
                    <a:pt x="2097" y="1945"/>
                  </a:lnTo>
                  <a:lnTo>
                    <a:pt x="2102" y="1939"/>
                  </a:lnTo>
                  <a:lnTo>
                    <a:pt x="2114" y="1948"/>
                  </a:lnTo>
                  <a:lnTo>
                    <a:pt x="2123" y="1956"/>
                  </a:lnTo>
                  <a:lnTo>
                    <a:pt x="2129" y="1959"/>
                  </a:lnTo>
                  <a:lnTo>
                    <a:pt x="2135" y="1961"/>
                  </a:lnTo>
                  <a:lnTo>
                    <a:pt x="2142" y="1963"/>
                  </a:lnTo>
                  <a:lnTo>
                    <a:pt x="2150" y="1963"/>
                  </a:lnTo>
                  <a:lnTo>
                    <a:pt x="2162" y="1961"/>
                  </a:lnTo>
                  <a:lnTo>
                    <a:pt x="2174" y="1959"/>
                  </a:lnTo>
                  <a:lnTo>
                    <a:pt x="2183" y="1953"/>
                  </a:lnTo>
                  <a:lnTo>
                    <a:pt x="2193" y="1948"/>
                  </a:lnTo>
                  <a:lnTo>
                    <a:pt x="2203" y="1943"/>
                  </a:lnTo>
                  <a:lnTo>
                    <a:pt x="2214" y="1937"/>
                  </a:lnTo>
                  <a:lnTo>
                    <a:pt x="2226" y="1935"/>
                  </a:lnTo>
                  <a:lnTo>
                    <a:pt x="2241" y="1933"/>
                  </a:lnTo>
                  <a:lnTo>
                    <a:pt x="2231" y="1896"/>
                  </a:lnTo>
                  <a:lnTo>
                    <a:pt x="2223" y="1857"/>
                  </a:lnTo>
                  <a:lnTo>
                    <a:pt x="2215" y="1817"/>
                  </a:lnTo>
                  <a:lnTo>
                    <a:pt x="2207" y="1777"/>
                  </a:lnTo>
                  <a:lnTo>
                    <a:pt x="2199" y="1736"/>
                  </a:lnTo>
                  <a:lnTo>
                    <a:pt x="2191" y="1693"/>
                  </a:lnTo>
                  <a:lnTo>
                    <a:pt x="2183" y="1651"/>
                  </a:lnTo>
                  <a:lnTo>
                    <a:pt x="2174" y="1608"/>
                  </a:lnTo>
                  <a:lnTo>
                    <a:pt x="2173" y="1603"/>
                  </a:lnTo>
                  <a:lnTo>
                    <a:pt x="2173" y="1597"/>
                  </a:lnTo>
                  <a:lnTo>
                    <a:pt x="2174" y="1592"/>
                  </a:lnTo>
                  <a:lnTo>
                    <a:pt x="2175" y="1587"/>
                  </a:lnTo>
                  <a:lnTo>
                    <a:pt x="2181" y="1576"/>
                  </a:lnTo>
                  <a:lnTo>
                    <a:pt x="2189" y="1565"/>
                  </a:lnTo>
                  <a:lnTo>
                    <a:pt x="2210" y="1543"/>
                  </a:lnTo>
                  <a:lnTo>
                    <a:pt x="2237" y="1519"/>
                  </a:lnTo>
                  <a:lnTo>
                    <a:pt x="2250" y="1507"/>
                  </a:lnTo>
                  <a:lnTo>
                    <a:pt x="2265" y="1493"/>
                  </a:lnTo>
                  <a:lnTo>
                    <a:pt x="2277" y="1480"/>
                  </a:lnTo>
                  <a:lnTo>
                    <a:pt x="2289" y="1465"/>
                  </a:lnTo>
                  <a:lnTo>
                    <a:pt x="2298" y="1451"/>
                  </a:lnTo>
                  <a:lnTo>
                    <a:pt x="2306" y="1436"/>
                  </a:lnTo>
                  <a:lnTo>
                    <a:pt x="2309" y="1428"/>
                  </a:lnTo>
                  <a:lnTo>
                    <a:pt x="2311" y="1420"/>
                  </a:lnTo>
                  <a:lnTo>
                    <a:pt x="2313" y="1411"/>
                  </a:lnTo>
                  <a:lnTo>
                    <a:pt x="2313" y="1403"/>
                  </a:lnTo>
                  <a:lnTo>
                    <a:pt x="2313" y="1392"/>
                  </a:lnTo>
                  <a:lnTo>
                    <a:pt x="2310" y="1382"/>
                  </a:lnTo>
                  <a:lnTo>
                    <a:pt x="2307" y="1371"/>
                  </a:lnTo>
                  <a:lnTo>
                    <a:pt x="2303" y="1360"/>
                  </a:lnTo>
                  <a:lnTo>
                    <a:pt x="2298" y="1351"/>
                  </a:lnTo>
                  <a:lnTo>
                    <a:pt x="2291" y="1340"/>
                  </a:lnTo>
                  <a:lnTo>
                    <a:pt x="2283" y="1331"/>
                  </a:lnTo>
                  <a:lnTo>
                    <a:pt x="2274" y="1322"/>
                  </a:lnTo>
                  <a:lnTo>
                    <a:pt x="2263" y="1314"/>
                  </a:lnTo>
                  <a:lnTo>
                    <a:pt x="2250" y="1307"/>
                  </a:lnTo>
                  <a:lnTo>
                    <a:pt x="2237" y="1300"/>
                  </a:lnTo>
                  <a:lnTo>
                    <a:pt x="2221" y="1296"/>
                  </a:lnTo>
                  <a:lnTo>
                    <a:pt x="2205" y="1294"/>
                  </a:lnTo>
                  <a:lnTo>
                    <a:pt x="2186" y="1292"/>
                  </a:lnTo>
                  <a:lnTo>
                    <a:pt x="2166" y="1292"/>
                  </a:lnTo>
                  <a:lnTo>
                    <a:pt x="2145" y="1295"/>
                  </a:lnTo>
                  <a:lnTo>
                    <a:pt x="2109" y="1300"/>
                  </a:lnTo>
                  <a:lnTo>
                    <a:pt x="2074" y="1303"/>
                  </a:lnTo>
                  <a:lnTo>
                    <a:pt x="2042" y="1304"/>
                  </a:lnTo>
                  <a:lnTo>
                    <a:pt x="2010" y="1304"/>
                  </a:lnTo>
                  <a:lnTo>
                    <a:pt x="1981" y="1303"/>
                  </a:lnTo>
                  <a:lnTo>
                    <a:pt x="1951" y="1303"/>
                  </a:lnTo>
                  <a:lnTo>
                    <a:pt x="1925" y="1303"/>
                  </a:lnTo>
                  <a:lnTo>
                    <a:pt x="1898" y="1306"/>
                  </a:lnTo>
                  <a:lnTo>
                    <a:pt x="1885" y="1307"/>
                  </a:lnTo>
                  <a:lnTo>
                    <a:pt x="1873" y="1310"/>
                  </a:lnTo>
                  <a:lnTo>
                    <a:pt x="1861" y="1312"/>
                  </a:lnTo>
                  <a:lnTo>
                    <a:pt x="1849" y="1316"/>
                  </a:lnTo>
                  <a:lnTo>
                    <a:pt x="1837" y="1320"/>
                  </a:lnTo>
                  <a:lnTo>
                    <a:pt x="1826" y="1326"/>
                  </a:lnTo>
                  <a:lnTo>
                    <a:pt x="1816" y="1332"/>
                  </a:lnTo>
                  <a:lnTo>
                    <a:pt x="1805" y="1340"/>
                  </a:lnTo>
                  <a:lnTo>
                    <a:pt x="1794" y="1350"/>
                  </a:lnTo>
                  <a:lnTo>
                    <a:pt x="1784" y="1359"/>
                  </a:lnTo>
                  <a:lnTo>
                    <a:pt x="1774" y="1371"/>
                  </a:lnTo>
                  <a:lnTo>
                    <a:pt x="1765" y="1384"/>
                  </a:lnTo>
                  <a:lnTo>
                    <a:pt x="1756" y="1397"/>
                  </a:lnTo>
                  <a:lnTo>
                    <a:pt x="1746" y="1413"/>
                  </a:lnTo>
                  <a:lnTo>
                    <a:pt x="1737" y="1432"/>
                  </a:lnTo>
                  <a:lnTo>
                    <a:pt x="1729" y="1451"/>
                  </a:lnTo>
                  <a:lnTo>
                    <a:pt x="1722" y="1459"/>
                  </a:lnTo>
                  <a:lnTo>
                    <a:pt x="1714" y="1465"/>
                  </a:lnTo>
                  <a:lnTo>
                    <a:pt x="1708" y="1471"/>
                  </a:lnTo>
                  <a:lnTo>
                    <a:pt x="1701" y="1475"/>
                  </a:lnTo>
                  <a:lnTo>
                    <a:pt x="1693" y="1479"/>
                  </a:lnTo>
                  <a:lnTo>
                    <a:pt x="1686" y="1483"/>
                  </a:lnTo>
                  <a:lnTo>
                    <a:pt x="1680" y="1484"/>
                  </a:lnTo>
                  <a:lnTo>
                    <a:pt x="1672" y="1485"/>
                  </a:lnTo>
                  <a:lnTo>
                    <a:pt x="1658" y="1487"/>
                  </a:lnTo>
                  <a:lnTo>
                    <a:pt x="1645" y="1485"/>
                  </a:lnTo>
                  <a:lnTo>
                    <a:pt x="1633" y="1483"/>
                  </a:lnTo>
                  <a:lnTo>
                    <a:pt x="1622" y="1476"/>
                  </a:lnTo>
                  <a:lnTo>
                    <a:pt x="1613" y="1469"/>
                  </a:lnTo>
                  <a:lnTo>
                    <a:pt x="1606" y="1461"/>
                  </a:lnTo>
                  <a:lnTo>
                    <a:pt x="1601" y="1452"/>
                  </a:lnTo>
                  <a:lnTo>
                    <a:pt x="1600" y="1443"/>
                  </a:lnTo>
                  <a:lnTo>
                    <a:pt x="1598" y="1437"/>
                  </a:lnTo>
                  <a:lnTo>
                    <a:pt x="1600" y="1432"/>
                  </a:lnTo>
                  <a:lnTo>
                    <a:pt x="1601" y="1427"/>
                  </a:lnTo>
                  <a:lnTo>
                    <a:pt x="1602" y="1423"/>
                  </a:lnTo>
                  <a:lnTo>
                    <a:pt x="1606" y="1417"/>
                  </a:lnTo>
                  <a:lnTo>
                    <a:pt x="1610" y="1412"/>
                  </a:lnTo>
                  <a:lnTo>
                    <a:pt x="1614" y="1408"/>
                  </a:lnTo>
                  <a:lnTo>
                    <a:pt x="1620" y="1403"/>
                  </a:lnTo>
                  <a:lnTo>
                    <a:pt x="1673" y="1366"/>
                  </a:lnTo>
                  <a:lnTo>
                    <a:pt x="1721" y="1331"/>
                  </a:lnTo>
                  <a:lnTo>
                    <a:pt x="1732" y="1322"/>
                  </a:lnTo>
                  <a:lnTo>
                    <a:pt x="1741" y="1311"/>
                  </a:lnTo>
                  <a:lnTo>
                    <a:pt x="1748" y="1299"/>
                  </a:lnTo>
                  <a:lnTo>
                    <a:pt x="1754" y="1286"/>
                  </a:lnTo>
                  <a:lnTo>
                    <a:pt x="1758" y="1270"/>
                  </a:lnTo>
                  <a:lnTo>
                    <a:pt x="1761" y="1252"/>
                  </a:lnTo>
                  <a:lnTo>
                    <a:pt x="1761" y="1232"/>
                  </a:lnTo>
                  <a:lnTo>
                    <a:pt x="1758" y="1211"/>
                  </a:lnTo>
                  <a:lnTo>
                    <a:pt x="1754" y="1183"/>
                  </a:lnTo>
                  <a:lnTo>
                    <a:pt x="1750" y="1158"/>
                  </a:lnTo>
                  <a:lnTo>
                    <a:pt x="1744" y="1134"/>
                  </a:lnTo>
                  <a:lnTo>
                    <a:pt x="1737" y="1114"/>
                  </a:lnTo>
                  <a:lnTo>
                    <a:pt x="1729" y="1095"/>
                  </a:lnTo>
                  <a:lnTo>
                    <a:pt x="1721" y="1079"/>
                  </a:lnTo>
                  <a:lnTo>
                    <a:pt x="1712" y="1066"/>
                  </a:lnTo>
                  <a:lnTo>
                    <a:pt x="1702" y="1052"/>
                  </a:lnTo>
                  <a:lnTo>
                    <a:pt x="1692" y="1042"/>
                  </a:lnTo>
                  <a:lnTo>
                    <a:pt x="1681" y="1032"/>
                  </a:lnTo>
                  <a:lnTo>
                    <a:pt x="1669" y="1026"/>
                  </a:lnTo>
                  <a:lnTo>
                    <a:pt x="1658" y="1019"/>
                  </a:lnTo>
                  <a:lnTo>
                    <a:pt x="1646" y="1014"/>
                  </a:lnTo>
                  <a:lnTo>
                    <a:pt x="1633" y="1008"/>
                  </a:lnTo>
                  <a:lnTo>
                    <a:pt x="1621" y="1006"/>
                  </a:lnTo>
                  <a:lnTo>
                    <a:pt x="1608" y="1003"/>
                  </a:lnTo>
                  <a:lnTo>
                    <a:pt x="1557" y="995"/>
                  </a:lnTo>
                  <a:lnTo>
                    <a:pt x="1510" y="988"/>
                  </a:lnTo>
                  <a:lnTo>
                    <a:pt x="1498" y="986"/>
                  </a:lnTo>
                  <a:lnTo>
                    <a:pt x="1488" y="982"/>
                  </a:lnTo>
                  <a:lnTo>
                    <a:pt x="1478" y="978"/>
                  </a:lnTo>
                  <a:lnTo>
                    <a:pt x="1469" y="972"/>
                  </a:lnTo>
                  <a:lnTo>
                    <a:pt x="1461" y="967"/>
                  </a:lnTo>
                  <a:lnTo>
                    <a:pt x="1453" y="959"/>
                  </a:lnTo>
                  <a:lnTo>
                    <a:pt x="1446" y="950"/>
                  </a:lnTo>
                  <a:lnTo>
                    <a:pt x="1440" y="939"/>
                  </a:lnTo>
                  <a:lnTo>
                    <a:pt x="1440" y="927"/>
                  </a:lnTo>
                  <a:lnTo>
                    <a:pt x="1441" y="916"/>
                  </a:lnTo>
                  <a:lnTo>
                    <a:pt x="1444" y="907"/>
                  </a:lnTo>
                  <a:lnTo>
                    <a:pt x="1448" y="899"/>
                  </a:lnTo>
                  <a:lnTo>
                    <a:pt x="1454" y="892"/>
                  </a:lnTo>
                  <a:lnTo>
                    <a:pt x="1461" y="888"/>
                  </a:lnTo>
                  <a:lnTo>
                    <a:pt x="1469" y="884"/>
                  </a:lnTo>
                  <a:lnTo>
                    <a:pt x="1478" y="882"/>
                  </a:lnTo>
                  <a:lnTo>
                    <a:pt x="1498" y="878"/>
                  </a:lnTo>
                  <a:lnTo>
                    <a:pt x="1521" y="878"/>
                  </a:lnTo>
                  <a:lnTo>
                    <a:pt x="1545" y="878"/>
                  </a:lnTo>
                  <a:lnTo>
                    <a:pt x="1569" y="878"/>
                  </a:lnTo>
                  <a:lnTo>
                    <a:pt x="1593" y="878"/>
                  </a:lnTo>
                  <a:lnTo>
                    <a:pt x="1616" y="875"/>
                  </a:lnTo>
                  <a:lnTo>
                    <a:pt x="1625" y="874"/>
                  </a:lnTo>
                  <a:lnTo>
                    <a:pt x="1636" y="870"/>
                  </a:lnTo>
                  <a:lnTo>
                    <a:pt x="1644" y="866"/>
                  </a:lnTo>
                  <a:lnTo>
                    <a:pt x="1652" y="860"/>
                  </a:lnTo>
                  <a:lnTo>
                    <a:pt x="1658" y="854"/>
                  </a:lnTo>
                  <a:lnTo>
                    <a:pt x="1664" y="846"/>
                  </a:lnTo>
                  <a:lnTo>
                    <a:pt x="1668" y="836"/>
                  </a:lnTo>
                  <a:lnTo>
                    <a:pt x="1670" y="824"/>
                  </a:lnTo>
                  <a:lnTo>
                    <a:pt x="1670" y="811"/>
                  </a:lnTo>
                  <a:lnTo>
                    <a:pt x="1670" y="797"/>
                  </a:lnTo>
                  <a:lnTo>
                    <a:pt x="1668" y="778"/>
                  </a:lnTo>
                  <a:lnTo>
                    <a:pt x="1662" y="759"/>
                  </a:lnTo>
                  <a:lnTo>
                    <a:pt x="1660" y="735"/>
                  </a:lnTo>
                  <a:lnTo>
                    <a:pt x="1660" y="717"/>
                  </a:lnTo>
                  <a:lnTo>
                    <a:pt x="1661" y="699"/>
                  </a:lnTo>
                  <a:lnTo>
                    <a:pt x="1664" y="686"/>
                  </a:lnTo>
                  <a:lnTo>
                    <a:pt x="1666" y="675"/>
                  </a:lnTo>
                  <a:lnTo>
                    <a:pt x="1672" y="667"/>
                  </a:lnTo>
                  <a:lnTo>
                    <a:pt x="1678" y="661"/>
                  </a:lnTo>
                  <a:lnTo>
                    <a:pt x="1685" y="655"/>
                  </a:lnTo>
                  <a:lnTo>
                    <a:pt x="1693" y="653"/>
                  </a:lnTo>
                  <a:lnTo>
                    <a:pt x="1701" y="651"/>
                  </a:lnTo>
                  <a:lnTo>
                    <a:pt x="1709" y="651"/>
                  </a:lnTo>
                  <a:lnTo>
                    <a:pt x="1718" y="651"/>
                  </a:lnTo>
                  <a:lnTo>
                    <a:pt x="1736" y="654"/>
                  </a:lnTo>
                  <a:lnTo>
                    <a:pt x="1753" y="657"/>
                  </a:lnTo>
                  <a:lnTo>
                    <a:pt x="1770" y="659"/>
                  </a:lnTo>
                  <a:lnTo>
                    <a:pt x="1786" y="661"/>
                  </a:lnTo>
                  <a:lnTo>
                    <a:pt x="1800" y="661"/>
                  </a:lnTo>
                  <a:lnTo>
                    <a:pt x="1813" y="661"/>
                  </a:lnTo>
                  <a:lnTo>
                    <a:pt x="1825" y="659"/>
                  </a:lnTo>
                  <a:lnTo>
                    <a:pt x="1834" y="657"/>
                  </a:lnTo>
                  <a:lnTo>
                    <a:pt x="1844" y="654"/>
                  </a:lnTo>
                  <a:lnTo>
                    <a:pt x="1852" y="651"/>
                  </a:lnTo>
                  <a:lnTo>
                    <a:pt x="1860" y="647"/>
                  </a:lnTo>
                  <a:lnTo>
                    <a:pt x="1866" y="643"/>
                  </a:lnTo>
                  <a:lnTo>
                    <a:pt x="1872" y="638"/>
                  </a:lnTo>
                  <a:lnTo>
                    <a:pt x="1876" y="633"/>
                  </a:lnTo>
                  <a:lnTo>
                    <a:pt x="1884" y="622"/>
                  </a:lnTo>
                  <a:lnTo>
                    <a:pt x="1889" y="609"/>
                  </a:lnTo>
                  <a:lnTo>
                    <a:pt x="1897" y="583"/>
                  </a:lnTo>
                  <a:lnTo>
                    <a:pt x="1905" y="559"/>
                  </a:lnTo>
                  <a:lnTo>
                    <a:pt x="1910" y="549"/>
                  </a:lnTo>
                  <a:lnTo>
                    <a:pt x="1917" y="541"/>
                  </a:lnTo>
                  <a:lnTo>
                    <a:pt x="1921" y="537"/>
                  </a:lnTo>
                  <a:lnTo>
                    <a:pt x="1926" y="534"/>
                  </a:lnTo>
                  <a:lnTo>
                    <a:pt x="1933" y="531"/>
                  </a:lnTo>
                  <a:lnTo>
                    <a:pt x="1939" y="530"/>
                  </a:lnTo>
                  <a:lnTo>
                    <a:pt x="1950" y="527"/>
                  </a:lnTo>
                  <a:lnTo>
                    <a:pt x="1961" y="525"/>
                  </a:lnTo>
                  <a:lnTo>
                    <a:pt x="1971" y="522"/>
                  </a:lnTo>
                  <a:lnTo>
                    <a:pt x="1981" y="517"/>
                  </a:lnTo>
                  <a:lnTo>
                    <a:pt x="1990" y="513"/>
                  </a:lnTo>
                  <a:lnTo>
                    <a:pt x="1999" y="507"/>
                  </a:lnTo>
                  <a:lnTo>
                    <a:pt x="2007" y="501"/>
                  </a:lnTo>
                  <a:lnTo>
                    <a:pt x="2015" y="494"/>
                  </a:lnTo>
                  <a:lnTo>
                    <a:pt x="2029" y="481"/>
                  </a:lnTo>
                  <a:lnTo>
                    <a:pt x="2042" y="465"/>
                  </a:lnTo>
                  <a:lnTo>
                    <a:pt x="2051" y="449"/>
                  </a:lnTo>
                  <a:lnTo>
                    <a:pt x="2061" y="433"/>
                  </a:lnTo>
                  <a:lnTo>
                    <a:pt x="2067" y="415"/>
                  </a:lnTo>
                  <a:lnTo>
                    <a:pt x="2071" y="398"/>
                  </a:lnTo>
                  <a:lnTo>
                    <a:pt x="2075" y="382"/>
                  </a:lnTo>
                  <a:lnTo>
                    <a:pt x="2075" y="367"/>
                  </a:lnTo>
                  <a:lnTo>
                    <a:pt x="2074" y="354"/>
                  </a:lnTo>
                  <a:lnTo>
                    <a:pt x="2071" y="342"/>
                  </a:lnTo>
                  <a:lnTo>
                    <a:pt x="2070" y="337"/>
                  </a:lnTo>
                  <a:lnTo>
                    <a:pt x="2066" y="333"/>
                  </a:lnTo>
                  <a:lnTo>
                    <a:pt x="2063" y="329"/>
                  </a:lnTo>
                  <a:lnTo>
                    <a:pt x="2059" y="325"/>
                  </a:lnTo>
                  <a:lnTo>
                    <a:pt x="2043" y="333"/>
                  </a:lnTo>
                  <a:lnTo>
                    <a:pt x="2029" y="339"/>
                  </a:lnTo>
                  <a:lnTo>
                    <a:pt x="2014" y="345"/>
                  </a:lnTo>
                  <a:lnTo>
                    <a:pt x="2002" y="347"/>
                  </a:lnTo>
                  <a:lnTo>
                    <a:pt x="1990" y="349"/>
                  </a:lnTo>
                  <a:lnTo>
                    <a:pt x="1979" y="350"/>
                  </a:lnTo>
                  <a:lnTo>
                    <a:pt x="1969" y="349"/>
                  </a:lnTo>
                  <a:lnTo>
                    <a:pt x="1961" y="346"/>
                  </a:lnTo>
                  <a:lnTo>
                    <a:pt x="1951" y="343"/>
                  </a:lnTo>
                  <a:lnTo>
                    <a:pt x="1943" y="341"/>
                  </a:lnTo>
                  <a:lnTo>
                    <a:pt x="1937" y="335"/>
                  </a:lnTo>
                  <a:lnTo>
                    <a:pt x="1930" y="331"/>
                  </a:lnTo>
                  <a:lnTo>
                    <a:pt x="1917" y="319"/>
                  </a:lnTo>
                  <a:lnTo>
                    <a:pt x="1905" y="307"/>
                  </a:lnTo>
                  <a:lnTo>
                    <a:pt x="1893" y="295"/>
                  </a:lnTo>
                  <a:lnTo>
                    <a:pt x="1881" y="283"/>
                  </a:lnTo>
                  <a:lnTo>
                    <a:pt x="1874" y="278"/>
                  </a:lnTo>
                  <a:lnTo>
                    <a:pt x="1868" y="274"/>
                  </a:lnTo>
                  <a:lnTo>
                    <a:pt x="1860" y="270"/>
                  </a:lnTo>
                  <a:lnTo>
                    <a:pt x="1852" y="267"/>
                  </a:lnTo>
                  <a:lnTo>
                    <a:pt x="1844" y="266"/>
                  </a:lnTo>
                  <a:lnTo>
                    <a:pt x="1834" y="265"/>
                  </a:lnTo>
                  <a:lnTo>
                    <a:pt x="1824" y="265"/>
                  </a:lnTo>
                  <a:lnTo>
                    <a:pt x="1813" y="267"/>
                  </a:lnTo>
                  <a:lnTo>
                    <a:pt x="1801" y="270"/>
                  </a:lnTo>
                  <a:lnTo>
                    <a:pt x="1788" y="274"/>
                  </a:lnTo>
                  <a:lnTo>
                    <a:pt x="1774" y="281"/>
                  </a:lnTo>
                  <a:lnTo>
                    <a:pt x="1758" y="289"/>
                  </a:lnTo>
                  <a:lnTo>
                    <a:pt x="1752" y="293"/>
                  </a:lnTo>
                  <a:lnTo>
                    <a:pt x="1745" y="295"/>
                  </a:lnTo>
                  <a:lnTo>
                    <a:pt x="1741" y="297"/>
                  </a:lnTo>
                  <a:lnTo>
                    <a:pt x="1740" y="295"/>
                  </a:lnTo>
                  <a:lnTo>
                    <a:pt x="1738" y="294"/>
                  </a:lnTo>
                  <a:lnTo>
                    <a:pt x="1738" y="291"/>
                  </a:lnTo>
                  <a:lnTo>
                    <a:pt x="1740" y="287"/>
                  </a:lnTo>
                  <a:lnTo>
                    <a:pt x="1741" y="282"/>
                  </a:lnTo>
                  <a:lnTo>
                    <a:pt x="1756" y="253"/>
                  </a:lnTo>
                  <a:lnTo>
                    <a:pt x="1773" y="210"/>
                  </a:lnTo>
                  <a:lnTo>
                    <a:pt x="1777" y="198"/>
                  </a:lnTo>
                  <a:lnTo>
                    <a:pt x="1780" y="186"/>
                  </a:lnTo>
                  <a:lnTo>
                    <a:pt x="1782" y="173"/>
                  </a:lnTo>
                  <a:lnTo>
                    <a:pt x="1784" y="160"/>
                  </a:lnTo>
                  <a:lnTo>
                    <a:pt x="1784" y="146"/>
                  </a:lnTo>
                  <a:lnTo>
                    <a:pt x="1782" y="133"/>
                  </a:lnTo>
                  <a:lnTo>
                    <a:pt x="1781" y="120"/>
                  </a:lnTo>
                  <a:lnTo>
                    <a:pt x="1777" y="105"/>
                  </a:lnTo>
                  <a:lnTo>
                    <a:pt x="1772" y="92"/>
                  </a:lnTo>
                  <a:lnTo>
                    <a:pt x="1764" y="78"/>
                  </a:lnTo>
                  <a:lnTo>
                    <a:pt x="1754" y="65"/>
                  </a:lnTo>
                  <a:lnTo>
                    <a:pt x="1744" y="50"/>
                  </a:lnTo>
                  <a:lnTo>
                    <a:pt x="1730" y="38"/>
                  </a:lnTo>
                  <a:lnTo>
                    <a:pt x="1714" y="25"/>
                  </a:lnTo>
                  <a:lnTo>
                    <a:pt x="1696" y="12"/>
                  </a:lnTo>
                  <a:lnTo>
                    <a:pt x="1674" y="0"/>
                  </a:lnTo>
                  <a:lnTo>
                    <a:pt x="1618" y="32"/>
                  </a:lnTo>
                  <a:lnTo>
                    <a:pt x="1565" y="61"/>
                  </a:lnTo>
                  <a:lnTo>
                    <a:pt x="1540" y="76"/>
                  </a:lnTo>
                  <a:lnTo>
                    <a:pt x="1514" y="90"/>
                  </a:lnTo>
                  <a:lnTo>
                    <a:pt x="1492" y="106"/>
                  </a:lnTo>
                  <a:lnTo>
                    <a:pt x="1470" y="124"/>
                  </a:lnTo>
                  <a:lnTo>
                    <a:pt x="1460" y="133"/>
                  </a:lnTo>
                  <a:lnTo>
                    <a:pt x="1449" y="142"/>
                  </a:lnTo>
                  <a:lnTo>
                    <a:pt x="1441" y="153"/>
                  </a:lnTo>
                  <a:lnTo>
                    <a:pt x="1432" y="164"/>
                  </a:lnTo>
                  <a:lnTo>
                    <a:pt x="1424" y="176"/>
                  </a:lnTo>
                  <a:lnTo>
                    <a:pt x="1416" y="188"/>
                  </a:lnTo>
                  <a:lnTo>
                    <a:pt x="1408" y="200"/>
                  </a:lnTo>
                  <a:lnTo>
                    <a:pt x="1402" y="214"/>
                  </a:lnTo>
                  <a:lnTo>
                    <a:pt x="1396" y="227"/>
                  </a:lnTo>
                  <a:lnTo>
                    <a:pt x="1390" y="243"/>
                  </a:lnTo>
                  <a:lnTo>
                    <a:pt x="1386" y="259"/>
                  </a:lnTo>
                  <a:lnTo>
                    <a:pt x="1382" y="277"/>
                  </a:lnTo>
                  <a:lnTo>
                    <a:pt x="1378" y="294"/>
                  </a:lnTo>
                  <a:lnTo>
                    <a:pt x="1376" y="314"/>
                  </a:lnTo>
                  <a:lnTo>
                    <a:pt x="1374" y="334"/>
                  </a:lnTo>
                  <a:lnTo>
                    <a:pt x="1373" y="355"/>
                  </a:lnTo>
                  <a:lnTo>
                    <a:pt x="1378" y="354"/>
                  </a:lnTo>
                  <a:lnTo>
                    <a:pt x="1390" y="351"/>
                  </a:lnTo>
                  <a:lnTo>
                    <a:pt x="1409" y="349"/>
                  </a:lnTo>
                  <a:lnTo>
                    <a:pt x="1433" y="346"/>
                  </a:lnTo>
                  <a:lnTo>
                    <a:pt x="1446" y="346"/>
                  </a:lnTo>
                  <a:lnTo>
                    <a:pt x="1461" y="346"/>
                  </a:lnTo>
                  <a:lnTo>
                    <a:pt x="1476" y="347"/>
                  </a:lnTo>
                  <a:lnTo>
                    <a:pt x="1490" y="350"/>
                  </a:lnTo>
                  <a:lnTo>
                    <a:pt x="1505" y="354"/>
                  </a:lnTo>
                  <a:lnTo>
                    <a:pt x="1520" y="359"/>
                  </a:lnTo>
                  <a:lnTo>
                    <a:pt x="1534" y="365"/>
                  </a:lnTo>
                  <a:lnTo>
                    <a:pt x="1548" y="374"/>
                  </a:lnTo>
                  <a:lnTo>
                    <a:pt x="1546" y="402"/>
                  </a:lnTo>
                  <a:lnTo>
                    <a:pt x="1544" y="425"/>
                  </a:lnTo>
                  <a:lnTo>
                    <a:pt x="1542" y="434"/>
                  </a:lnTo>
                  <a:lnTo>
                    <a:pt x="1541" y="443"/>
                  </a:lnTo>
                  <a:lnTo>
                    <a:pt x="1538" y="450"/>
                  </a:lnTo>
                  <a:lnTo>
                    <a:pt x="1534" y="457"/>
                  </a:lnTo>
                  <a:lnTo>
                    <a:pt x="1530" y="462"/>
                  </a:lnTo>
                  <a:lnTo>
                    <a:pt x="1525" y="466"/>
                  </a:lnTo>
                  <a:lnTo>
                    <a:pt x="1517" y="469"/>
                  </a:lnTo>
                  <a:lnTo>
                    <a:pt x="1509" y="471"/>
                  </a:lnTo>
                  <a:lnTo>
                    <a:pt x="1498" y="474"/>
                  </a:lnTo>
                  <a:lnTo>
                    <a:pt x="1488" y="475"/>
                  </a:lnTo>
                  <a:lnTo>
                    <a:pt x="1473" y="475"/>
                  </a:lnTo>
                  <a:lnTo>
                    <a:pt x="1457" y="475"/>
                  </a:lnTo>
                  <a:lnTo>
                    <a:pt x="1448" y="475"/>
                  </a:lnTo>
                  <a:lnTo>
                    <a:pt x="1437" y="473"/>
                  </a:lnTo>
                  <a:lnTo>
                    <a:pt x="1426" y="467"/>
                  </a:lnTo>
                  <a:lnTo>
                    <a:pt x="1416" y="463"/>
                  </a:lnTo>
                  <a:lnTo>
                    <a:pt x="1390" y="451"/>
                  </a:lnTo>
                  <a:lnTo>
                    <a:pt x="1362" y="439"/>
                  </a:lnTo>
                  <a:lnTo>
                    <a:pt x="1346" y="434"/>
                  </a:lnTo>
                  <a:lnTo>
                    <a:pt x="1329" y="430"/>
                  </a:lnTo>
                  <a:lnTo>
                    <a:pt x="1310" y="427"/>
                  </a:lnTo>
                  <a:lnTo>
                    <a:pt x="1290" y="427"/>
                  </a:lnTo>
                  <a:lnTo>
                    <a:pt x="1268" y="429"/>
                  </a:lnTo>
                  <a:lnTo>
                    <a:pt x="1242" y="434"/>
                  </a:lnTo>
                  <a:lnTo>
                    <a:pt x="1216" y="441"/>
                  </a:lnTo>
                  <a:lnTo>
                    <a:pt x="1186" y="451"/>
                  </a:lnTo>
                  <a:lnTo>
                    <a:pt x="1168" y="473"/>
                  </a:lnTo>
                  <a:lnTo>
                    <a:pt x="1148" y="491"/>
                  </a:lnTo>
                  <a:lnTo>
                    <a:pt x="1127" y="511"/>
                  </a:lnTo>
                  <a:lnTo>
                    <a:pt x="1107" y="529"/>
                  </a:lnTo>
                  <a:lnTo>
                    <a:pt x="1064" y="563"/>
                  </a:lnTo>
                  <a:lnTo>
                    <a:pt x="1020" y="597"/>
                  </a:lnTo>
                  <a:lnTo>
                    <a:pt x="932" y="658"/>
                  </a:lnTo>
                  <a:lnTo>
                    <a:pt x="841" y="717"/>
                  </a:lnTo>
                  <a:lnTo>
                    <a:pt x="796" y="746"/>
                  </a:lnTo>
                  <a:lnTo>
                    <a:pt x="752" y="777"/>
                  </a:lnTo>
                  <a:lnTo>
                    <a:pt x="709" y="809"/>
                  </a:lnTo>
                  <a:lnTo>
                    <a:pt x="668" y="842"/>
                  </a:lnTo>
                  <a:lnTo>
                    <a:pt x="647" y="859"/>
                  </a:lnTo>
                  <a:lnTo>
                    <a:pt x="627" y="876"/>
                  </a:lnTo>
                  <a:lnTo>
                    <a:pt x="608" y="895"/>
                  </a:lnTo>
                  <a:lnTo>
                    <a:pt x="589" y="914"/>
                  </a:lnTo>
                  <a:lnTo>
                    <a:pt x="571" y="934"/>
                  </a:lnTo>
                  <a:lnTo>
                    <a:pt x="552" y="955"/>
                  </a:lnTo>
                  <a:lnTo>
                    <a:pt x="535" y="976"/>
                  </a:lnTo>
                  <a:lnTo>
                    <a:pt x="519" y="999"/>
                  </a:lnTo>
                  <a:lnTo>
                    <a:pt x="500" y="1028"/>
                  </a:lnTo>
                  <a:lnTo>
                    <a:pt x="483" y="1062"/>
                  </a:lnTo>
                  <a:lnTo>
                    <a:pt x="465" y="1096"/>
                  </a:lnTo>
                  <a:lnTo>
                    <a:pt x="448" y="1134"/>
                  </a:lnTo>
                  <a:lnTo>
                    <a:pt x="431" y="1171"/>
                  </a:lnTo>
                  <a:lnTo>
                    <a:pt x="412" y="1208"/>
                  </a:lnTo>
                  <a:lnTo>
                    <a:pt x="393" y="1243"/>
                  </a:lnTo>
                  <a:lnTo>
                    <a:pt x="373" y="1276"/>
                  </a:lnTo>
                  <a:lnTo>
                    <a:pt x="343" y="1324"/>
                  </a:lnTo>
                  <a:lnTo>
                    <a:pt x="314" y="1368"/>
                  </a:lnTo>
                  <a:lnTo>
                    <a:pt x="287" y="1407"/>
                  </a:lnTo>
                  <a:lnTo>
                    <a:pt x="264" y="1440"/>
                  </a:lnTo>
                  <a:lnTo>
                    <a:pt x="255" y="1456"/>
                  </a:lnTo>
                  <a:lnTo>
                    <a:pt x="248" y="1469"/>
                  </a:lnTo>
                  <a:lnTo>
                    <a:pt x="242" y="1483"/>
                  </a:lnTo>
                  <a:lnTo>
                    <a:pt x="238" y="1493"/>
                  </a:lnTo>
                  <a:lnTo>
                    <a:pt x="235" y="1503"/>
                  </a:lnTo>
                  <a:lnTo>
                    <a:pt x="235" y="1511"/>
                  </a:lnTo>
                  <a:lnTo>
                    <a:pt x="236" y="1515"/>
                  </a:lnTo>
                  <a:lnTo>
                    <a:pt x="238" y="1519"/>
                  </a:lnTo>
                  <a:lnTo>
                    <a:pt x="239" y="1521"/>
                  </a:lnTo>
                  <a:lnTo>
                    <a:pt x="242" y="1523"/>
                  </a:lnTo>
                  <a:lnTo>
                    <a:pt x="259" y="1536"/>
                  </a:lnTo>
                  <a:lnTo>
                    <a:pt x="274" y="1545"/>
                  </a:lnTo>
                  <a:lnTo>
                    <a:pt x="287" y="1553"/>
                  </a:lnTo>
                  <a:lnTo>
                    <a:pt x="299" y="1560"/>
                  </a:lnTo>
                  <a:lnTo>
                    <a:pt x="310" y="1564"/>
                  </a:lnTo>
                  <a:lnTo>
                    <a:pt x="319" y="1567"/>
                  </a:lnTo>
                  <a:lnTo>
                    <a:pt x="328" y="1569"/>
                  </a:lnTo>
                  <a:lnTo>
                    <a:pt x="338" y="1569"/>
                  </a:lnTo>
                  <a:lnTo>
                    <a:pt x="355" y="1571"/>
                  </a:lnTo>
                  <a:lnTo>
                    <a:pt x="375" y="1569"/>
                  </a:lnTo>
                  <a:lnTo>
                    <a:pt x="397" y="1569"/>
                  </a:lnTo>
                  <a:lnTo>
                    <a:pt x="428" y="1572"/>
                  </a:lnTo>
                  <a:lnTo>
                    <a:pt x="435" y="1568"/>
                  </a:lnTo>
                  <a:lnTo>
                    <a:pt x="441" y="1565"/>
                  </a:lnTo>
                  <a:lnTo>
                    <a:pt x="448" y="1564"/>
                  </a:lnTo>
                  <a:lnTo>
                    <a:pt x="455" y="1563"/>
                  </a:lnTo>
                  <a:lnTo>
                    <a:pt x="460" y="1564"/>
                  </a:lnTo>
                  <a:lnTo>
                    <a:pt x="465" y="1564"/>
                  </a:lnTo>
                  <a:lnTo>
                    <a:pt x="471" y="1565"/>
                  </a:lnTo>
                  <a:lnTo>
                    <a:pt x="475" y="1568"/>
                  </a:lnTo>
                  <a:lnTo>
                    <a:pt x="484" y="1573"/>
                  </a:lnTo>
                  <a:lnTo>
                    <a:pt x="491" y="1581"/>
                  </a:lnTo>
                  <a:lnTo>
                    <a:pt x="497" y="1591"/>
                  </a:lnTo>
                  <a:lnTo>
                    <a:pt x="503" y="1601"/>
                  </a:lnTo>
                  <a:lnTo>
                    <a:pt x="511" y="1623"/>
                  </a:lnTo>
                  <a:lnTo>
                    <a:pt x="515" y="1641"/>
                  </a:lnTo>
                  <a:lnTo>
                    <a:pt x="517" y="1656"/>
                  </a:lnTo>
                  <a:lnTo>
                    <a:pt x="519" y="1661"/>
                  </a:lnTo>
                  <a:lnTo>
                    <a:pt x="512" y="1668"/>
                  </a:lnTo>
                  <a:lnTo>
                    <a:pt x="508" y="1675"/>
                  </a:lnTo>
                  <a:lnTo>
                    <a:pt x="505" y="1683"/>
                  </a:lnTo>
                  <a:lnTo>
                    <a:pt x="503" y="1689"/>
                  </a:lnTo>
                  <a:lnTo>
                    <a:pt x="499" y="1705"/>
                  </a:lnTo>
                  <a:lnTo>
                    <a:pt x="495" y="1719"/>
                  </a:lnTo>
                  <a:lnTo>
                    <a:pt x="491" y="1724"/>
                  </a:lnTo>
                  <a:lnTo>
                    <a:pt x="484" y="1728"/>
                  </a:lnTo>
                  <a:lnTo>
                    <a:pt x="477" y="1731"/>
                  </a:lnTo>
                  <a:lnTo>
                    <a:pt x="468" y="1732"/>
                  </a:lnTo>
                  <a:lnTo>
                    <a:pt x="455" y="1732"/>
                  </a:lnTo>
                  <a:lnTo>
                    <a:pt x="440" y="1729"/>
                  </a:lnTo>
                  <a:lnTo>
                    <a:pt x="420" y="1724"/>
                  </a:lnTo>
                  <a:lnTo>
                    <a:pt x="397" y="1716"/>
                  </a:lnTo>
                  <a:lnTo>
                    <a:pt x="388" y="1729"/>
                  </a:lnTo>
                  <a:lnTo>
                    <a:pt x="379" y="1741"/>
                  </a:lnTo>
                  <a:lnTo>
                    <a:pt x="370" y="1751"/>
                  </a:lnTo>
                  <a:lnTo>
                    <a:pt x="359" y="1757"/>
                  </a:lnTo>
                  <a:lnTo>
                    <a:pt x="348" y="1764"/>
                  </a:lnTo>
                  <a:lnTo>
                    <a:pt x="338" y="1768"/>
                  </a:lnTo>
                  <a:lnTo>
                    <a:pt x="326" y="1769"/>
                  </a:lnTo>
                  <a:lnTo>
                    <a:pt x="315" y="1771"/>
                  </a:lnTo>
                  <a:lnTo>
                    <a:pt x="303" y="1769"/>
                  </a:lnTo>
                  <a:lnTo>
                    <a:pt x="291" y="1768"/>
                  </a:lnTo>
                  <a:lnTo>
                    <a:pt x="279" y="1764"/>
                  </a:lnTo>
                  <a:lnTo>
                    <a:pt x="267" y="1760"/>
                  </a:lnTo>
                  <a:lnTo>
                    <a:pt x="242" y="1749"/>
                  </a:lnTo>
                  <a:lnTo>
                    <a:pt x="218" y="1735"/>
                  </a:lnTo>
                  <a:lnTo>
                    <a:pt x="208" y="1731"/>
                  </a:lnTo>
                  <a:lnTo>
                    <a:pt x="202" y="1729"/>
                  </a:lnTo>
                  <a:lnTo>
                    <a:pt x="199" y="1731"/>
                  </a:lnTo>
                  <a:lnTo>
                    <a:pt x="198" y="1732"/>
                  </a:lnTo>
                  <a:lnTo>
                    <a:pt x="196" y="1735"/>
                  </a:lnTo>
                  <a:lnTo>
                    <a:pt x="195" y="1739"/>
                  </a:lnTo>
                  <a:lnTo>
                    <a:pt x="194" y="1747"/>
                  </a:lnTo>
                  <a:lnTo>
                    <a:pt x="194" y="1756"/>
                  </a:lnTo>
                  <a:lnTo>
                    <a:pt x="195" y="1769"/>
                  </a:lnTo>
                  <a:lnTo>
                    <a:pt x="196" y="1783"/>
                  </a:lnTo>
                  <a:lnTo>
                    <a:pt x="200" y="1816"/>
                  </a:lnTo>
                  <a:lnTo>
                    <a:pt x="202" y="1852"/>
                  </a:lnTo>
                  <a:lnTo>
                    <a:pt x="202" y="1871"/>
                  </a:lnTo>
                  <a:lnTo>
                    <a:pt x="200" y="1889"/>
                  </a:lnTo>
                  <a:lnTo>
                    <a:pt x="198" y="1908"/>
                  </a:lnTo>
                  <a:lnTo>
                    <a:pt x="194" y="1927"/>
                  </a:lnTo>
                  <a:lnTo>
                    <a:pt x="190" y="1936"/>
                  </a:lnTo>
                  <a:lnTo>
                    <a:pt x="186" y="1945"/>
                  </a:lnTo>
                  <a:lnTo>
                    <a:pt x="182" y="1953"/>
                  </a:lnTo>
                  <a:lnTo>
                    <a:pt x="176" y="1963"/>
                  </a:lnTo>
                  <a:lnTo>
                    <a:pt x="164" y="1977"/>
                  </a:lnTo>
                  <a:lnTo>
                    <a:pt x="151" y="1992"/>
                  </a:lnTo>
                  <a:lnTo>
                    <a:pt x="119" y="2020"/>
                  </a:lnTo>
                  <a:lnTo>
                    <a:pt x="86" y="2046"/>
                  </a:lnTo>
                  <a:lnTo>
                    <a:pt x="70" y="2061"/>
                  </a:lnTo>
                  <a:lnTo>
                    <a:pt x="54" y="2076"/>
                  </a:lnTo>
                  <a:lnTo>
                    <a:pt x="39" y="2092"/>
                  </a:lnTo>
                  <a:lnTo>
                    <a:pt x="27" y="2109"/>
                  </a:lnTo>
                  <a:lnTo>
                    <a:pt x="20" y="2118"/>
                  </a:lnTo>
                  <a:lnTo>
                    <a:pt x="16" y="2128"/>
                  </a:lnTo>
                  <a:lnTo>
                    <a:pt x="11" y="2138"/>
                  </a:lnTo>
                  <a:lnTo>
                    <a:pt x="7" y="2149"/>
                  </a:lnTo>
                  <a:lnTo>
                    <a:pt x="4" y="2160"/>
                  </a:lnTo>
                  <a:lnTo>
                    <a:pt x="2" y="2172"/>
                  </a:lnTo>
                  <a:lnTo>
                    <a:pt x="0" y="2185"/>
                  </a:lnTo>
                  <a:lnTo>
                    <a:pt x="0" y="2198"/>
                  </a:lnTo>
                  <a:lnTo>
                    <a:pt x="0" y="2204"/>
                  </a:lnTo>
                  <a:lnTo>
                    <a:pt x="2" y="2210"/>
                  </a:lnTo>
                  <a:lnTo>
                    <a:pt x="3" y="2218"/>
                  </a:lnTo>
                  <a:lnTo>
                    <a:pt x="7" y="2228"/>
                  </a:lnTo>
                  <a:lnTo>
                    <a:pt x="16" y="2226"/>
                  </a:lnTo>
                  <a:lnTo>
                    <a:pt x="26" y="2226"/>
                  </a:lnTo>
                  <a:lnTo>
                    <a:pt x="32" y="2228"/>
                  </a:lnTo>
                  <a:lnTo>
                    <a:pt x="38" y="2229"/>
                  </a:lnTo>
                  <a:lnTo>
                    <a:pt x="46" y="2232"/>
                  </a:lnTo>
                  <a:lnTo>
                    <a:pt x="55" y="2234"/>
                  </a:lnTo>
                  <a:lnTo>
                    <a:pt x="68" y="2234"/>
                  </a:lnTo>
                  <a:lnTo>
                    <a:pt x="83" y="2237"/>
                  </a:lnTo>
                  <a:lnTo>
                    <a:pt x="99" y="2241"/>
                  </a:lnTo>
                  <a:lnTo>
                    <a:pt x="115" y="2248"/>
                  </a:lnTo>
                  <a:lnTo>
                    <a:pt x="132" y="2254"/>
                  </a:lnTo>
                  <a:lnTo>
                    <a:pt x="151" y="2262"/>
                  </a:lnTo>
                  <a:lnTo>
                    <a:pt x="168" y="2272"/>
                  </a:lnTo>
                  <a:lnTo>
                    <a:pt x="184" y="2282"/>
                  </a:lnTo>
                  <a:lnTo>
                    <a:pt x="202" y="2293"/>
                  </a:lnTo>
                  <a:lnTo>
                    <a:pt x="216" y="2305"/>
                  </a:lnTo>
                  <a:lnTo>
                    <a:pt x="230" y="2317"/>
                  </a:lnTo>
                  <a:lnTo>
                    <a:pt x="242" y="2330"/>
                  </a:lnTo>
                  <a:lnTo>
                    <a:pt x="252" y="2344"/>
                  </a:lnTo>
                  <a:lnTo>
                    <a:pt x="259" y="2357"/>
                  </a:lnTo>
                  <a:lnTo>
                    <a:pt x="262" y="2364"/>
                  </a:lnTo>
                  <a:lnTo>
                    <a:pt x="264" y="2370"/>
                  </a:lnTo>
                  <a:lnTo>
                    <a:pt x="266" y="2377"/>
                  </a:lnTo>
                  <a:lnTo>
                    <a:pt x="266" y="2385"/>
                  </a:lnTo>
                  <a:lnTo>
                    <a:pt x="266" y="2396"/>
                  </a:lnTo>
                  <a:lnTo>
                    <a:pt x="264" y="2405"/>
                  </a:lnTo>
                  <a:lnTo>
                    <a:pt x="262" y="2413"/>
                  </a:lnTo>
                  <a:lnTo>
                    <a:pt x="260" y="2420"/>
                  </a:lnTo>
                  <a:lnTo>
                    <a:pt x="254" y="2432"/>
                  </a:lnTo>
                  <a:lnTo>
                    <a:pt x="247" y="2441"/>
                  </a:lnTo>
                  <a:lnTo>
                    <a:pt x="239" y="2449"/>
                  </a:lnTo>
                  <a:lnTo>
                    <a:pt x="232" y="2457"/>
                  </a:lnTo>
                  <a:lnTo>
                    <a:pt x="227" y="2465"/>
                  </a:lnTo>
                  <a:lnTo>
                    <a:pt x="223" y="2474"/>
                  </a:lnTo>
                  <a:lnTo>
                    <a:pt x="220" y="2484"/>
                  </a:lnTo>
                  <a:lnTo>
                    <a:pt x="219" y="2492"/>
                  </a:lnTo>
                  <a:lnTo>
                    <a:pt x="219" y="2500"/>
                  </a:lnTo>
                  <a:lnTo>
                    <a:pt x="222" y="2508"/>
                  </a:lnTo>
                  <a:lnTo>
                    <a:pt x="223" y="2516"/>
                  </a:lnTo>
                  <a:lnTo>
                    <a:pt x="224" y="2524"/>
                  </a:lnTo>
                  <a:lnTo>
                    <a:pt x="224" y="2532"/>
                  </a:lnTo>
                  <a:lnTo>
                    <a:pt x="223" y="2541"/>
                  </a:lnTo>
                  <a:lnTo>
                    <a:pt x="218" y="2554"/>
                  </a:lnTo>
                  <a:lnTo>
                    <a:pt x="212" y="2566"/>
                  </a:lnTo>
                  <a:lnTo>
                    <a:pt x="206" y="2578"/>
                  </a:lnTo>
                  <a:lnTo>
                    <a:pt x="198" y="2590"/>
                  </a:lnTo>
                  <a:lnTo>
                    <a:pt x="182" y="2611"/>
                  </a:lnTo>
                  <a:lnTo>
                    <a:pt x="166" y="2633"/>
                  </a:lnTo>
                  <a:lnTo>
                    <a:pt x="159" y="2643"/>
                  </a:lnTo>
                  <a:lnTo>
                    <a:pt x="151" y="2654"/>
                  </a:lnTo>
                  <a:lnTo>
                    <a:pt x="144" y="2666"/>
                  </a:lnTo>
                  <a:lnTo>
                    <a:pt x="139" y="2678"/>
                  </a:lnTo>
                  <a:lnTo>
                    <a:pt x="134" y="2690"/>
                  </a:lnTo>
                  <a:lnTo>
                    <a:pt x="130" y="2703"/>
                  </a:lnTo>
                  <a:lnTo>
                    <a:pt x="128" y="2718"/>
                  </a:lnTo>
                  <a:lnTo>
                    <a:pt x="127" y="2734"/>
                  </a:lnTo>
                  <a:lnTo>
                    <a:pt x="127" y="2742"/>
                  </a:lnTo>
                  <a:lnTo>
                    <a:pt x="128" y="2750"/>
                  </a:lnTo>
                  <a:lnTo>
                    <a:pt x="130" y="2757"/>
                  </a:lnTo>
                  <a:lnTo>
                    <a:pt x="131" y="2762"/>
                  </a:lnTo>
                  <a:lnTo>
                    <a:pt x="134" y="2767"/>
                  </a:lnTo>
                  <a:lnTo>
                    <a:pt x="136" y="2771"/>
                  </a:lnTo>
                  <a:lnTo>
                    <a:pt x="140" y="2775"/>
                  </a:lnTo>
                  <a:lnTo>
                    <a:pt x="144" y="2778"/>
                  </a:lnTo>
                  <a:lnTo>
                    <a:pt x="154" y="2782"/>
                  </a:lnTo>
                  <a:lnTo>
                    <a:pt x="166" y="2783"/>
                  </a:lnTo>
                  <a:lnTo>
                    <a:pt x="178" y="2783"/>
                  </a:lnTo>
                  <a:lnTo>
                    <a:pt x="194" y="2782"/>
                  </a:lnTo>
                  <a:lnTo>
                    <a:pt x="196" y="2790"/>
                  </a:lnTo>
                  <a:lnTo>
                    <a:pt x="199" y="2799"/>
                  </a:lnTo>
                  <a:lnTo>
                    <a:pt x="200" y="2806"/>
                  </a:lnTo>
                  <a:lnTo>
                    <a:pt x="200" y="2814"/>
                  </a:lnTo>
                  <a:lnTo>
                    <a:pt x="200" y="2829"/>
                  </a:lnTo>
                  <a:lnTo>
                    <a:pt x="199" y="2842"/>
                  </a:lnTo>
                  <a:lnTo>
                    <a:pt x="200" y="2846"/>
                  </a:lnTo>
                  <a:lnTo>
                    <a:pt x="202" y="2849"/>
                  </a:lnTo>
                  <a:lnTo>
                    <a:pt x="203" y="2853"/>
                  </a:lnTo>
                  <a:lnTo>
                    <a:pt x="207" y="2857"/>
                  </a:lnTo>
                  <a:lnTo>
                    <a:pt x="215" y="2865"/>
                  </a:lnTo>
                  <a:lnTo>
                    <a:pt x="227" y="2873"/>
                  </a:lnTo>
                  <a:lnTo>
                    <a:pt x="240" y="2879"/>
                  </a:lnTo>
                  <a:lnTo>
                    <a:pt x="255" y="2885"/>
                  </a:lnTo>
                  <a:lnTo>
                    <a:pt x="272" y="2889"/>
                  </a:lnTo>
                  <a:lnTo>
                    <a:pt x="290" y="2890"/>
                  </a:lnTo>
                  <a:lnTo>
                    <a:pt x="300" y="2890"/>
                  </a:lnTo>
                  <a:lnTo>
                    <a:pt x="311" y="2887"/>
                  </a:lnTo>
                  <a:lnTo>
                    <a:pt x="322" y="2885"/>
                  </a:lnTo>
                  <a:lnTo>
                    <a:pt x="332" y="2881"/>
                  </a:lnTo>
                  <a:lnTo>
                    <a:pt x="342" y="2878"/>
                  </a:lnTo>
                  <a:lnTo>
                    <a:pt x="352" y="2875"/>
                  </a:lnTo>
                  <a:lnTo>
                    <a:pt x="363" y="2873"/>
                  </a:lnTo>
                  <a:lnTo>
                    <a:pt x="373" y="2873"/>
                  </a:lnTo>
                  <a:lnTo>
                    <a:pt x="391" y="2873"/>
                  </a:lnTo>
                  <a:lnTo>
                    <a:pt x="404" y="2877"/>
                  </a:lnTo>
                  <a:lnTo>
                    <a:pt x="415" y="2882"/>
                  </a:lnTo>
                  <a:lnTo>
                    <a:pt x="424" y="2889"/>
                  </a:lnTo>
                  <a:lnTo>
                    <a:pt x="431" y="2895"/>
                  </a:lnTo>
                  <a:lnTo>
                    <a:pt x="436" y="2905"/>
                  </a:lnTo>
                  <a:lnTo>
                    <a:pt x="441" y="2914"/>
                  </a:lnTo>
                  <a:lnTo>
                    <a:pt x="445" y="2925"/>
                  </a:lnTo>
                  <a:lnTo>
                    <a:pt x="452" y="2943"/>
                  </a:lnTo>
                  <a:lnTo>
                    <a:pt x="461" y="2961"/>
                  </a:lnTo>
                  <a:lnTo>
                    <a:pt x="467" y="2969"/>
                  </a:lnTo>
                  <a:lnTo>
                    <a:pt x="473" y="2974"/>
                  </a:lnTo>
                  <a:lnTo>
                    <a:pt x="483" y="2978"/>
                  </a:lnTo>
                  <a:lnTo>
                    <a:pt x="495" y="2981"/>
                  </a:lnTo>
                  <a:lnTo>
                    <a:pt x="504" y="2978"/>
                  </a:lnTo>
                  <a:lnTo>
                    <a:pt x="512" y="2975"/>
                  </a:lnTo>
                  <a:lnTo>
                    <a:pt x="519" y="2971"/>
                  </a:lnTo>
                  <a:lnTo>
                    <a:pt x="524" y="2967"/>
                  </a:lnTo>
                  <a:lnTo>
                    <a:pt x="533" y="2959"/>
                  </a:lnTo>
                  <a:lnTo>
                    <a:pt x="548" y="2950"/>
                  </a:lnTo>
                  <a:lnTo>
                    <a:pt x="569" y="2971"/>
                  </a:lnTo>
                  <a:lnTo>
                    <a:pt x="591" y="2995"/>
                  </a:lnTo>
                  <a:lnTo>
                    <a:pt x="603" y="3006"/>
                  </a:lnTo>
                  <a:lnTo>
                    <a:pt x="616" y="3015"/>
                  </a:lnTo>
                  <a:lnTo>
                    <a:pt x="624" y="3018"/>
                  </a:lnTo>
                  <a:lnTo>
                    <a:pt x="632" y="3021"/>
                  </a:lnTo>
                  <a:lnTo>
                    <a:pt x="641" y="3022"/>
                  </a:lnTo>
                  <a:lnTo>
                    <a:pt x="651" y="3022"/>
                  </a:lnTo>
                  <a:lnTo>
                    <a:pt x="663" y="3022"/>
                  </a:lnTo>
                  <a:lnTo>
                    <a:pt x="673" y="3021"/>
                  </a:lnTo>
                  <a:lnTo>
                    <a:pt x="683" y="3019"/>
                  </a:lnTo>
                  <a:lnTo>
                    <a:pt x="691" y="3017"/>
                  </a:lnTo>
                  <a:lnTo>
                    <a:pt x="705" y="3010"/>
                  </a:lnTo>
                  <a:lnTo>
                    <a:pt x="717" y="3002"/>
                  </a:lnTo>
                  <a:lnTo>
                    <a:pt x="728" y="2994"/>
                  </a:lnTo>
                  <a:lnTo>
                    <a:pt x="739" y="2985"/>
                  </a:lnTo>
                  <a:lnTo>
                    <a:pt x="751" y="2975"/>
                  </a:lnTo>
                  <a:lnTo>
                    <a:pt x="765" y="2969"/>
                  </a:lnTo>
                  <a:lnTo>
                    <a:pt x="773" y="2967"/>
                  </a:lnTo>
                  <a:lnTo>
                    <a:pt x="783" y="2967"/>
                  </a:lnTo>
                  <a:lnTo>
                    <a:pt x="791" y="2967"/>
                  </a:lnTo>
                  <a:lnTo>
                    <a:pt x="799" y="2969"/>
                  </a:lnTo>
                  <a:lnTo>
                    <a:pt x="808" y="2970"/>
                  </a:lnTo>
                  <a:lnTo>
                    <a:pt x="817" y="2970"/>
                  </a:lnTo>
                  <a:lnTo>
                    <a:pt x="827" y="2970"/>
                  </a:lnTo>
                  <a:lnTo>
                    <a:pt x="837" y="2969"/>
                  </a:lnTo>
                  <a:lnTo>
                    <a:pt x="843" y="2967"/>
                  </a:lnTo>
                  <a:lnTo>
                    <a:pt x="847" y="2966"/>
                  </a:lnTo>
                  <a:lnTo>
                    <a:pt x="852" y="2963"/>
                  </a:lnTo>
                  <a:lnTo>
                    <a:pt x="859" y="2961"/>
                  </a:lnTo>
                  <a:lnTo>
                    <a:pt x="869" y="2953"/>
                  </a:lnTo>
                  <a:lnTo>
                    <a:pt x="881" y="2943"/>
                  </a:lnTo>
                  <a:lnTo>
                    <a:pt x="901" y="2925"/>
                  </a:lnTo>
                  <a:lnTo>
                    <a:pt x="916" y="2914"/>
                  </a:lnTo>
                  <a:lnTo>
                    <a:pt x="927" y="2907"/>
                  </a:lnTo>
                  <a:lnTo>
                    <a:pt x="937" y="2902"/>
                  </a:lnTo>
                  <a:lnTo>
                    <a:pt x="948" y="2897"/>
                  </a:lnTo>
                  <a:lnTo>
                    <a:pt x="959" y="2894"/>
                  </a:lnTo>
                  <a:lnTo>
                    <a:pt x="977" y="2890"/>
                  </a:lnTo>
                  <a:lnTo>
                    <a:pt x="996" y="2886"/>
                  </a:lnTo>
                  <a:lnTo>
                    <a:pt x="1015" y="2883"/>
                  </a:lnTo>
                  <a:lnTo>
                    <a:pt x="1033" y="2878"/>
                  </a:lnTo>
                  <a:lnTo>
                    <a:pt x="1043" y="2874"/>
                  </a:lnTo>
                  <a:lnTo>
                    <a:pt x="1052" y="2869"/>
                  </a:lnTo>
                  <a:lnTo>
                    <a:pt x="1063" y="2862"/>
                  </a:lnTo>
                  <a:lnTo>
                    <a:pt x="1072" y="2854"/>
                  </a:lnTo>
                  <a:lnTo>
                    <a:pt x="1079" y="2850"/>
                  </a:lnTo>
                  <a:lnTo>
                    <a:pt x="1081" y="2845"/>
                  </a:lnTo>
                  <a:lnTo>
                    <a:pt x="1084" y="2839"/>
                  </a:lnTo>
                  <a:lnTo>
                    <a:pt x="1085" y="2834"/>
                  </a:lnTo>
                  <a:lnTo>
                    <a:pt x="1085" y="2819"/>
                  </a:lnTo>
                  <a:lnTo>
                    <a:pt x="1084" y="2799"/>
                  </a:lnTo>
                  <a:lnTo>
                    <a:pt x="1091" y="2799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accent1">
                  <a:lumMod val="20000"/>
                  <a:lumOff val="8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95" b="0" i="0" u="none" strike="noStrike" kern="1200" cap="none" spc="0" normalizeH="0" baseline="0" noProof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1" name="Freeform 125"/>
            <p:cNvSpPr>
              <a:spLocks/>
            </p:cNvSpPr>
            <p:nvPr/>
          </p:nvSpPr>
          <p:spPr bwMode="auto">
            <a:xfrm>
              <a:off x="5770099" y="2048855"/>
              <a:ext cx="111069" cy="206338"/>
            </a:xfrm>
            <a:custGeom>
              <a:avLst/>
              <a:gdLst>
                <a:gd name="T0" fmla="*/ 1465 w 1545"/>
                <a:gd name="T1" fmla="*/ 2713 h 2865"/>
                <a:gd name="T2" fmla="*/ 1460 w 1545"/>
                <a:gd name="T3" fmla="*/ 2561 h 2865"/>
                <a:gd name="T4" fmla="*/ 1424 w 1545"/>
                <a:gd name="T5" fmla="*/ 2391 h 2865"/>
                <a:gd name="T6" fmla="*/ 1440 w 1545"/>
                <a:gd name="T7" fmla="*/ 2259 h 2865"/>
                <a:gd name="T8" fmla="*/ 1358 w 1545"/>
                <a:gd name="T9" fmla="*/ 2071 h 2865"/>
                <a:gd name="T10" fmla="*/ 1434 w 1545"/>
                <a:gd name="T11" fmla="*/ 1990 h 2865"/>
                <a:gd name="T12" fmla="*/ 1538 w 1545"/>
                <a:gd name="T13" fmla="*/ 1824 h 2865"/>
                <a:gd name="T14" fmla="*/ 1512 w 1545"/>
                <a:gd name="T15" fmla="*/ 1745 h 2865"/>
                <a:gd name="T16" fmla="*/ 1468 w 1545"/>
                <a:gd name="T17" fmla="*/ 1709 h 2865"/>
                <a:gd name="T18" fmla="*/ 1414 w 1545"/>
                <a:gd name="T19" fmla="*/ 1781 h 2865"/>
                <a:gd name="T20" fmla="*/ 1426 w 1545"/>
                <a:gd name="T21" fmla="*/ 1863 h 2865"/>
                <a:gd name="T22" fmla="*/ 1345 w 1545"/>
                <a:gd name="T23" fmla="*/ 1826 h 2865"/>
                <a:gd name="T24" fmla="*/ 1110 w 1545"/>
                <a:gd name="T25" fmla="*/ 1471 h 2865"/>
                <a:gd name="T26" fmla="*/ 1045 w 1545"/>
                <a:gd name="T27" fmla="*/ 1343 h 2865"/>
                <a:gd name="T28" fmla="*/ 1141 w 1545"/>
                <a:gd name="T29" fmla="*/ 1294 h 2865"/>
                <a:gd name="T30" fmla="*/ 1109 w 1545"/>
                <a:gd name="T31" fmla="*/ 1217 h 2865"/>
                <a:gd name="T32" fmla="*/ 1114 w 1545"/>
                <a:gd name="T33" fmla="*/ 1054 h 2865"/>
                <a:gd name="T34" fmla="*/ 1205 w 1545"/>
                <a:gd name="T35" fmla="*/ 1144 h 2865"/>
                <a:gd name="T36" fmla="*/ 1240 w 1545"/>
                <a:gd name="T37" fmla="*/ 1125 h 2865"/>
                <a:gd name="T38" fmla="*/ 1148 w 1545"/>
                <a:gd name="T39" fmla="*/ 972 h 2865"/>
                <a:gd name="T40" fmla="*/ 1164 w 1545"/>
                <a:gd name="T41" fmla="*/ 816 h 2865"/>
                <a:gd name="T42" fmla="*/ 1264 w 1545"/>
                <a:gd name="T43" fmla="*/ 708 h 2865"/>
                <a:gd name="T44" fmla="*/ 1413 w 1545"/>
                <a:gd name="T45" fmla="*/ 688 h 2865"/>
                <a:gd name="T46" fmla="*/ 1329 w 1545"/>
                <a:gd name="T47" fmla="*/ 523 h 2865"/>
                <a:gd name="T48" fmla="*/ 1182 w 1545"/>
                <a:gd name="T49" fmla="*/ 65 h 2865"/>
                <a:gd name="T50" fmla="*/ 1069 w 1545"/>
                <a:gd name="T51" fmla="*/ 30 h 2865"/>
                <a:gd name="T52" fmla="*/ 1008 w 1545"/>
                <a:gd name="T53" fmla="*/ 27 h 2865"/>
                <a:gd name="T54" fmla="*/ 948 w 1545"/>
                <a:gd name="T55" fmla="*/ 249 h 2865"/>
                <a:gd name="T56" fmla="*/ 938 w 1545"/>
                <a:gd name="T57" fmla="*/ 381 h 2865"/>
                <a:gd name="T58" fmla="*/ 862 w 1545"/>
                <a:gd name="T59" fmla="*/ 433 h 2865"/>
                <a:gd name="T60" fmla="*/ 679 w 1545"/>
                <a:gd name="T61" fmla="*/ 497 h 2865"/>
                <a:gd name="T62" fmla="*/ 615 w 1545"/>
                <a:gd name="T63" fmla="*/ 504 h 2865"/>
                <a:gd name="T64" fmla="*/ 572 w 1545"/>
                <a:gd name="T65" fmla="*/ 392 h 2865"/>
                <a:gd name="T66" fmla="*/ 519 w 1545"/>
                <a:gd name="T67" fmla="*/ 339 h 2865"/>
                <a:gd name="T68" fmla="*/ 416 w 1545"/>
                <a:gd name="T69" fmla="*/ 403 h 2865"/>
                <a:gd name="T70" fmla="*/ 261 w 1545"/>
                <a:gd name="T71" fmla="*/ 489 h 2865"/>
                <a:gd name="T72" fmla="*/ 128 w 1545"/>
                <a:gd name="T73" fmla="*/ 628 h 2865"/>
                <a:gd name="T74" fmla="*/ 87 w 1545"/>
                <a:gd name="T75" fmla="*/ 710 h 2865"/>
                <a:gd name="T76" fmla="*/ 20 w 1545"/>
                <a:gd name="T77" fmla="*/ 748 h 2865"/>
                <a:gd name="T78" fmla="*/ 2 w 1545"/>
                <a:gd name="T79" fmla="*/ 842 h 2865"/>
                <a:gd name="T80" fmla="*/ 72 w 1545"/>
                <a:gd name="T81" fmla="*/ 870 h 2865"/>
                <a:gd name="T82" fmla="*/ 105 w 1545"/>
                <a:gd name="T83" fmla="*/ 957 h 2865"/>
                <a:gd name="T84" fmla="*/ 153 w 1545"/>
                <a:gd name="T85" fmla="*/ 992 h 2865"/>
                <a:gd name="T86" fmla="*/ 319 w 1545"/>
                <a:gd name="T87" fmla="*/ 1144 h 2865"/>
                <a:gd name="T88" fmla="*/ 464 w 1545"/>
                <a:gd name="T89" fmla="*/ 1189 h 2865"/>
                <a:gd name="T90" fmla="*/ 504 w 1545"/>
                <a:gd name="T91" fmla="*/ 1287 h 2865"/>
                <a:gd name="T92" fmla="*/ 552 w 1545"/>
                <a:gd name="T93" fmla="*/ 1270 h 2865"/>
                <a:gd name="T94" fmla="*/ 603 w 1545"/>
                <a:gd name="T95" fmla="*/ 1305 h 2865"/>
                <a:gd name="T96" fmla="*/ 604 w 1545"/>
                <a:gd name="T97" fmla="*/ 1202 h 2865"/>
                <a:gd name="T98" fmla="*/ 473 w 1545"/>
                <a:gd name="T99" fmla="*/ 1070 h 2865"/>
                <a:gd name="T100" fmla="*/ 556 w 1545"/>
                <a:gd name="T101" fmla="*/ 924 h 2865"/>
                <a:gd name="T102" fmla="*/ 601 w 1545"/>
                <a:gd name="T103" fmla="*/ 926 h 2865"/>
                <a:gd name="T104" fmla="*/ 596 w 1545"/>
                <a:gd name="T105" fmla="*/ 1088 h 2865"/>
                <a:gd name="T106" fmla="*/ 728 w 1545"/>
                <a:gd name="T107" fmla="*/ 1205 h 2865"/>
                <a:gd name="T108" fmla="*/ 838 w 1545"/>
                <a:gd name="T109" fmla="*/ 1341 h 2865"/>
                <a:gd name="T110" fmla="*/ 880 w 1545"/>
                <a:gd name="T111" fmla="*/ 1669 h 2865"/>
                <a:gd name="T112" fmla="*/ 1020 w 1545"/>
                <a:gd name="T113" fmla="*/ 2042 h 2865"/>
                <a:gd name="T114" fmla="*/ 1068 w 1545"/>
                <a:gd name="T115" fmla="*/ 2272 h 2865"/>
                <a:gd name="T116" fmla="*/ 1038 w 1545"/>
                <a:gd name="T117" fmla="*/ 2417 h 2865"/>
                <a:gd name="T118" fmla="*/ 1120 w 1545"/>
                <a:gd name="T119" fmla="*/ 2504 h 2865"/>
                <a:gd name="T120" fmla="*/ 1166 w 1545"/>
                <a:gd name="T121" fmla="*/ 2631 h 2865"/>
                <a:gd name="T122" fmla="*/ 1234 w 1545"/>
                <a:gd name="T123" fmla="*/ 2777 h 286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545"/>
                <a:gd name="T187" fmla="*/ 0 h 2865"/>
                <a:gd name="T188" fmla="*/ 1545 w 1545"/>
                <a:gd name="T189" fmla="*/ 2865 h 2865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545" h="2865">
                  <a:moveTo>
                    <a:pt x="1352" y="2848"/>
                  </a:moveTo>
                  <a:lnTo>
                    <a:pt x="1370" y="2832"/>
                  </a:lnTo>
                  <a:lnTo>
                    <a:pt x="1390" y="2812"/>
                  </a:lnTo>
                  <a:lnTo>
                    <a:pt x="1410" y="2791"/>
                  </a:lnTo>
                  <a:lnTo>
                    <a:pt x="1432" y="2765"/>
                  </a:lnTo>
                  <a:lnTo>
                    <a:pt x="1441" y="2753"/>
                  </a:lnTo>
                  <a:lnTo>
                    <a:pt x="1450" y="2740"/>
                  </a:lnTo>
                  <a:lnTo>
                    <a:pt x="1458" y="2727"/>
                  </a:lnTo>
                  <a:lnTo>
                    <a:pt x="1465" y="2713"/>
                  </a:lnTo>
                  <a:lnTo>
                    <a:pt x="1470" y="2700"/>
                  </a:lnTo>
                  <a:lnTo>
                    <a:pt x="1474" y="2687"/>
                  </a:lnTo>
                  <a:lnTo>
                    <a:pt x="1478" y="2673"/>
                  </a:lnTo>
                  <a:lnTo>
                    <a:pt x="1478" y="2661"/>
                  </a:lnTo>
                  <a:lnTo>
                    <a:pt x="1478" y="2641"/>
                  </a:lnTo>
                  <a:lnTo>
                    <a:pt x="1476" y="2623"/>
                  </a:lnTo>
                  <a:lnTo>
                    <a:pt x="1473" y="2607"/>
                  </a:lnTo>
                  <a:lnTo>
                    <a:pt x="1469" y="2591"/>
                  </a:lnTo>
                  <a:lnTo>
                    <a:pt x="1460" y="2561"/>
                  </a:lnTo>
                  <a:lnTo>
                    <a:pt x="1449" y="2533"/>
                  </a:lnTo>
                  <a:lnTo>
                    <a:pt x="1437" y="2508"/>
                  </a:lnTo>
                  <a:lnTo>
                    <a:pt x="1428" y="2480"/>
                  </a:lnTo>
                  <a:lnTo>
                    <a:pt x="1424" y="2467"/>
                  </a:lnTo>
                  <a:lnTo>
                    <a:pt x="1421" y="2452"/>
                  </a:lnTo>
                  <a:lnTo>
                    <a:pt x="1420" y="2436"/>
                  </a:lnTo>
                  <a:lnTo>
                    <a:pt x="1418" y="2420"/>
                  </a:lnTo>
                  <a:lnTo>
                    <a:pt x="1420" y="2405"/>
                  </a:lnTo>
                  <a:lnTo>
                    <a:pt x="1424" y="2391"/>
                  </a:lnTo>
                  <a:lnTo>
                    <a:pt x="1428" y="2376"/>
                  </a:lnTo>
                  <a:lnTo>
                    <a:pt x="1433" y="2363"/>
                  </a:lnTo>
                  <a:lnTo>
                    <a:pt x="1440" y="2348"/>
                  </a:lnTo>
                  <a:lnTo>
                    <a:pt x="1444" y="2334"/>
                  </a:lnTo>
                  <a:lnTo>
                    <a:pt x="1448" y="2318"/>
                  </a:lnTo>
                  <a:lnTo>
                    <a:pt x="1449" y="2300"/>
                  </a:lnTo>
                  <a:lnTo>
                    <a:pt x="1448" y="2287"/>
                  </a:lnTo>
                  <a:lnTo>
                    <a:pt x="1445" y="2272"/>
                  </a:lnTo>
                  <a:lnTo>
                    <a:pt x="1440" y="2259"/>
                  </a:lnTo>
                  <a:lnTo>
                    <a:pt x="1434" y="2246"/>
                  </a:lnTo>
                  <a:lnTo>
                    <a:pt x="1420" y="2219"/>
                  </a:lnTo>
                  <a:lnTo>
                    <a:pt x="1404" y="2192"/>
                  </a:lnTo>
                  <a:lnTo>
                    <a:pt x="1386" y="2164"/>
                  </a:lnTo>
                  <a:lnTo>
                    <a:pt x="1373" y="2135"/>
                  </a:lnTo>
                  <a:lnTo>
                    <a:pt x="1366" y="2119"/>
                  </a:lnTo>
                  <a:lnTo>
                    <a:pt x="1362" y="2104"/>
                  </a:lnTo>
                  <a:lnTo>
                    <a:pt x="1360" y="2087"/>
                  </a:lnTo>
                  <a:lnTo>
                    <a:pt x="1358" y="2071"/>
                  </a:lnTo>
                  <a:lnTo>
                    <a:pt x="1360" y="2062"/>
                  </a:lnTo>
                  <a:lnTo>
                    <a:pt x="1361" y="2052"/>
                  </a:lnTo>
                  <a:lnTo>
                    <a:pt x="1365" y="2044"/>
                  </a:lnTo>
                  <a:lnTo>
                    <a:pt x="1370" y="2036"/>
                  </a:lnTo>
                  <a:lnTo>
                    <a:pt x="1376" y="2030"/>
                  </a:lnTo>
                  <a:lnTo>
                    <a:pt x="1382" y="2023"/>
                  </a:lnTo>
                  <a:lnTo>
                    <a:pt x="1390" y="2016"/>
                  </a:lnTo>
                  <a:lnTo>
                    <a:pt x="1398" y="2011"/>
                  </a:lnTo>
                  <a:lnTo>
                    <a:pt x="1434" y="1990"/>
                  </a:lnTo>
                  <a:lnTo>
                    <a:pt x="1466" y="1968"/>
                  </a:lnTo>
                  <a:lnTo>
                    <a:pt x="1474" y="1963"/>
                  </a:lnTo>
                  <a:lnTo>
                    <a:pt x="1481" y="1956"/>
                  </a:lnTo>
                  <a:lnTo>
                    <a:pt x="1488" y="1948"/>
                  </a:lnTo>
                  <a:lnTo>
                    <a:pt x="1493" y="1940"/>
                  </a:lnTo>
                  <a:lnTo>
                    <a:pt x="1504" y="1924"/>
                  </a:lnTo>
                  <a:lnTo>
                    <a:pt x="1512" y="1906"/>
                  </a:lnTo>
                  <a:lnTo>
                    <a:pt x="1526" y="1866"/>
                  </a:lnTo>
                  <a:lnTo>
                    <a:pt x="1538" y="1824"/>
                  </a:lnTo>
                  <a:lnTo>
                    <a:pt x="1545" y="1830"/>
                  </a:lnTo>
                  <a:lnTo>
                    <a:pt x="1538" y="1824"/>
                  </a:lnTo>
                  <a:lnTo>
                    <a:pt x="1534" y="1816"/>
                  </a:lnTo>
                  <a:lnTo>
                    <a:pt x="1530" y="1808"/>
                  </a:lnTo>
                  <a:lnTo>
                    <a:pt x="1526" y="1798"/>
                  </a:lnTo>
                  <a:lnTo>
                    <a:pt x="1521" y="1787"/>
                  </a:lnTo>
                  <a:lnTo>
                    <a:pt x="1518" y="1775"/>
                  </a:lnTo>
                  <a:lnTo>
                    <a:pt x="1514" y="1761"/>
                  </a:lnTo>
                  <a:lnTo>
                    <a:pt x="1512" y="1745"/>
                  </a:lnTo>
                  <a:lnTo>
                    <a:pt x="1509" y="1727"/>
                  </a:lnTo>
                  <a:lnTo>
                    <a:pt x="1506" y="1726"/>
                  </a:lnTo>
                  <a:lnTo>
                    <a:pt x="1501" y="1719"/>
                  </a:lnTo>
                  <a:lnTo>
                    <a:pt x="1497" y="1717"/>
                  </a:lnTo>
                  <a:lnTo>
                    <a:pt x="1493" y="1714"/>
                  </a:lnTo>
                  <a:lnTo>
                    <a:pt x="1488" y="1711"/>
                  </a:lnTo>
                  <a:lnTo>
                    <a:pt x="1482" y="1709"/>
                  </a:lnTo>
                  <a:lnTo>
                    <a:pt x="1476" y="1709"/>
                  </a:lnTo>
                  <a:lnTo>
                    <a:pt x="1468" y="1709"/>
                  </a:lnTo>
                  <a:lnTo>
                    <a:pt x="1461" y="1711"/>
                  </a:lnTo>
                  <a:lnTo>
                    <a:pt x="1453" y="1715"/>
                  </a:lnTo>
                  <a:lnTo>
                    <a:pt x="1445" y="1722"/>
                  </a:lnTo>
                  <a:lnTo>
                    <a:pt x="1436" y="1731"/>
                  </a:lnTo>
                  <a:lnTo>
                    <a:pt x="1428" y="1743"/>
                  </a:lnTo>
                  <a:lnTo>
                    <a:pt x="1418" y="1758"/>
                  </a:lnTo>
                  <a:lnTo>
                    <a:pt x="1416" y="1765"/>
                  </a:lnTo>
                  <a:lnTo>
                    <a:pt x="1414" y="1771"/>
                  </a:lnTo>
                  <a:lnTo>
                    <a:pt x="1414" y="1781"/>
                  </a:lnTo>
                  <a:lnTo>
                    <a:pt x="1417" y="1790"/>
                  </a:lnTo>
                  <a:lnTo>
                    <a:pt x="1422" y="1808"/>
                  </a:lnTo>
                  <a:lnTo>
                    <a:pt x="1429" y="1828"/>
                  </a:lnTo>
                  <a:lnTo>
                    <a:pt x="1432" y="1836"/>
                  </a:lnTo>
                  <a:lnTo>
                    <a:pt x="1433" y="1846"/>
                  </a:lnTo>
                  <a:lnTo>
                    <a:pt x="1433" y="1852"/>
                  </a:lnTo>
                  <a:lnTo>
                    <a:pt x="1430" y="1859"/>
                  </a:lnTo>
                  <a:lnTo>
                    <a:pt x="1429" y="1862"/>
                  </a:lnTo>
                  <a:lnTo>
                    <a:pt x="1426" y="1863"/>
                  </a:lnTo>
                  <a:lnTo>
                    <a:pt x="1422" y="1864"/>
                  </a:lnTo>
                  <a:lnTo>
                    <a:pt x="1418" y="1866"/>
                  </a:lnTo>
                  <a:lnTo>
                    <a:pt x="1408" y="1867"/>
                  </a:lnTo>
                  <a:lnTo>
                    <a:pt x="1394" y="1866"/>
                  </a:lnTo>
                  <a:lnTo>
                    <a:pt x="1386" y="1863"/>
                  </a:lnTo>
                  <a:lnTo>
                    <a:pt x="1378" y="1859"/>
                  </a:lnTo>
                  <a:lnTo>
                    <a:pt x="1370" y="1852"/>
                  </a:lnTo>
                  <a:lnTo>
                    <a:pt x="1362" y="1844"/>
                  </a:lnTo>
                  <a:lnTo>
                    <a:pt x="1345" y="1826"/>
                  </a:lnTo>
                  <a:lnTo>
                    <a:pt x="1326" y="1803"/>
                  </a:lnTo>
                  <a:lnTo>
                    <a:pt x="1306" y="1775"/>
                  </a:lnTo>
                  <a:lnTo>
                    <a:pt x="1285" y="1745"/>
                  </a:lnTo>
                  <a:lnTo>
                    <a:pt x="1265" y="1713"/>
                  </a:lnTo>
                  <a:lnTo>
                    <a:pt x="1244" y="1678"/>
                  </a:lnTo>
                  <a:lnTo>
                    <a:pt x="1198" y="1606"/>
                  </a:lnTo>
                  <a:lnTo>
                    <a:pt x="1154" y="1535"/>
                  </a:lnTo>
                  <a:lnTo>
                    <a:pt x="1133" y="1502"/>
                  </a:lnTo>
                  <a:lnTo>
                    <a:pt x="1110" y="1471"/>
                  </a:lnTo>
                  <a:lnTo>
                    <a:pt x="1090" y="1445"/>
                  </a:lnTo>
                  <a:lnTo>
                    <a:pt x="1069" y="1421"/>
                  </a:lnTo>
                  <a:lnTo>
                    <a:pt x="1058" y="1407"/>
                  </a:lnTo>
                  <a:lnTo>
                    <a:pt x="1050" y="1395"/>
                  </a:lnTo>
                  <a:lnTo>
                    <a:pt x="1045" y="1383"/>
                  </a:lnTo>
                  <a:lnTo>
                    <a:pt x="1041" y="1373"/>
                  </a:lnTo>
                  <a:lnTo>
                    <a:pt x="1041" y="1362"/>
                  </a:lnTo>
                  <a:lnTo>
                    <a:pt x="1042" y="1353"/>
                  </a:lnTo>
                  <a:lnTo>
                    <a:pt x="1045" y="1343"/>
                  </a:lnTo>
                  <a:lnTo>
                    <a:pt x="1050" y="1335"/>
                  </a:lnTo>
                  <a:lnTo>
                    <a:pt x="1058" y="1327"/>
                  </a:lnTo>
                  <a:lnTo>
                    <a:pt x="1066" y="1321"/>
                  </a:lnTo>
                  <a:lnTo>
                    <a:pt x="1077" y="1314"/>
                  </a:lnTo>
                  <a:lnTo>
                    <a:pt x="1088" y="1309"/>
                  </a:lnTo>
                  <a:lnTo>
                    <a:pt x="1100" y="1305"/>
                  </a:lnTo>
                  <a:lnTo>
                    <a:pt x="1113" y="1301"/>
                  </a:lnTo>
                  <a:lnTo>
                    <a:pt x="1126" y="1297"/>
                  </a:lnTo>
                  <a:lnTo>
                    <a:pt x="1141" y="1294"/>
                  </a:lnTo>
                  <a:lnTo>
                    <a:pt x="1145" y="1282"/>
                  </a:lnTo>
                  <a:lnTo>
                    <a:pt x="1146" y="1270"/>
                  </a:lnTo>
                  <a:lnTo>
                    <a:pt x="1145" y="1265"/>
                  </a:lnTo>
                  <a:lnTo>
                    <a:pt x="1144" y="1259"/>
                  </a:lnTo>
                  <a:lnTo>
                    <a:pt x="1142" y="1254"/>
                  </a:lnTo>
                  <a:lnTo>
                    <a:pt x="1140" y="1249"/>
                  </a:lnTo>
                  <a:lnTo>
                    <a:pt x="1133" y="1239"/>
                  </a:lnTo>
                  <a:lnTo>
                    <a:pt x="1122" y="1229"/>
                  </a:lnTo>
                  <a:lnTo>
                    <a:pt x="1109" y="1217"/>
                  </a:lnTo>
                  <a:lnTo>
                    <a:pt x="1093" y="1204"/>
                  </a:lnTo>
                  <a:lnTo>
                    <a:pt x="1093" y="1065"/>
                  </a:lnTo>
                  <a:lnTo>
                    <a:pt x="1096" y="1061"/>
                  </a:lnTo>
                  <a:lnTo>
                    <a:pt x="1098" y="1057"/>
                  </a:lnTo>
                  <a:lnTo>
                    <a:pt x="1101" y="1056"/>
                  </a:lnTo>
                  <a:lnTo>
                    <a:pt x="1104" y="1053"/>
                  </a:lnTo>
                  <a:lnTo>
                    <a:pt x="1108" y="1053"/>
                  </a:lnTo>
                  <a:lnTo>
                    <a:pt x="1110" y="1053"/>
                  </a:lnTo>
                  <a:lnTo>
                    <a:pt x="1114" y="1054"/>
                  </a:lnTo>
                  <a:lnTo>
                    <a:pt x="1118" y="1056"/>
                  </a:lnTo>
                  <a:lnTo>
                    <a:pt x="1126" y="1061"/>
                  </a:lnTo>
                  <a:lnTo>
                    <a:pt x="1134" y="1069"/>
                  </a:lnTo>
                  <a:lnTo>
                    <a:pt x="1142" y="1077"/>
                  </a:lnTo>
                  <a:lnTo>
                    <a:pt x="1152" y="1088"/>
                  </a:lnTo>
                  <a:lnTo>
                    <a:pt x="1170" y="1109"/>
                  </a:lnTo>
                  <a:lnTo>
                    <a:pt x="1188" y="1129"/>
                  </a:lnTo>
                  <a:lnTo>
                    <a:pt x="1197" y="1137"/>
                  </a:lnTo>
                  <a:lnTo>
                    <a:pt x="1205" y="1144"/>
                  </a:lnTo>
                  <a:lnTo>
                    <a:pt x="1213" y="1149"/>
                  </a:lnTo>
                  <a:lnTo>
                    <a:pt x="1220" y="1150"/>
                  </a:lnTo>
                  <a:lnTo>
                    <a:pt x="1226" y="1148"/>
                  </a:lnTo>
                  <a:lnTo>
                    <a:pt x="1230" y="1145"/>
                  </a:lnTo>
                  <a:lnTo>
                    <a:pt x="1234" y="1142"/>
                  </a:lnTo>
                  <a:lnTo>
                    <a:pt x="1237" y="1138"/>
                  </a:lnTo>
                  <a:lnTo>
                    <a:pt x="1238" y="1134"/>
                  </a:lnTo>
                  <a:lnTo>
                    <a:pt x="1240" y="1130"/>
                  </a:lnTo>
                  <a:lnTo>
                    <a:pt x="1240" y="1125"/>
                  </a:lnTo>
                  <a:lnTo>
                    <a:pt x="1238" y="1120"/>
                  </a:lnTo>
                  <a:lnTo>
                    <a:pt x="1233" y="1108"/>
                  </a:lnTo>
                  <a:lnTo>
                    <a:pt x="1226" y="1094"/>
                  </a:lnTo>
                  <a:lnTo>
                    <a:pt x="1218" y="1081"/>
                  </a:lnTo>
                  <a:lnTo>
                    <a:pt x="1208" y="1065"/>
                  </a:lnTo>
                  <a:lnTo>
                    <a:pt x="1185" y="1034"/>
                  </a:lnTo>
                  <a:lnTo>
                    <a:pt x="1164" y="1002"/>
                  </a:lnTo>
                  <a:lnTo>
                    <a:pt x="1154" y="988"/>
                  </a:lnTo>
                  <a:lnTo>
                    <a:pt x="1148" y="972"/>
                  </a:lnTo>
                  <a:lnTo>
                    <a:pt x="1145" y="965"/>
                  </a:lnTo>
                  <a:lnTo>
                    <a:pt x="1144" y="958"/>
                  </a:lnTo>
                  <a:lnTo>
                    <a:pt x="1142" y="952"/>
                  </a:lnTo>
                  <a:lnTo>
                    <a:pt x="1141" y="945"/>
                  </a:lnTo>
                  <a:lnTo>
                    <a:pt x="1142" y="914"/>
                  </a:lnTo>
                  <a:lnTo>
                    <a:pt x="1146" y="886"/>
                  </a:lnTo>
                  <a:lnTo>
                    <a:pt x="1150" y="860"/>
                  </a:lnTo>
                  <a:lnTo>
                    <a:pt x="1156" y="837"/>
                  </a:lnTo>
                  <a:lnTo>
                    <a:pt x="1164" y="816"/>
                  </a:lnTo>
                  <a:lnTo>
                    <a:pt x="1172" y="797"/>
                  </a:lnTo>
                  <a:lnTo>
                    <a:pt x="1181" y="780"/>
                  </a:lnTo>
                  <a:lnTo>
                    <a:pt x="1190" y="765"/>
                  </a:lnTo>
                  <a:lnTo>
                    <a:pt x="1201" y="752"/>
                  </a:lnTo>
                  <a:lnTo>
                    <a:pt x="1213" y="740"/>
                  </a:lnTo>
                  <a:lnTo>
                    <a:pt x="1225" y="730"/>
                  </a:lnTo>
                  <a:lnTo>
                    <a:pt x="1238" y="721"/>
                  </a:lnTo>
                  <a:lnTo>
                    <a:pt x="1250" y="714"/>
                  </a:lnTo>
                  <a:lnTo>
                    <a:pt x="1264" y="708"/>
                  </a:lnTo>
                  <a:lnTo>
                    <a:pt x="1277" y="704"/>
                  </a:lnTo>
                  <a:lnTo>
                    <a:pt x="1290" y="700"/>
                  </a:lnTo>
                  <a:lnTo>
                    <a:pt x="1317" y="694"/>
                  </a:lnTo>
                  <a:lnTo>
                    <a:pt x="1341" y="692"/>
                  </a:lnTo>
                  <a:lnTo>
                    <a:pt x="1364" y="692"/>
                  </a:lnTo>
                  <a:lnTo>
                    <a:pt x="1384" y="690"/>
                  </a:lnTo>
                  <a:lnTo>
                    <a:pt x="1400" y="690"/>
                  </a:lnTo>
                  <a:lnTo>
                    <a:pt x="1410" y="689"/>
                  </a:lnTo>
                  <a:lnTo>
                    <a:pt x="1413" y="688"/>
                  </a:lnTo>
                  <a:lnTo>
                    <a:pt x="1414" y="686"/>
                  </a:lnTo>
                  <a:lnTo>
                    <a:pt x="1414" y="684"/>
                  </a:lnTo>
                  <a:lnTo>
                    <a:pt x="1413" y="680"/>
                  </a:lnTo>
                  <a:lnTo>
                    <a:pt x="1400" y="662"/>
                  </a:lnTo>
                  <a:lnTo>
                    <a:pt x="1386" y="641"/>
                  </a:lnTo>
                  <a:lnTo>
                    <a:pt x="1373" y="617"/>
                  </a:lnTo>
                  <a:lnTo>
                    <a:pt x="1358" y="589"/>
                  </a:lnTo>
                  <a:lnTo>
                    <a:pt x="1344" y="557"/>
                  </a:lnTo>
                  <a:lnTo>
                    <a:pt x="1329" y="523"/>
                  </a:lnTo>
                  <a:lnTo>
                    <a:pt x="1313" y="485"/>
                  </a:lnTo>
                  <a:lnTo>
                    <a:pt x="1298" y="444"/>
                  </a:lnTo>
                  <a:lnTo>
                    <a:pt x="1282" y="400"/>
                  </a:lnTo>
                  <a:lnTo>
                    <a:pt x="1266" y="352"/>
                  </a:lnTo>
                  <a:lnTo>
                    <a:pt x="1249" y="301"/>
                  </a:lnTo>
                  <a:lnTo>
                    <a:pt x="1233" y="247"/>
                  </a:lnTo>
                  <a:lnTo>
                    <a:pt x="1216" y="189"/>
                  </a:lnTo>
                  <a:lnTo>
                    <a:pt x="1200" y="129"/>
                  </a:lnTo>
                  <a:lnTo>
                    <a:pt x="1182" y="65"/>
                  </a:lnTo>
                  <a:lnTo>
                    <a:pt x="1165" y="0"/>
                  </a:lnTo>
                  <a:lnTo>
                    <a:pt x="1150" y="2"/>
                  </a:lnTo>
                  <a:lnTo>
                    <a:pt x="1138" y="4"/>
                  </a:lnTo>
                  <a:lnTo>
                    <a:pt x="1126" y="10"/>
                  </a:lnTo>
                  <a:lnTo>
                    <a:pt x="1114" y="15"/>
                  </a:lnTo>
                  <a:lnTo>
                    <a:pt x="1104" y="20"/>
                  </a:lnTo>
                  <a:lnTo>
                    <a:pt x="1093" y="26"/>
                  </a:lnTo>
                  <a:lnTo>
                    <a:pt x="1082" y="28"/>
                  </a:lnTo>
                  <a:lnTo>
                    <a:pt x="1069" y="30"/>
                  </a:lnTo>
                  <a:lnTo>
                    <a:pt x="1061" y="30"/>
                  </a:lnTo>
                  <a:lnTo>
                    <a:pt x="1054" y="28"/>
                  </a:lnTo>
                  <a:lnTo>
                    <a:pt x="1048" y="26"/>
                  </a:lnTo>
                  <a:lnTo>
                    <a:pt x="1042" y="23"/>
                  </a:lnTo>
                  <a:lnTo>
                    <a:pt x="1033" y="15"/>
                  </a:lnTo>
                  <a:lnTo>
                    <a:pt x="1021" y="6"/>
                  </a:lnTo>
                  <a:lnTo>
                    <a:pt x="1016" y="12"/>
                  </a:lnTo>
                  <a:lnTo>
                    <a:pt x="1012" y="20"/>
                  </a:lnTo>
                  <a:lnTo>
                    <a:pt x="1008" y="27"/>
                  </a:lnTo>
                  <a:lnTo>
                    <a:pt x="1005" y="34"/>
                  </a:lnTo>
                  <a:lnTo>
                    <a:pt x="1001" y="49"/>
                  </a:lnTo>
                  <a:lnTo>
                    <a:pt x="1000" y="64"/>
                  </a:lnTo>
                  <a:lnTo>
                    <a:pt x="996" y="97"/>
                  </a:lnTo>
                  <a:lnTo>
                    <a:pt x="990" y="132"/>
                  </a:lnTo>
                  <a:lnTo>
                    <a:pt x="976" y="171"/>
                  </a:lnTo>
                  <a:lnTo>
                    <a:pt x="960" y="209"/>
                  </a:lnTo>
                  <a:lnTo>
                    <a:pt x="953" y="228"/>
                  </a:lnTo>
                  <a:lnTo>
                    <a:pt x="948" y="249"/>
                  </a:lnTo>
                  <a:lnTo>
                    <a:pt x="944" y="271"/>
                  </a:lnTo>
                  <a:lnTo>
                    <a:pt x="942" y="295"/>
                  </a:lnTo>
                  <a:lnTo>
                    <a:pt x="942" y="308"/>
                  </a:lnTo>
                  <a:lnTo>
                    <a:pt x="942" y="320"/>
                  </a:lnTo>
                  <a:lnTo>
                    <a:pt x="942" y="336"/>
                  </a:lnTo>
                  <a:lnTo>
                    <a:pt x="942" y="355"/>
                  </a:lnTo>
                  <a:lnTo>
                    <a:pt x="942" y="365"/>
                  </a:lnTo>
                  <a:lnTo>
                    <a:pt x="941" y="373"/>
                  </a:lnTo>
                  <a:lnTo>
                    <a:pt x="938" y="381"/>
                  </a:lnTo>
                  <a:lnTo>
                    <a:pt x="936" y="389"/>
                  </a:lnTo>
                  <a:lnTo>
                    <a:pt x="933" y="396"/>
                  </a:lnTo>
                  <a:lnTo>
                    <a:pt x="929" y="401"/>
                  </a:lnTo>
                  <a:lnTo>
                    <a:pt x="924" y="407"/>
                  </a:lnTo>
                  <a:lnTo>
                    <a:pt x="918" y="412"/>
                  </a:lnTo>
                  <a:lnTo>
                    <a:pt x="906" y="420"/>
                  </a:lnTo>
                  <a:lnTo>
                    <a:pt x="893" y="425"/>
                  </a:lnTo>
                  <a:lnTo>
                    <a:pt x="878" y="431"/>
                  </a:lnTo>
                  <a:lnTo>
                    <a:pt x="862" y="433"/>
                  </a:lnTo>
                  <a:lnTo>
                    <a:pt x="828" y="437"/>
                  </a:lnTo>
                  <a:lnTo>
                    <a:pt x="793" y="441"/>
                  </a:lnTo>
                  <a:lnTo>
                    <a:pt x="776" y="444"/>
                  </a:lnTo>
                  <a:lnTo>
                    <a:pt x="760" y="447"/>
                  </a:lnTo>
                  <a:lnTo>
                    <a:pt x="745" y="452"/>
                  </a:lnTo>
                  <a:lnTo>
                    <a:pt x="732" y="457"/>
                  </a:lnTo>
                  <a:lnTo>
                    <a:pt x="715" y="471"/>
                  </a:lnTo>
                  <a:lnTo>
                    <a:pt x="692" y="489"/>
                  </a:lnTo>
                  <a:lnTo>
                    <a:pt x="679" y="497"/>
                  </a:lnTo>
                  <a:lnTo>
                    <a:pt x="665" y="505"/>
                  </a:lnTo>
                  <a:lnTo>
                    <a:pt x="660" y="508"/>
                  </a:lnTo>
                  <a:lnTo>
                    <a:pt x="653" y="509"/>
                  </a:lnTo>
                  <a:lnTo>
                    <a:pt x="648" y="511"/>
                  </a:lnTo>
                  <a:lnTo>
                    <a:pt x="641" y="512"/>
                  </a:lnTo>
                  <a:lnTo>
                    <a:pt x="635" y="511"/>
                  </a:lnTo>
                  <a:lnTo>
                    <a:pt x="627" y="509"/>
                  </a:lnTo>
                  <a:lnTo>
                    <a:pt x="621" y="508"/>
                  </a:lnTo>
                  <a:lnTo>
                    <a:pt x="615" y="504"/>
                  </a:lnTo>
                  <a:lnTo>
                    <a:pt x="611" y="500"/>
                  </a:lnTo>
                  <a:lnTo>
                    <a:pt x="605" y="496"/>
                  </a:lnTo>
                  <a:lnTo>
                    <a:pt x="601" y="491"/>
                  </a:lnTo>
                  <a:lnTo>
                    <a:pt x="597" y="484"/>
                  </a:lnTo>
                  <a:lnTo>
                    <a:pt x="591" y="471"/>
                  </a:lnTo>
                  <a:lnTo>
                    <a:pt x="587" y="456"/>
                  </a:lnTo>
                  <a:lnTo>
                    <a:pt x="583" y="440"/>
                  </a:lnTo>
                  <a:lnTo>
                    <a:pt x="579" y="424"/>
                  </a:lnTo>
                  <a:lnTo>
                    <a:pt x="572" y="392"/>
                  </a:lnTo>
                  <a:lnTo>
                    <a:pt x="564" y="364"/>
                  </a:lnTo>
                  <a:lnTo>
                    <a:pt x="559" y="353"/>
                  </a:lnTo>
                  <a:lnTo>
                    <a:pt x="552" y="344"/>
                  </a:lnTo>
                  <a:lnTo>
                    <a:pt x="548" y="341"/>
                  </a:lnTo>
                  <a:lnTo>
                    <a:pt x="544" y="339"/>
                  </a:lnTo>
                  <a:lnTo>
                    <a:pt x="539" y="337"/>
                  </a:lnTo>
                  <a:lnTo>
                    <a:pt x="533" y="337"/>
                  </a:lnTo>
                  <a:lnTo>
                    <a:pt x="525" y="337"/>
                  </a:lnTo>
                  <a:lnTo>
                    <a:pt x="519" y="339"/>
                  </a:lnTo>
                  <a:lnTo>
                    <a:pt x="513" y="341"/>
                  </a:lnTo>
                  <a:lnTo>
                    <a:pt x="508" y="344"/>
                  </a:lnTo>
                  <a:lnTo>
                    <a:pt x="497" y="351"/>
                  </a:lnTo>
                  <a:lnTo>
                    <a:pt x="489" y="360"/>
                  </a:lnTo>
                  <a:lnTo>
                    <a:pt x="481" y="369"/>
                  </a:lnTo>
                  <a:lnTo>
                    <a:pt x="473" y="377"/>
                  </a:lnTo>
                  <a:lnTo>
                    <a:pt x="465" y="385"/>
                  </a:lnTo>
                  <a:lnTo>
                    <a:pt x="455" y="391"/>
                  </a:lnTo>
                  <a:lnTo>
                    <a:pt x="416" y="403"/>
                  </a:lnTo>
                  <a:lnTo>
                    <a:pt x="380" y="416"/>
                  </a:lnTo>
                  <a:lnTo>
                    <a:pt x="363" y="423"/>
                  </a:lnTo>
                  <a:lnTo>
                    <a:pt x="347" y="431"/>
                  </a:lnTo>
                  <a:lnTo>
                    <a:pt x="332" y="439"/>
                  </a:lnTo>
                  <a:lnTo>
                    <a:pt x="316" y="447"/>
                  </a:lnTo>
                  <a:lnTo>
                    <a:pt x="301" y="456"/>
                  </a:lnTo>
                  <a:lnTo>
                    <a:pt x="288" y="467"/>
                  </a:lnTo>
                  <a:lnTo>
                    <a:pt x="275" y="477"/>
                  </a:lnTo>
                  <a:lnTo>
                    <a:pt x="261" y="489"/>
                  </a:lnTo>
                  <a:lnTo>
                    <a:pt x="249" y="503"/>
                  </a:lnTo>
                  <a:lnTo>
                    <a:pt x="237" y="516"/>
                  </a:lnTo>
                  <a:lnTo>
                    <a:pt x="225" y="532"/>
                  </a:lnTo>
                  <a:lnTo>
                    <a:pt x="213" y="548"/>
                  </a:lnTo>
                  <a:lnTo>
                    <a:pt x="203" y="564"/>
                  </a:lnTo>
                  <a:lnTo>
                    <a:pt x="189" y="579"/>
                  </a:lnTo>
                  <a:lnTo>
                    <a:pt x="175" y="592"/>
                  </a:lnTo>
                  <a:lnTo>
                    <a:pt x="160" y="604"/>
                  </a:lnTo>
                  <a:lnTo>
                    <a:pt x="128" y="628"/>
                  </a:lnTo>
                  <a:lnTo>
                    <a:pt x="93" y="656"/>
                  </a:lnTo>
                  <a:lnTo>
                    <a:pt x="91" y="664"/>
                  </a:lnTo>
                  <a:lnTo>
                    <a:pt x="89" y="672"/>
                  </a:lnTo>
                  <a:lnTo>
                    <a:pt x="89" y="680"/>
                  </a:lnTo>
                  <a:lnTo>
                    <a:pt x="89" y="688"/>
                  </a:lnTo>
                  <a:lnTo>
                    <a:pt x="91" y="697"/>
                  </a:lnTo>
                  <a:lnTo>
                    <a:pt x="89" y="704"/>
                  </a:lnTo>
                  <a:lnTo>
                    <a:pt x="88" y="708"/>
                  </a:lnTo>
                  <a:lnTo>
                    <a:pt x="87" y="710"/>
                  </a:lnTo>
                  <a:lnTo>
                    <a:pt x="84" y="714"/>
                  </a:lnTo>
                  <a:lnTo>
                    <a:pt x="81" y="716"/>
                  </a:lnTo>
                  <a:lnTo>
                    <a:pt x="72" y="722"/>
                  </a:lnTo>
                  <a:lnTo>
                    <a:pt x="64" y="726"/>
                  </a:lnTo>
                  <a:lnTo>
                    <a:pt x="56" y="730"/>
                  </a:lnTo>
                  <a:lnTo>
                    <a:pt x="50" y="734"/>
                  </a:lnTo>
                  <a:lnTo>
                    <a:pt x="36" y="738"/>
                  </a:lnTo>
                  <a:lnTo>
                    <a:pt x="24" y="744"/>
                  </a:lnTo>
                  <a:lnTo>
                    <a:pt x="20" y="748"/>
                  </a:lnTo>
                  <a:lnTo>
                    <a:pt x="15" y="752"/>
                  </a:lnTo>
                  <a:lnTo>
                    <a:pt x="12" y="757"/>
                  </a:lnTo>
                  <a:lnTo>
                    <a:pt x="8" y="765"/>
                  </a:lnTo>
                  <a:lnTo>
                    <a:pt x="7" y="773"/>
                  </a:lnTo>
                  <a:lnTo>
                    <a:pt x="4" y="784"/>
                  </a:lnTo>
                  <a:lnTo>
                    <a:pt x="4" y="797"/>
                  </a:lnTo>
                  <a:lnTo>
                    <a:pt x="3" y="813"/>
                  </a:lnTo>
                  <a:lnTo>
                    <a:pt x="3" y="826"/>
                  </a:lnTo>
                  <a:lnTo>
                    <a:pt x="2" y="842"/>
                  </a:lnTo>
                  <a:lnTo>
                    <a:pt x="0" y="849"/>
                  </a:lnTo>
                  <a:lnTo>
                    <a:pt x="0" y="856"/>
                  </a:lnTo>
                  <a:lnTo>
                    <a:pt x="2" y="862"/>
                  </a:lnTo>
                  <a:lnTo>
                    <a:pt x="3" y="866"/>
                  </a:lnTo>
                  <a:lnTo>
                    <a:pt x="11" y="869"/>
                  </a:lnTo>
                  <a:lnTo>
                    <a:pt x="22" y="869"/>
                  </a:lnTo>
                  <a:lnTo>
                    <a:pt x="34" y="870"/>
                  </a:lnTo>
                  <a:lnTo>
                    <a:pt x="47" y="870"/>
                  </a:lnTo>
                  <a:lnTo>
                    <a:pt x="72" y="870"/>
                  </a:lnTo>
                  <a:lnTo>
                    <a:pt x="93" y="873"/>
                  </a:lnTo>
                  <a:lnTo>
                    <a:pt x="99" y="876"/>
                  </a:lnTo>
                  <a:lnTo>
                    <a:pt x="103" y="878"/>
                  </a:lnTo>
                  <a:lnTo>
                    <a:pt x="105" y="882"/>
                  </a:lnTo>
                  <a:lnTo>
                    <a:pt x="108" y="886"/>
                  </a:lnTo>
                  <a:lnTo>
                    <a:pt x="111" y="897"/>
                  </a:lnTo>
                  <a:lnTo>
                    <a:pt x="111" y="908"/>
                  </a:lnTo>
                  <a:lnTo>
                    <a:pt x="108" y="933"/>
                  </a:lnTo>
                  <a:lnTo>
                    <a:pt x="105" y="957"/>
                  </a:lnTo>
                  <a:lnTo>
                    <a:pt x="107" y="964"/>
                  </a:lnTo>
                  <a:lnTo>
                    <a:pt x="109" y="969"/>
                  </a:lnTo>
                  <a:lnTo>
                    <a:pt x="113" y="974"/>
                  </a:lnTo>
                  <a:lnTo>
                    <a:pt x="117" y="978"/>
                  </a:lnTo>
                  <a:lnTo>
                    <a:pt x="121" y="981"/>
                  </a:lnTo>
                  <a:lnTo>
                    <a:pt x="127" y="985"/>
                  </a:lnTo>
                  <a:lnTo>
                    <a:pt x="133" y="986"/>
                  </a:lnTo>
                  <a:lnTo>
                    <a:pt x="140" y="989"/>
                  </a:lnTo>
                  <a:lnTo>
                    <a:pt x="153" y="992"/>
                  </a:lnTo>
                  <a:lnTo>
                    <a:pt x="168" y="993"/>
                  </a:lnTo>
                  <a:lnTo>
                    <a:pt x="181" y="993"/>
                  </a:lnTo>
                  <a:lnTo>
                    <a:pt x="196" y="993"/>
                  </a:lnTo>
                  <a:lnTo>
                    <a:pt x="304" y="1084"/>
                  </a:lnTo>
                  <a:lnTo>
                    <a:pt x="305" y="1101"/>
                  </a:lnTo>
                  <a:lnTo>
                    <a:pt x="307" y="1114"/>
                  </a:lnTo>
                  <a:lnTo>
                    <a:pt x="309" y="1126"/>
                  </a:lnTo>
                  <a:lnTo>
                    <a:pt x="313" y="1136"/>
                  </a:lnTo>
                  <a:lnTo>
                    <a:pt x="319" y="1144"/>
                  </a:lnTo>
                  <a:lnTo>
                    <a:pt x="325" y="1149"/>
                  </a:lnTo>
                  <a:lnTo>
                    <a:pt x="332" y="1154"/>
                  </a:lnTo>
                  <a:lnTo>
                    <a:pt x="340" y="1157"/>
                  </a:lnTo>
                  <a:lnTo>
                    <a:pt x="380" y="1164"/>
                  </a:lnTo>
                  <a:lnTo>
                    <a:pt x="431" y="1168"/>
                  </a:lnTo>
                  <a:lnTo>
                    <a:pt x="441" y="1170"/>
                  </a:lnTo>
                  <a:lnTo>
                    <a:pt x="451" y="1174"/>
                  </a:lnTo>
                  <a:lnTo>
                    <a:pt x="457" y="1181"/>
                  </a:lnTo>
                  <a:lnTo>
                    <a:pt x="464" y="1189"/>
                  </a:lnTo>
                  <a:lnTo>
                    <a:pt x="469" y="1198"/>
                  </a:lnTo>
                  <a:lnTo>
                    <a:pt x="475" y="1209"/>
                  </a:lnTo>
                  <a:lnTo>
                    <a:pt x="477" y="1219"/>
                  </a:lnTo>
                  <a:lnTo>
                    <a:pt x="481" y="1230"/>
                  </a:lnTo>
                  <a:lnTo>
                    <a:pt x="487" y="1251"/>
                  </a:lnTo>
                  <a:lnTo>
                    <a:pt x="493" y="1270"/>
                  </a:lnTo>
                  <a:lnTo>
                    <a:pt x="496" y="1278"/>
                  </a:lnTo>
                  <a:lnTo>
                    <a:pt x="500" y="1283"/>
                  </a:lnTo>
                  <a:lnTo>
                    <a:pt x="504" y="1287"/>
                  </a:lnTo>
                  <a:lnTo>
                    <a:pt x="509" y="1289"/>
                  </a:lnTo>
                  <a:lnTo>
                    <a:pt x="517" y="1287"/>
                  </a:lnTo>
                  <a:lnTo>
                    <a:pt x="524" y="1285"/>
                  </a:lnTo>
                  <a:lnTo>
                    <a:pt x="528" y="1282"/>
                  </a:lnTo>
                  <a:lnTo>
                    <a:pt x="532" y="1279"/>
                  </a:lnTo>
                  <a:lnTo>
                    <a:pt x="536" y="1275"/>
                  </a:lnTo>
                  <a:lnTo>
                    <a:pt x="540" y="1273"/>
                  </a:lnTo>
                  <a:lnTo>
                    <a:pt x="545" y="1271"/>
                  </a:lnTo>
                  <a:lnTo>
                    <a:pt x="552" y="1270"/>
                  </a:lnTo>
                  <a:lnTo>
                    <a:pt x="552" y="1277"/>
                  </a:lnTo>
                  <a:lnTo>
                    <a:pt x="556" y="1283"/>
                  </a:lnTo>
                  <a:lnTo>
                    <a:pt x="560" y="1290"/>
                  </a:lnTo>
                  <a:lnTo>
                    <a:pt x="565" y="1295"/>
                  </a:lnTo>
                  <a:lnTo>
                    <a:pt x="572" y="1299"/>
                  </a:lnTo>
                  <a:lnTo>
                    <a:pt x="579" y="1303"/>
                  </a:lnTo>
                  <a:lnTo>
                    <a:pt x="587" y="1306"/>
                  </a:lnTo>
                  <a:lnTo>
                    <a:pt x="593" y="1306"/>
                  </a:lnTo>
                  <a:lnTo>
                    <a:pt x="603" y="1305"/>
                  </a:lnTo>
                  <a:lnTo>
                    <a:pt x="611" y="1302"/>
                  </a:lnTo>
                  <a:lnTo>
                    <a:pt x="619" y="1298"/>
                  </a:lnTo>
                  <a:lnTo>
                    <a:pt x="625" y="1293"/>
                  </a:lnTo>
                  <a:lnTo>
                    <a:pt x="637" y="1281"/>
                  </a:lnTo>
                  <a:lnTo>
                    <a:pt x="648" y="1270"/>
                  </a:lnTo>
                  <a:lnTo>
                    <a:pt x="640" y="1251"/>
                  </a:lnTo>
                  <a:lnTo>
                    <a:pt x="629" y="1234"/>
                  </a:lnTo>
                  <a:lnTo>
                    <a:pt x="617" y="1218"/>
                  </a:lnTo>
                  <a:lnTo>
                    <a:pt x="604" y="1202"/>
                  </a:lnTo>
                  <a:lnTo>
                    <a:pt x="589" y="1189"/>
                  </a:lnTo>
                  <a:lnTo>
                    <a:pt x="575" y="1176"/>
                  </a:lnTo>
                  <a:lnTo>
                    <a:pt x="559" y="1164"/>
                  </a:lnTo>
                  <a:lnTo>
                    <a:pt x="544" y="1153"/>
                  </a:lnTo>
                  <a:lnTo>
                    <a:pt x="491" y="1121"/>
                  </a:lnTo>
                  <a:lnTo>
                    <a:pt x="467" y="1108"/>
                  </a:lnTo>
                  <a:lnTo>
                    <a:pt x="468" y="1097"/>
                  </a:lnTo>
                  <a:lnTo>
                    <a:pt x="469" y="1085"/>
                  </a:lnTo>
                  <a:lnTo>
                    <a:pt x="473" y="1070"/>
                  </a:lnTo>
                  <a:lnTo>
                    <a:pt x="479" y="1054"/>
                  </a:lnTo>
                  <a:lnTo>
                    <a:pt x="485" y="1037"/>
                  </a:lnTo>
                  <a:lnTo>
                    <a:pt x="492" y="1018"/>
                  </a:lnTo>
                  <a:lnTo>
                    <a:pt x="500" y="1001"/>
                  </a:lnTo>
                  <a:lnTo>
                    <a:pt x="509" y="982"/>
                  </a:lnTo>
                  <a:lnTo>
                    <a:pt x="520" y="965"/>
                  </a:lnTo>
                  <a:lnTo>
                    <a:pt x="532" y="950"/>
                  </a:lnTo>
                  <a:lnTo>
                    <a:pt x="543" y="936"/>
                  </a:lnTo>
                  <a:lnTo>
                    <a:pt x="556" y="924"/>
                  </a:lnTo>
                  <a:lnTo>
                    <a:pt x="563" y="918"/>
                  </a:lnTo>
                  <a:lnTo>
                    <a:pt x="569" y="913"/>
                  </a:lnTo>
                  <a:lnTo>
                    <a:pt x="576" y="909"/>
                  </a:lnTo>
                  <a:lnTo>
                    <a:pt x="583" y="906"/>
                  </a:lnTo>
                  <a:lnTo>
                    <a:pt x="589" y="904"/>
                  </a:lnTo>
                  <a:lnTo>
                    <a:pt x="597" y="902"/>
                  </a:lnTo>
                  <a:lnTo>
                    <a:pt x="604" y="902"/>
                  </a:lnTo>
                  <a:lnTo>
                    <a:pt x="612" y="902"/>
                  </a:lnTo>
                  <a:lnTo>
                    <a:pt x="601" y="926"/>
                  </a:lnTo>
                  <a:lnTo>
                    <a:pt x="592" y="949"/>
                  </a:lnTo>
                  <a:lnTo>
                    <a:pt x="587" y="970"/>
                  </a:lnTo>
                  <a:lnTo>
                    <a:pt x="583" y="990"/>
                  </a:lnTo>
                  <a:lnTo>
                    <a:pt x="580" y="1009"/>
                  </a:lnTo>
                  <a:lnTo>
                    <a:pt x="580" y="1026"/>
                  </a:lnTo>
                  <a:lnTo>
                    <a:pt x="581" y="1044"/>
                  </a:lnTo>
                  <a:lnTo>
                    <a:pt x="585" y="1058"/>
                  </a:lnTo>
                  <a:lnTo>
                    <a:pt x="589" y="1073"/>
                  </a:lnTo>
                  <a:lnTo>
                    <a:pt x="596" y="1088"/>
                  </a:lnTo>
                  <a:lnTo>
                    <a:pt x="603" y="1101"/>
                  </a:lnTo>
                  <a:lnTo>
                    <a:pt x="611" y="1113"/>
                  </a:lnTo>
                  <a:lnTo>
                    <a:pt x="620" y="1124"/>
                  </a:lnTo>
                  <a:lnTo>
                    <a:pt x="631" y="1136"/>
                  </a:lnTo>
                  <a:lnTo>
                    <a:pt x="641" y="1145"/>
                  </a:lnTo>
                  <a:lnTo>
                    <a:pt x="653" y="1156"/>
                  </a:lnTo>
                  <a:lnTo>
                    <a:pt x="677" y="1173"/>
                  </a:lnTo>
                  <a:lnTo>
                    <a:pt x="703" y="1189"/>
                  </a:lnTo>
                  <a:lnTo>
                    <a:pt x="728" y="1205"/>
                  </a:lnTo>
                  <a:lnTo>
                    <a:pt x="752" y="1218"/>
                  </a:lnTo>
                  <a:lnTo>
                    <a:pt x="773" y="1233"/>
                  </a:lnTo>
                  <a:lnTo>
                    <a:pt x="792" y="1246"/>
                  </a:lnTo>
                  <a:lnTo>
                    <a:pt x="800" y="1254"/>
                  </a:lnTo>
                  <a:lnTo>
                    <a:pt x="807" y="1261"/>
                  </a:lnTo>
                  <a:lnTo>
                    <a:pt x="812" y="1269"/>
                  </a:lnTo>
                  <a:lnTo>
                    <a:pt x="816" y="1277"/>
                  </a:lnTo>
                  <a:lnTo>
                    <a:pt x="829" y="1310"/>
                  </a:lnTo>
                  <a:lnTo>
                    <a:pt x="838" y="1341"/>
                  </a:lnTo>
                  <a:lnTo>
                    <a:pt x="845" y="1370"/>
                  </a:lnTo>
                  <a:lnTo>
                    <a:pt x="849" y="1398"/>
                  </a:lnTo>
                  <a:lnTo>
                    <a:pt x="853" y="1451"/>
                  </a:lnTo>
                  <a:lnTo>
                    <a:pt x="856" y="1505"/>
                  </a:lnTo>
                  <a:lnTo>
                    <a:pt x="857" y="1533"/>
                  </a:lnTo>
                  <a:lnTo>
                    <a:pt x="860" y="1563"/>
                  </a:lnTo>
                  <a:lnTo>
                    <a:pt x="864" y="1595"/>
                  </a:lnTo>
                  <a:lnTo>
                    <a:pt x="870" y="1630"/>
                  </a:lnTo>
                  <a:lnTo>
                    <a:pt x="880" y="1669"/>
                  </a:lnTo>
                  <a:lnTo>
                    <a:pt x="893" y="1710"/>
                  </a:lnTo>
                  <a:lnTo>
                    <a:pt x="909" y="1755"/>
                  </a:lnTo>
                  <a:lnTo>
                    <a:pt x="930" y="1806"/>
                  </a:lnTo>
                  <a:lnTo>
                    <a:pt x="945" y="1836"/>
                  </a:lnTo>
                  <a:lnTo>
                    <a:pt x="960" y="1871"/>
                  </a:lnTo>
                  <a:lnTo>
                    <a:pt x="974" y="1911"/>
                  </a:lnTo>
                  <a:lnTo>
                    <a:pt x="990" y="1952"/>
                  </a:lnTo>
                  <a:lnTo>
                    <a:pt x="1005" y="1998"/>
                  </a:lnTo>
                  <a:lnTo>
                    <a:pt x="1020" y="2042"/>
                  </a:lnTo>
                  <a:lnTo>
                    <a:pt x="1033" y="2087"/>
                  </a:lnTo>
                  <a:lnTo>
                    <a:pt x="1045" y="2131"/>
                  </a:lnTo>
                  <a:lnTo>
                    <a:pt x="1052" y="2156"/>
                  </a:lnTo>
                  <a:lnTo>
                    <a:pt x="1058" y="2179"/>
                  </a:lnTo>
                  <a:lnTo>
                    <a:pt x="1062" y="2200"/>
                  </a:lnTo>
                  <a:lnTo>
                    <a:pt x="1065" y="2220"/>
                  </a:lnTo>
                  <a:lnTo>
                    <a:pt x="1068" y="2239"/>
                  </a:lnTo>
                  <a:lnTo>
                    <a:pt x="1068" y="2256"/>
                  </a:lnTo>
                  <a:lnTo>
                    <a:pt x="1068" y="2272"/>
                  </a:lnTo>
                  <a:lnTo>
                    <a:pt x="1068" y="2287"/>
                  </a:lnTo>
                  <a:lnTo>
                    <a:pt x="1064" y="2314"/>
                  </a:lnTo>
                  <a:lnTo>
                    <a:pt x="1058" y="2336"/>
                  </a:lnTo>
                  <a:lnTo>
                    <a:pt x="1053" y="2356"/>
                  </a:lnTo>
                  <a:lnTo>
                    <a:pt x="1046" y="2374"/>
                  </a:lnTo>
                  <a:lnTo>
                    <a:pt x="1041" y="2389"/>
                  </a:lnTo>
                  <a:lnTo>
                    <a:pt x="1038" y="2403"/>
                  </a:lnTo>
                  <a:lnTo>
                    <a:pt x="1038" y="2411"/>
                  </a:lnTo>
                  <a:lnTo>
                    <a:pt x="1038" y="2417"/>
                  </a:lnTo>
                  <a:lnTo>
                    <a:pt x="1040" y="2424"/>
                  </a:lnTo>
                  <a:lnTo>
                    <a:pt x="1041" y="2431"/>
                  </a:lnTo>
                  <a:lnTo>
                    <a:pt x="1045" y="2437"/>
                  </a:lnTo>
                  <a:lnTo>
                    <a:pt x="1050" y="2445"/>
                  </a:lnTo>
                  <a:lnTo>
                    <a:pt x="1056" y="2453"/>
                  </a:lnTo>
                  <a:lnTo>
                    <a:pt x="1064" y="2461"/>
                  </a:lnTo>
                  <a:lnTo>
                    <a:pt x="1084" y="2479"/>
                  </a:lnTo>
                  <a:lnTo>
                    <a:pt x="1112" y="2499"/>
                  </a:lnTo>
                  <a:lnTo>
                    <a:pt x="1120" y="2504"/>
                  </a:lnTo>
                  <a:lnTo>
                    <a:pt x="1126" y="2511"/>
                  </a:lnTo>
                  <a:lnTo>
                    <a:pt x="1133" y="2517"/>
                  </a:lnTo>
                  <a:lnTo>
                    <a:pt x="1138" y="2525"/>
                  </a:lnTo>
                  <a:lnTo>
                    <a:pt x="1144" y="2532"/>
                  </a:lnTo>
                  <a:lnTo>
                    <a:pt x="1146" y="2539"/>
                  </a:lnTo>
                  <a:lnTo>
                    <a:pt x="1150" y="2547"/>
                  </a:lnTo>
                  <a:lnTo>
                    <a:pt x="1153" y="2555"/>
                  </a:lnTo>
                  <a:lnTo>
                    <a:pt x="1160" y="2589"/>
                  </a:lnTo>
                  <a:lnTo>
                    <a:pt x="1166" y="2631"/>
                  </a:lnTo>
                  <a:lnTo>
                    <a:pt x="1172" y="2653"/>
                  </a:lnTo>
                  <a:lnTo>
                    <a:pt x="1178" y="2677"/>
                  </a:lnTo>
                  <a:lnTo>
                    <a:pt x="1184" y="2689"/>
                  </a:lnTo>
                  <a:lnTo>
                    <a:pt x="1189" y="2703"/>
                  </a:lnTo>
                  <a:lnTo>
                    <a:pt x="1196" y="2717"/>
                  </a:lnTo>
                  <a:lnTo>
                    <a:pt x="1204" y="2731"/>
                  </a:lnTo>
                  <a:lnTo>
                    <a:pt x="1213" y="2747"/>
                  </a:lnTo>
                  <a:lnTo>
                    <a:pt x="1222" y="2761"/>
                  </a:lnTo>
                  <a:lnTo>
                    <a:pt x="1234" y="2777"/>
                  </a:lnTo>
                  <a:lnTo>
                    <a:pt x="1248" y="2793"/>
                  </a:lnTo>
                  <a:lnTo>
                    <a:pt x="1262" y="2811"/>
                  </a:lnTo>
                  <a:lnTo>
                    <a:pt x="1278" y="2828"/>
                  </a:lnTo>
                  <a:lnTo>
                    <a:pt x="1296" y="2847"/>
                  </a:lnTo>
                  <a:lnTo>
                    <a:pt x="1316" y="2865"/>
                  </a:lnTo>
                  <a:lnTo>
                    <a:pt x="1352" y="2848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accent1">
                  <a:lumMod val="20000"/>
                  <a:lumOff val="8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95" b="0" i="0" u="none" strike="noStrike" kern="1200" cap="none" spc="0" normalizeH="0" baseline="0" noProof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2" name="Freeform 127"/>
            <p:cNvSpPr>
              <a:spLocks/>
            </p:cNvSpPr>
            <p:nvPr/>
          </p:nvSpPr>
          <p:spPr bwMode="auto">
            <a:xfrm>
              <a:off x="4849480" y="2250712"/>
              <a:ext cx="4480" cy="4716"/>
            </a:xfrm>
            <a:custGeom>
              <a:avLst/>
              <a:gdLst>
                <a:gd name="T0" fmla="*/ 0 w 66"/>
                <a:gd name="T1" fmla="*/ 31 h 67"/>
                <a:gd name="T2" fmla="*/ 1 w 66"/>
                <a:gd name="T3" fmla="*/ 24 h 67"/>
                <a:gd name="T4" fmla="*/ 2 w 66"/>
                <a:gd name="T5" fmla="*/ 19 h 67"/>
                <a:gd name="T6" fmla="*/ 6 w 66"/>
                <a:gd name="T7" fmla="*/ 14 h 67"/>
                <a:gd name="T8" fmla="*/ 10 w 66"/>
                <a:gd name="T9" fmla="*/ 8 h 67"/>
                <a:gd name="T10" fmla="*/ 17 w 66"/>
                <a:gd name="T11" fmla="*/ 6 h 67"/>
                <a:gd name="T12" fmla="*/ 22 w 66"/>
                <a:gd name="T13" fmla="*/ 3 h 67"/>
                <a:gd name="T14" fmla="*/ 29 w 66"/>
                <a:gd name="T15" fmla="*/ 2 h 67"/>
                <a:gd name="T16" fmla="*/ 36 w 66"/>
                <a:gd name="T17" fmla="*/ 0 h 67"/>
                <a:gd name="T18" fmla="*/ 42 w 66"/>
                <a:gd name="T19" fmla="*/ 2 h 67"/>
                <a:gd name="T20" fmla="*/ 48 w 66"/>
                <a:gd name="T21" fmla="*/ 3 h 67"/>
                <a:gd name="T22" fmla="*/ 53 w 66"/>
                <a:gd name="T23" fmla="*/ 6 h 67"/>
                <a:gd name="T24" fmla="*/ 58 w 66"/>
                <a:gd name="T25" fmla="*/ 8 h 67"/>
                <a:gd name="T26" fmla="*/ 61 w 66"/>
                <a:gd name="T27" fmla="*/ 14 h 67"/>
                <a:gd name="T28" fmla="*/ 64 w 66"/>
                <a:gd name="T29" fmla="*/ 19 h 67"/>
                <a:gd name="T30" fmla="*/ 65 w 66"/>
                <a:gd name="T31" fmla="*/ 24 h 67"/>
                <a:gd name="T32" fmla="*/ 66 w 66"/>
                <a:gd name="T33" fmla="*/ 31 h 67"/>
                <a:gd name="T34" fmla="*/ 65 w 66"/>
                <a:gd name="T35" fmla="*/ 39 h 67"/>
                <a:gd name="T36" fmla="*/ 64 w 66"/>
                <a:gd name="T37" fmla="*/ 47 h 67"/>
                <a:gd name="T38" fmla="*/ 61 w 66"/>
                <a:gd name="T39" fmla="*/ 52 h 67"/>
                <a:gd name="T40" fmla="*/ 58 w 66"/>
                <a:gd name="T41" fmla="*/ 58 h 67"/>
                <a:gd name="T42" fmla="*/ 53 w 66"/>
                <a:gd name="T43" fmla="*/ 62 h 67"/>
                <a:gd name="T44" fmla="*/ 48 w 66"/>
                <a:gd name="T45" fmla="*/ 64 h 67"/>
                <a:gd name="T46" fmla="*/ 42 w 66"/>
                <a:gd name="T47" fmla="*/ 66 h 67"/>
                <a:gd name="T48" fmla="*/ 36 w 66"/>
                <a:gd name="T49" fmla="*/ 67 h 67"/>
                <a:gd name="T50" fmla="*/ 29 w 66"/>
                <a:gd name="T51" fmla="*/ 66 h 67"/>
                <a:gd name="T52" fmla="*/ 22 w 66"/>
                <a:gd name="T53" fmla="*/ 64 h 67"/>
                <a:gd name="T54" fmla="*/ 17 w 66"/>
                <a:gd name="T55" fmla="*/ 62 h 67"/>
                <a:gd name="T56" fmla="*/ 10 w 66"/>
                <a:gd name="T57" fmla="*/ 58 h 67"/>
                <a:gd name="T58" fmla="*/ 6 w 66"/>
                <a:gd name="T59" fmla="*/ 52 h 67"/>
                <a:gd name="T60" fmla="*/ 2 w 66"/>
                <a:gd name="T61" fmla="*/ 47 h 67"/>
                <a:gd name="T62" fmla="*/ 1 w 66"/>
                <a:gd name="T63" fmla="*/ 39 h 67"/>
                <a:gd name="T64" fmla="*/ 0 w 66"/>
                <a:gd name="T65" fmla="*/ 31 h 6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66"/>
                <a:gd name="T100" fmla="*/ 0 h 67"/>
                <a:gd name="T101" fmla="*/ 66 w 66"/>
                <a:gd name="T102" fmla="*/ 67 h 67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66" h="67">
                  <a:moveTo>
                    <a:pt x="0" y="31"/>
                  </a:moveTo>
                  <a:lnTo>
                    <a:pt x="1" y="24"/>
                  </a:lnTo>
                  <a:lnTo>
                    <a:pt x="2" y="19"/>
                  </a:lnTo>
                  <a:lnTo>
                    <a:pt x="6" y="14"/>
                  </a:lnTo>
                  <a:lnTo>
                    <a:pt x="10" y="8"/>
                  </a:lnTo>
                  <a:lnTo>
                    <a:pt x="17" y="6"/>
                  </a:lnTo>
                  <a:lnTo>
                    <a:pt x="22" y="3"/>
                  </a:lnTo>
                  <a:lnTo>
                    <a:pt x="29" y="2"/>
                  </a:lnTo>
                  <a:lnTo>
                    <a:pt x="36" y="0"/>
                  </a:lnTo>
                  <a:lnTo>
                    <a:pt x="42" y="2"/>
                  </a:lnTo>
                  <a:lnTo>
                    <a:pt x="48" y="3"/>
                  </a:lnTo>
                  <a:lnTo>
                    <a:pt x="53" y="6"/>
                  </a:lnTo>
                  <a:lnTo>
                    <a:pt x="58" y="8"/>
                  </a:lnTo>
                  <a:lnTo>
                    <a:pt x="61" y="14"/>
                  </a:lnTo>
                  <a:lnTo>
                    <a:pt x="64" y="19"/>
                  </a:lnTo>
                  <a:lnTo>
                    <a:pt x="65" y="24"/>
                  </a:lnTo>
                  <a:lnTo>
                    <a:pt x="66" y="31"/>
                  </a:lnTo>
                  <a:lnTo>
                    <a:pt x="65" y="39"/>
                  </a:lnTo>
                  <a:lnTo>
                    <a:pt x="64" y="47"/>
                  </a:lnTo>
                  <a:lnTo>
                    <a:pt x="61" y="52"/>
                  </a:lnTo>
                  <a:lnTo>
                    <a:pt x="58" y="58"/>
                  </a:lnTo>
                  <a:lnTo>
                    <a:pt x="53" y="62"/>
                  </a:lnTo>
                  <a:lnTo>
                    <a:pt x="48" y="64"/>
                  </a:lnTo>
                  <a:lnTo>
                    <a:pt x="42" y="66"/>
                  </a:lnTo>
                  <a:lnTo>
                    <a:pt x="36" y="67"/>
                  </a:lnTo>
                  <a:lnTo>
                    <a:pt x="29" y="66"/>
                  </a:lnTo>
                  <a:lnTo>
                    <a:pt x="22" y="64"/>
                  </a:lnTo>
                  <a:lnTo>
                    <a:pt x="17" y="62"/>
                  </a:lnTo>
                  <a:lnTo>
                    <a:pt x="10" y="58"/>
                  </a:lnTo>
                  <a:lnTo>
                    <a:pt x="6" y="52"/>
                  </a:lnTo>
                  <a:lnTo>
                    <a:pt x="2" y="47"/>
                  </a:lnTo>
                  <a:lnTo>
                    <a:pt x="1" y="39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accent1">
                  <a:lumMod val="20000"/>
                  <a:lumOff val="8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95" b="0" i="0" u="none" strike="noStrike" kern="1200" cap="none" spc="0" normalizeH="0" baseline="0" noProof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3" name="Freeform 81"/>
            <p:cNvSpPr>
              <a:spLocks/>
            </p:cNvSpPr>
            <p:nvPr/>
          </p:nvSpPr>
          <p:spPr bwMode="auto">
            <a:xfrm>
              <a:off x="5100858" y="2197419"/>
              <a:ext cx="4480" cy="8961"/>
            </a:xfrm>
            <a:custGeom>
              <a:avLst/>
              <a:gdLst>
                <a:gd name="T0" fmla="*/ 0 w 61"/>
                <a:gd name="T1" fmla="*/ 26 h 127"/>
                <a:gd name="T2" fmla="*/ 1 w 61"/>
                <a:gd name="T3" fmla="*/ 18 h 127"/>
                <a:gd name="T4" fmla="*/ 1 w 61"/>
                <a:gd name="T5" fmla="*/ 11 h 127"/>
                <a:gd name="T6" fmla="*/ 1 w 61"/>
                <a:gd name="T7" fmla="*/ 7 h 127"/>
                <a:gd name="T8" fmla="*/ 4 w 61"/>
                <a:gd name="T9" fmla="*/ 4 h 127"/>
                <a:gd name="T10" fmla="*/ 6 w 61"/>
                <a:gd name="T11" fmla="*/ 2 h 127"/>
                <a:gd name="T12" fmla="*/ 10 w 61"/>
                <a:gd name="T13" fmla="*/ 2 h 127"/>
                <a:gd name="T14" fmla="*/ 17 w 61"/>
                <a:gd name="T15" fmla="*/ 0 h 127"/>
                <a:gd name="T16" fmla="*/ 25 w 61"/>
                <a:gd name="T17" fmla="*/ 0 h 127"/>
                <a:gd name="T18" fmla="*/ 34 w 61"/>
                <a:gd name="T19" fmla="*/ 2 h 127"/>
                <a:gd name="T20" fmla="*/ 42 w 61"/>
                <a:gd name="T21" fmla="*/ 6 h 127"/>
                <a:gd name="T22" fmla="*/ 49 w 61"/>
                <a:gd name="T23" fmla="*/ 10 h 127"/>
                <a:gd name="T24" fmla="*/ 54 w 61"/>
                <a:gd name="T25" fmla="*/ 16 h 127"/>
                <a:gd name="T26" fmla="*/ 57 w 61"/>
                <a:gd name="T27" fmla="*/ 24 h 127"/>
                <a:gd name="T28" fmla="*/ 60 w 61"/>
                <a:gd name="T29" fmla="*/ 34 h 127"/>
                <a:gd name="T30" fmla="*/ 60 w 61"/>
                <a:gd name="T31" fmla="*/ 44 h 127"/>
                <a:gd name="T32" fmla="*/ 61 w 61"/>
                <a:gd name="T33" fmla="*/ 55 h 127"/>
                <a:gd name="T34" fmla="*/ 61 w 61"/>
                <a:gd name="T35" fmla="*/ 74 h 127"/>
                <a:gd name="T36" fmla="*/ 61 w 61"/>
                <a:gd name="T37" fmla="*/ 86 h 127"/>
                <a:gd name="T38" fmla="*/ 61 w 61"/>
                <a:gd name="T39" fmla="*/ 98 h 127"/>
                <a:gd name="T40" fmla="*/ 61 w 61"/>
                <a:gd name="T41" fmla="*/ 115 h 127"/>
                <a:gd name="T42" fmla="*/ 60 w 61"/>
                <a:gd name="T43" fmla="*/ 119 h 127"/>
                <a:gd name="T44" fmla="*/ 57 w 61"/>
                <a:gd name="T45" fmla="*/ 123 h 127"/>
                <a:gd name="T46" fmla="*/ 54 w 61"/>
                <a:gd name="T47" fmla="*/ 124 h 127"/>
                <a:gd name="T48" fmla="*/ 50 w 61"/>
                <a:gd name="T49" fmla="*/ 126 h 127"/>
                <a:gd name="T50" fmla="*/ 42 w 61"/>
                <a:gd name="T51" fmla="*/ 127 h 127"/>
                <a:gd name="T52" fmla="*/ 37 w 61"/>
                <a:gd name="T53" fmla="*/ 127 h 127"/>
                <a:gd name="T54" fmla="*/ 29 w 61"/>
                <a:gd name="T55" fmla="*/ 127 h 127"/>
                <a:gd name="T56" fmla="*/ 25 w 61"/>
                <a:gd name="T57" fmla="*/ 126 h 127"/>
                <a:gd name="T58" fmla="*/ 22 w 61"/>
                <a:gd name="T59" fmla="*/ 123 h 127"/>
                <a:gd name="T60" fmla="*/ 21 w 61"/>
                <a:gd name="T61" fmla="*/ 119 h 127"/>
                <a:gd name="T62" fmla="*/ 22 w 61"/>
                <a:gd name="T63" fmla="*/ 110 h 127"/>
                <a:gd name="T64" fmla="*/ 25 w 61"/>
                <a:gd name="T65" fmla="*/ 98 h 127"/>
                <a:gd name="T66" fmla="*/ 24 w 61"/>
                <a:gd name="T67" fmla="*/ 88 h 127"/>
                <a:gd name="T68" fmla="*/ 21 w 61"/>
                <a:gd name="T69" fmla="*/ 80 h 127"/>
                <a:gd name="T70" fmla="*/ 17 w 61"/>
                <a:gd name="T71" fmla="*/ 72 h 127"/>
                <a:gd name="T72" fmla="*/ 13 w 61"/>
                <a:gd name="T73" fmla="*/ 63 h 127"/>
                <a:gd name="T74" fmla="*/ 8 w 61"/>
                <a:gd name="T75" fmla="*/ 55 h 127"/>
                <a:gd name="T76" fmla="*/ 4 w 61"/>
                <a:gd name="T77" fmla="*/ 46 h 127"/>
                <a:gd name="T78" fmla="*/ 1 w 61"/>
                <a:gd name="T79" fmla="*/ 36 h 127"/>
                <a:gd name="T80" fmla="*/ 0 w 61"/>
                <a:gd name="T81" fmla="*/ 26 h 127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61"/>
                <a:gd name="T124" fmla="*/ 0 h 127"/>
                <a:gd name="T125" fmla="*/ 61 w 61"/>
                <a:gd name="T126" fmla="*/ 127 h 127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61" h="127">
                  <a:moveTo>
                    <a:pt x="0" y="26"/>
                  </a:moveTo>
                  <a:lnTo>
                    <a:pt x="1" y="18"/>
                  </a:lnTo>
                  <a:lnTo>
                    <a:pt x="1" y="11"/>
                  </a:lnTo>
                  <a:lnTo>
                    <a:pt x="1" y="7"/>
                  </a:lnTo>
                  <a:lnTo>
                    <a:pt x="4" y="4"/>
                  </a:lnTo>
                  <a:lnTo>
                    <a:pt x="6" y="2"/>
                  </a:lnTo>
                  <a:lnTo>
                    <a:pt x="10" y="2"/>
                  </a:lnTo>
                  <a:lnTo>
                    <a:pt x="17" y="0"/>
                  </a:lnTo>
                  <a:lnTo>
                    <a:pt x="25" y="0"/>
                  </a:lnTo>
                  <a:lnTo>
                    <a:pt x="34" y="2"/>
                  </a:lnTo>
                  <a:lnTo>
                    <a:pt x="42" y="6"/>
                  </a:lnTo>
                  <a:lnTo>
                    <a:pt x="49" y="10"/>
                  </a:lnTo>
                  <a:lnTo>
                    <a:pt x="54" y="16"/>
                  </a:lnTo>
                  <a:lnTo>
                    <a:pt x="57" y="24"/>
                  </a:lnTo>
                  <a:lnTo>
                    <a:pt x="60" y="34"/>
                  </a:lnTo>
                  <a:lnTo>
                    <a:pt x="60" y="44"/>
                  </a:lnTo>
                  <a:lnTo>
                    <a:pt x="61" y="55"/>
                  </a:lnTo>
                  <a:lnTo>
                    <a:pt x="61" y="74"/>
                  </a:lnTo>
                  <a:lnTo>
                    <a:pt x="61" y="86"/>
                  </a:lnTo>
                  <a:lnTo>
                    <a:pt x="61" y="98"/>
                  </a:lnTo>
                  <a:lnTo>
                    <a:pt x="61" y="115"/>
                  </a:lnTo>
                  <a:lnTo>
                    <a:pt x="60" y="119"/>
                  </a:lnTo>
                  <a:lnTo>
                    <a:pt x="57" y="123"/>
                  </a:lnTo>
                  <a:lnTo>
                    <a:pt x="54" y="124"/>
                  </a:lnTo>
                  <a:lnTo>
                    <a:pt x="50" y="126"/>
                  </a:lnTo>
                  <a:lnTo>
                    <a:pt x="42" y="127"/>
                  </a:lnTo>
                  <a:lnTo>
                    <a:pt x="37" y="127"/>
                  </a:lnTo>
                  <a:lnTo>
                    <a:pt x="29" y="127"/>
                  </a:lnTo>
                  <a:lnTo>
                    <a:pt x="25" y="126"/>
                  </a:lnTo>
                  <a:lnTo>
                    <a:pt x="22" y="123"/>
                  </a:lnTo>
                  <a:lnTo>
                    <a:pt x="21" y="119"/>
                  </a:lnTo>
                  <a:lnTo>
                    <a:pt x="22" y="110"/>
                  </a:lnTo>
                  <a:lnTo>
                    <a:pt x="25" y="98"/>
                  </a:lnTo>
                  <a:lnTo>
                    <a:pt x="24" y="88"/>
                  </a:lnTo>
                  <a:lnTo>
                    <a:pt x="21" y="80"/>
                  </a:lnTo>
                  <a:lnTo>
                    <a:pt x="17" y="72"/>
                  </a:lnTo>
                  <a:lnTo>
                    <a:pt x="13" y="63"/>
                  </a:lnTo>
                  <a:lnTo>
                    <a:pt x="8" y="55"/>
                  </a:lnTo>
                  <a:lnTo>
                    <a:pt x="4" y="46"/>
                  </a:lnTo>
                  <a:lnTo>
                    <a:pt x="1" y="36"/>
                  </a:lnTo>
                  <a:lnTo>
                    <a:pt x="0" y="26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accent1">
                  <a:lumMod val="20000"/>
                  <a:lumOff val="8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95" b="0" i="0" u="none" strike="noStrike" kern="1200" cap="none" spc="0" normalizeH="0" baseline="0" noProof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4" name="Freeform 37"/>
            <p:cNvSpPr>
              <a:spLocks/>
            </p:cNvSpPr>
            <p:nvPr/>
          </p:nvSpPr>
          <p:spPr bwMode="auto">
            <a:xfrm>
              <a:off x="5101801" y="2169357"/>
              <a:ext cx="37023" cy="53766"/>
            </a:xfrm>
            <a:custGeom>
              <a:avLst/>
              <a:gdLst>
                <a:gd name="T0" fmla="*/ 345 w 517"/>
                <a:gd name="T1" fmla="*/ 7 h 746"/>
                <a:gd name="T2" fmla="*/ 316 w 517"/>
                <a:gd name="T3" fmla="*/ 23 h 746"/>
                <a:gd name="T4" fmla="*/ 294 w 517"/>
                <a:gd name="T5" fmla="*/ 84 h 746"/>
                <a:gd name="T6" fmla="*/ 257 w 517"/>
                <a:gd name="T7" fmla="*/ 65 h 746"/>
                <a:gd name="T8" fmla="*/ 234 w 517"/>
                <a:gd name="T9" fmla="*/ 60 h 746"/>
                <a:gd name="T10" fmla="*/ 201 w 517"/>
                <a:gd name="T11" fmla="*/ 107 h 746"/>
                <a:gd name="T12" fmla="*/ 234 w 517"/>
                <a:gd name="T13" fmla="*/ 144 h 746"/>
                <a:gd name="T14" fmla="*/ 184 w 517"/>
                <a:gd name="T15" fmla="*/ 153 h 746"/>
                <a:gd name="T16" fmla="*/ 167 w 517"/>
                <a:gd name="T17" fmla="*/ 162 h 746"/>
                <a:gd name="T18" fmla="*/ 156 w 517"/>
                <a:gd name="T19" fmla="*/ 177 h 746"/>
                <a:gd name="T20" fmla="*/ 148 w 517"/>
                <a:gd name="T21" fmla="*/ 208 h 746"/>
                <a:gd name="T22" fmla="*/ 136 w 517"/>
                <a:gd name="T23" fmla="*/ 225 h 746"/>
                <a:gd name="T24" fmla="*/ 120 w 517"/>
                <a:gd name="T25" fmla="*/ 228 h 746"/>
                <a:gd name="T26" fmla="*/ 108 w 517"/>
                <a:gd name="T27" fmla="*/ 225 h 746"/>
                <a:gd name="T28" fmla="*/ 93 w 517"/>
                <a:gd name="T29" fmla="*/ 210 h 746"/>
                <a:gd name="T30" fmla="*/ 77 w 517"/>
                <a:gd name="T31" fmla="*/ 194 h 746"/>
                <a:gd name="T32" fmla="*/ 55 w 517"/>
                <a:gd name="T33" fmla="*/ 194 h 746"/>
                <a:gd name="T34" fmla="*/ 33 w 517"/>
                <a:gd name="T35" fmla="*/ 208 h 746"/>
                <a:gd name="T36" fmla="*/ 17 w 517"/>
                <a:gd name="T37" fmla="*/ 228 h 746"/>
                <a:gd name="T38" fmla="*/ 0 w 517"/>
                <a:gd name="T39" fmla="*/ 282 h 746"/>
                <a:gd name="T40" fmla="*/ 3 w 517"/>
                <a:gd name="T41" fmla="*/ 324 h 746"/>
                <a:gd name="T42" fmla="*/ 20 w 517"/>
                <a:gd name="T43" fmla="*/ 354 h 746"/>
                <a:gd name="T44" fmla="*/ 45 w 517"/>
                <a:gd name="T45" fmla="*/ 377 h 746"/>
                <a:gd name="T46" fmla="*/ 100 w 517"/>
                <a:gd name="T47" fmla="*/ 405 h 746"/>
                <a:gd name="T48" fmla="*/ 109 w 517"/>
                <a:gd name="T49" fmla="*/ 437 h 746"/>
                <a:gd name="T50" fmla="*/ 111 w 517"/>
                <a:gd name="T51" fmla="*/ 452 h 746"/>
                <a:gd name="T52" fmla="*/ 113 w 517"/>
                <a:gd name="T53" fmla="*/ 481 h 746"/>
                <a:gd name="T54" fmla="*/ 109 w 517"/>
                <a:gd name="T55" fmla="*/ 498 h 746"/>
                <a:gd name="T56" fmla="*/ 89 w 517"/>
                <a:gd name="T57" fmla="*/ 517 h 746"/>
                <a:gd name="T58" fmla="*/ 71 w 517"/>
                <a:gd name="T59" fmla="*/ 537 h 746"/>
                <a:gd name="T60" fmla="*/ 65 w 517"/>
                <a:gd name="T61" fmla="*/ 553 h 746"/>
                <a:gd name="T62" fmla="*/ 69 w 517"/>
                <a:gd name="T63" fmla="*/ 581 h 746"/>
                <a:gd name="T64" fmla="*/ 89 w 517"/>
                <a:gd name="T65" fmla="*/ 621 h 746"/>
                <a:gd name="T66" fmla="*/ 129 w 517"/>
                <a:gd name="T67" fmla="*/ 661 h 746"/>
                <a:gd name="T68" fmla="*/ 216 w 517"/>
                <a:gd name="T69" fmla="*/ 713 h 746"/>
                <a:gd name="T70" fmla="*/ 312 w 517"/>
                <a:gd name="T71" fmla="*/ 746 h 746"/>
                <a:gd name="T72" fmla="*/ 297 w 517"/>
                <a:gd name="T73" fmla="*/ 669 h 746"/>
                <a:gd name="T74" fmla="*/ 285 w 517"/>
                <a:gd name="T75" fmla="*/ 593 h 746"/>
                <a:gd name="T76" fmla="*/ 284 w 517"/>
                <a:gd name="T77" fmla="*/ 492 h 746"/>
                <a:gd name="T78" fmla="*/ 298 w 517"/>
                <a:gd name="T79" fmla="*/ 398 h 746"/>
                <a:gd name="T80" fmla="*/ 326 w 517"/>
                <a:gd name="T81" fmla="*/ 333 h 746"/>
                <a:gd name="T82" fmla="*/ 368 w 517"/>
                <a:gd name="T83" fmla="*/ 284 h 746"/>
                <a:gd name="T84" fmla="*/ 433 w 517"/>
                <a:gd name="T85" fmla="*/ 225 h 746"/>
                <a:gd name="T86" fmla="*/ 456 w 517"/>
                <a:gd name="T87" fmla="*/ 184 h 746"/>
                <a:gd name="T88" fmla="*/ 470 w 517"/>
                <a:gd name="T89" fmla="*/ 169 h 746"/>
                <a:gd name="T90" fmla="*/ 517 w 517"/>
                <a:gd name="T91" fmla="*/ 150 h 746"/>
                <a:gd name="T92" fmla="*/ 465 w 517"/>
                <a:gd name="T93" fmla="*/ 89 h 746"/>
                <a:gd name="T94" fmla="*/ 445 w 517"/>
                <a:gd name="T95" fmla="*/ 41 h 746"/>
                <a:gd name="T96" fmla="*/ 406 w 517"/>
                <a:gd name="T97" fmla="*/ 36 h 746"/>
                <a:gd name="T98" fmla="*/ 374 w 517"/>
                <a:gd name="T99" fmla="*/ 24 h 74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517"/>
                <a:gd name="T151" fmla="*/ 0 h 746"/>
                <a:gd name="T152" fmla="*/ 517 w 517"/>
                <a:gd name="T153" fmla="*/ 746 h 74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517" h="746">
                  <a:moveTo>
                    <a:pt x="366" y="17"/>
                  </a:moveTo>
                  <a:lnTo>
                    <a:pt x="354" y="11"/>
                  </a:lnTo>
                  <a:lnTo>
                    <a:pt x="345" y="7"/>
                  </a:lnTo>
                  <a:lnTo>
                    <a:pt x="336" y="4"/>
                  </a:lnTo>
                  <a:lnTo>
                    <a:pt x="325" y="0"/>
                  </a:lnTo>
                  <a:lnTo>
                    <a:pt x="316" y="23"/>
                  </a:lnTo>
                  <a:lnTo>
                    <a:pt x="309" y="44"/>
                  </a:lnTo>
                  <a:lnTo>
                    <a:pt x="302" y="65"/>
                  </a:lnTo>
                  <a:lnTo>
                    <a:pt x="294" y="84"/>
                  </a:lnTo>
                  <a:lnTo>
                    <a:pt x="278" y="77"/>
                  </a:lnTo>
                  <a:lnTo>
                    <a:pt x="264" y="69"/>
                  </a:lnTo>
                  <a:lnTo>
                    <a:pt x="257" y="65"/>
                  </a:lnTo>
                  <a:lnTo>
                    <a:pt x="250" y="63"/>
                  </a:lnTo>
                  <a:lnTo>
                    <a:pt x="242" y="61"/>
                  </a:lnTo>
                  <a:lnTo>
                    <a:pt x="234" y="60"/>
                  </a:lnTo>
                  <a:lnTo>
                    <a:pt x="192" y="60"/>
                  </a:lnTo>
                  <a:lnTo>
                    <a:pt x="192" y="91"/>
                  </a:lnTo>
                  <a:lnTo>
                    <a:pt x="201" y="107"/>
                  </a:lnTo>
                  <a:lnTo>
                    <a:pt x="210" y="120"/>
                  </a:lnTo>
                  <a:lnTo>
                    <a:pt x="221" y="132"/>
                  </a:lnTo>
                  <a:lnTo>
                    <a:pt x="234" y="144"/>
                  </a:lnTo>
                  <a:lnTo>
                    <a:pt x="218" y="145"/>
                  </a:lnTo>
                  <a:lnTo>
                    <a:pt x="196" y="149"/>
                  </a:lnTo>
                  <a:lnTo>
                    <a:pt x="184" y="153"/>
                  </a:lnTo>
                  <a:lnTo>
                    <a:pt x="175" y="157"/>
                  </a:lnTo>
                  <a:lnTo>
                    <a:pt x="169" y="160"/>
                  </a:lnTo>
                  <a:lnTo>
                    <a:pt x="167" y="162"/>
                  </a:lnTo>
                  <a:lnTo>
                    <a:pt x="164" y="165"/>
                  </a:lnTo>
                  <a:lnTo>
                    <a:pt x="163" y="168"/>
                  </a:lnTo>
                  <a:lnTo>
                    <a:pt x="156" y="177"/>
                  </a:lnTo>
                  <a:lnTo>
                    <a:pt x="153" y="188"/>
                  </a:lnTo>
                  <a:lnTo>
                    <a:pt x="151" y="198"/>
                  </a:lnTo>
                  <a:lnTo>
                    <a:pt x="148" y="208"/>
                  </a:lnTo>
                  <a:lnTo>
                    <a:pt x="144" y="216"/>
                  </a:lnTo>
                  <a:lnTo>
                    <a:pt x="139" y="222"/>
                  </a:lnTo>
                  <a:lnTo>
                    <a:pt x="136" y="225"/>
                  </a:lnTo>
                  <a:lnTo>
                    <a:pt x="131" y="226"/>
                  </a:lnTo>
                  <a:lnTo>
                    <a:pt x="127" y="228"/>
                  </a:lnTo>
                  <a:lnTo>
                    <a:pt x="120" y="228"/>
                  </a:lnTo>
                  <a:lnTo>
                    <a:pt x="116" y="228"/>
                  </a:lnTo>
                  <a:lnTo>
                    <a:pt x="112" y="226"/>
                  </a:lnTo>
                  <a:lnTo>
                    <a:pt x="108" y="225"/>
                  </a:lnTo>
                  <a:lnTo>
                    <a:pt x="105" y="222"/>
                  </a:lnTo>
                  <a:lnTo>
                    <a:pt x="99" y="217"/>
                  </a:lnTo>
                  <a:lnTo>
                    <a:pt x="93" y="210"/>
                  </a:lnTo>
                  <a:lnTo>
                    <a:pt x="88" y="204"/>
                  </a:lnTo>
                  <a:lnTo>
                    <a:pt x="84" y="198"/>
                  </a:lnTo>
                  <a:lnTo>
                    <a:pt x="77" y="194"/>
                  </a:lnTo>
                  <a:lnTo>
                    <a:pt x="72" y="192"/>
                  </a:lnTo>
                  <a:lnTo>
                    <a:pt x="63" y="193"/>
                  </a:lnTo>
                  <a:lnTo>
                    <a:pt x="55" y="194"/>
                  </a:lnTo>
                  <a:lnTo>
                    <a:pt x="47" y="198"/>
                  </a:lnTo>
                  <a:lnTo>
                    <a:pt x="40" y="202"/>
                  </a:lnTo>
                  <a:lnTo>
                    <a:pt x="33" y="208"/>
                  </a:lnTo>
                  <a:lnTo>
                    <a:pt x="28" y="214"/>
                  </a:lnTo>
                  <a:lnTo>
                    <a:pt x="23" y="221"/>
                  </a:lnTo>
                  <a:lnTo>
                    <a:pt x="17" y="228"/>
                  </a:lnTo>
                  <a:lnTo>
                    <a:pt x="9" y="245"/>
                  </a:lnTo>
                  <a:lnTo>
                    <a:pt x="4" y="264"/>
                  </a:lnTo>
                  <a:lnTo>
                    <a:pt x="0" y="282"/>
                  </a:lnTo>
                  <a:lnTo>
                    <a:pt x="0" y="301"/>
                  </a:lnTo>
                  <a:lnTo>
                    <a:pt x="0" y="313"/>
                  </a:lnTo>
                  <a:lnTo>
                    <a:pt x="3" y="324"/>
                  </a:lnTo>
                  <a:lnTo>
                    <a:pt x="8" y="334"/>
                  </a:lnTo>
                  <a:lnTo>
                    <a:pt x="13" y="345"/>
                  </a:lnTo>
                  <a:lnTo>
                    <a:pt x="20" y="354"/>
                  </a:lnTo>
                  <a:lnTo>
                    <a:pt x="28" y="362"/>
                  </a:lnTo>
                  <a:lnTo>
                    <a:pt x="36" y="370"/>
                  </a:lnTo>
                  <a:lnTo>
                    <a:pt x="45" y="377"/>
                  </a:lnTo>
                  <a:lnTo>
                    <a:pt x="64" y="389"/>
                  </a:lnTo>
                  <a:lnTo>
                    <a:pt x="83" y="398"/>
                  </a:lnTo>
                  <a:lnTo>
                    <a:pt x="100" y="405"/>
                  </a:lnTo>
                  <a:lnTo>
                    <a:pt x="113" y="409"/>
                  </a:lnTo>
                  <a:lnTo>
                    <a:pt x="111" y="426"/>
                  </a:lnTo>
                  <a:lnTo>
                    <a:pt x="109" y="437"/>
                  </a:lnTo>
                  <a:lnTo>
                    <a:pt x="108" y="442"/>
                  </a:lnTo>
                  <a:lnTo>
                    <a:pt x="109" y="448"/>
                  </a:lnTo>
                  <a:lnTo>
                    <a:pt x="111" y="452"/>
                  </a:lnTo>
                  <a:lnTo>
                    <a:pt x="112" y="457"/>
                  </a:lnTo>
                  <a:lnTo>
                    <a:pt x="113" y="466"/>
                  </a:lnTo>
                  <a:lnTo>
                    <a:pt x="113" y="481"/>
                  </a:lnTo>
                  <a:lnTo>
                    <a:pt x="113" y="488"/>
                  </a:lnTo>
                  <a:lnTo>
                    <a:pt x="112" y="493"/>
                  </a:lnTo>
                  <a:lnTo>
                    <a:pt x="109" y="498"/>
                  </a:lnTo>
                  <a:lnTo>
                    <a:pt x="107" y="502"/>
                  </a:lnTo>
                  <a:lnTo>
                    <a:pt x="99" y="510"/>
                  </a:lnTo>
                  <a:lnTo>
                    <a:pt x="89" y="517"/>
                  </a:lnTo>
                  <a:lnTo>
                    <a:pt x="81" y="525"/>
                  </a:lnTo>
                  <a:lnTo>
                    <a:pt x="73" y="532"/>
                  </a:lnTo>
                  <a:lnTo>
                    <a:pt x="71" y="537"/>
                  </a:lnTo>
                  <a:lnTo>
                    <a:pt x="68" y="541"/>
                  </a:lnTo>
                  <a:lnTo>
                    <a:pt x="67" y="548"/>
                  </a:lnTo>
                  <a:lnTo>
                    <a:pt x="65" y="553"/>
                  </a:lnTo>
                  <a:lnTo>
                    <a:pt x="67" y="564"/>
                  </a:lnTo>
                  <a:lnTo>
                    <a:pt x="67" y="572"/>
                  </a:lnTo>
                  <a:lnTo>
                    <a:pt x="69" y="581"/>
                  </a:lnTo>
                  <a:lnTo>
                    <a:pt x="72" y="589"/>
                  </a:lnTo>
                  <a:lnTo>
                    <a:pt x="80" y="606"/>
                  </a:lnTo>
                  <a:lnTo>
                    <a:pt x="89" y="621"/>
                  </a:lnTo>
                  <a:lnTo>
                    <a:pt x="101" y="636"/>
                  </a:lnTo>
                  <a:lnTo>
                    <a:pt x="115" y="649"/>
                  </a:lnTo>
                  <a:lnTo>
                    <a:pt x="129" y="661"/>
                  </a:lnTo>
                  <a:lnTo>
                    <a:pt x="147" y="673"/>
                  </a:lnTo>
                  <a:lnTo>
                    <a:pt x="180" y="694"/>
                  </a:lnTo>
                  <a:lnTo>
                    <a:pt x="216" y="713"/>
                  </a:lnTo>
                  <a:lnTo>
                    <a:pt x="248" y="730"/>
                  </a:lnTo>
                  <a:lnTo>
                    <a:pt x="276" y="746"/>
                  </a:lnTo>
                  <a:lnTo>
                    <a:pt x="312" y="746"/>
                  </a:lnTo>
                  <a:lnTo>
                    <a:pt x="308" y="718"/>
                  </a:lnTo>
                  <a:lnTo>
                    <a:pt x="302" y="693"/>
                  </a:lnTo>
                  <a:lnTo>
                    <a:pt x="297" y="669"/>
                  </a:lnTo>
                  <a:lnTo>
                    <a:pt x="293" y="645"/>
                  </a:lnTo>
                  <a:lnTo>
                    <a:pt x="289" y="620"/>
                  </a:lnTo>
                  <a:lnTo>
                    <a:pt x="285" y="593"/>
                  </a:lnTo>
                  <a:lnTo>
                    <a:pt x="282" y="564"/>
                  </a:lnTo>
                  <a:lnTo>
                    <a:pt x="282" y="529"/>
                  </a:lnTo>
                  <a:lnTo>
                    <a:pt x="284" y="492"/>
                  </a:lnTo>
                  <a:lnTo>
                    <a:pt x="286" y="457"/>
                  </a:lnTo>
                  <a:lnTo>
                    <a:pt x="292" y="426"/>
                  </a:lnTo>
                  <a:lnTo>
                    <a:pt x="298" y="398"/>
                  </a:lnTo>
                  <a:lnTo>
                    <a:pt x="306" y="374"/>
                  </a:lnTo>
                  <a:lnTo>
                    <a:pt x="316" y="353"/>
                  </a:lnTo>
                  <a:lnTo>
                    <a:pt x="326" y="333"/>
                  </a:lnTo>
                  <a:lnTo>
                    <a:pt x="340" y="316"/>
                  </a:lnTo>
                  <a:lnTo>
                    <a:pt x="353" y="300"/>
                  </a:lnTo>
                  <a:lnTo>
                    <a:pt x="368" y="284"/>
                  </a:lnTo>
                  <a:lnTo>
                    <a:pt x="382" y="269"/>
                  </a:lnTo>
                  <a:lnTo>
                    <a:pt x="400" y="254"/>
                  </a:lnTo>
                  <a:lnTo>
                    <a:pt x="433" y="225"/>
                  </a:lnTo>
                  <a:lnTo>
                    <a:pt x="469" y="192"/>
                  </a:lnTo>
                  <a:lnTo>
                    <a:pt x="461" y="188"/>
                  </a:lnTo>
                  <a:lnTo>
                    <a:pt x="456" y="184"/>
                  </a:lnTo>
                  <a:lnTo>
                    <a:pt x="452" y="178"/>
                  </a:lnTo>
                  <a:lnTo>
                    <a:pt x="450" y="174"/>
                  </a:lnTo>
                  <a:lnTo>
                    <a:pt x="470" y="169"/>
                  </a:lnTo>
                  <a:lnTo>
                    <a:pt x="490" y="162"/>
                  </a:lnTo>
                  <a:lnTo>
                    <a:pt x="508" y="156"/>
                  </a:lnTo>
                  <a:lnTo>
                    <a:pt x="517" y="150"/>
                  </a:lnTo>
                  <a:lnTo>
                    <a:pt x="494" y="122"/>
                  </a:lnTo>
                  <a:lnTo>
                    <a:pt x="474" y="100"/>
                  </a:lnTo>
                  <a:lnTo>
                    <a:pt x="465" y="89"/>
                  </a:lnTo>
                  <a:lnTo>
                    <a:pt x="457" y="76"/>
                  </a:lnTo>
                  <a:lnTo>
                    <a:pt x="450" y="60"/>
                  </a:lnTo>
                  <a:lnTo>
                    <a:pt x="445" y="41"/>
                  </a:lnTo>
                  <a:lnTo>
                    <a:pt x="433" y="41"/>
                  </a:lnTo>
                  <a:lnTo>
                    <a:pt x="420" y="39"/>
                  </a:lnTo>
                  <a:lnTo>
                    <a:pt x="406" y="36"/>
                  </a:lnTo>
                  <a:lnTo>
                    <a:pt x="394" y="32"/>
                  </a:lnTo>
                  <a:lnTo>
                    <a:pt x="384" y="28"/>
                  </a:lnTo>
                  <a:lnTo>
                    <a:pt x="374" y="24"/>
                  </a:lnTo>
                  <a:lnTo>
                    <a:pt x="369" y="20"/>
                  </a:lnTo>
                  <a:lnTo>
                    <a:pt x="366" y="17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accent1">
                  <a:lumMod val="20000"/>
                  <a:lumOff val="8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95" b="0" i="0" u="none" strike="noStrike" kern="1200" cap="none" spc="0" normalizeH="0" baseline="0" noProof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5" name="Freeform 38"/>
            <p:cNvSpPr>
              <a:spLocks/>
            </p:cNvSpPr>
            <p:nvPr/>
          </p:nvSpPr>
          <p:spPr bwMode="auto">
            <a:xfrm>
              <a:off x="5131986" y="2131626"/>
              <a:ext cx="89845" cy="46927"/>
            </a:xfrm>
            <a:custGeom>
              <a:avLst/>
              <a:gdLst>
                <a:gd name="T0" fmla="*/ 1100 w 1246"/>
                <a:gd name="T1" fmla="*/ 22 h 648"/>
                <a:gd name="T2" fmla="*/ 1065 w 1246"/>
                <a:gd name="T3" fmla="*/ 74 h 648"/>
                <a:gd name="T4" fmla="*/ 1038 w 1246"/>
                <a:gd name="T5" fmla="*/ 83 h 648"/>
                <a:gd name="T6" fmla="*/ 976 w 1246"/>
                <a:gd name="T7" fmla="*/ 77 h 648"/>
                <a:gd name="T8" fmla="*/ 902 w 1246"/>
                <a:gd name="T9" fmla="*/ 101 h 648"/>
                <a:gd name="T10" fmla="*/ 838 w 1246"/>
                <a:gd name="T11" fmla="*/ 101 h 648"/>
                <a:gd name="T12" fmla="*/ 754 w 1246"/>
                <a:gd name="T13" fmla="*/ 56 h 648"/>
                <a:gd name="T14" fmla="*/ 710 w 1246"/>
                <a:gd name="T15" fmla="*/ 75 h 648"/>
                <a:gd name="T16" fmla="*/ 495 w 1246"/>
                <a:gd name="T17" fmla="*/ 119 h 648"/>
                <a:gd name="T18" fmla="*/ 460 w 1246"/>
                <a:gd name="T19" fmla="*/ 146 h 648"/>
                <a:gd name="T20" fmla="*/ 445 w 1246"/>
                <a:gd name="T21" fmla="*/ 171 h 648"/>
                <a:gd name="T22" fmla="*/ 388 w 1246"/>
                <a:gd name="T23" fmla="*/ 163 h 648"/>
                <a:gd name="T24" fmla="*/ 349 w 1246"/>
                <a:gd name="T25" fmla="*/ 185 h 648"/>
                <a:gd name="T26" fmla="*/ 323 w 1246"/>
                <a:gd name="T27" fmla="*/ 166 h 648"/>
                <a:gd name="T28" fmla="*/ 327 w 1246"/>
                <a:gd name="T29" fmla="*/ 225 h 648"/>
                <a:gd name="T30" fmla="*/ 277 w 1246"/>
                <a:gd name="T31" fmla="*/ 233 h 648"/>
                <a:gd name="T32" fmla="*/ 299 w 1246"/>
                <a:gd name="T33" fmla="*/ 279 h 648"/>
                <a:gd name="T34" fmla="*/ 279 w 1246"/>
                <a:gd name="T35" fmla="*/ 291 h 648"/>
                <a:gd name="T36" fmla="*/ 235 w 1246"/>
                <a:gd name="T37" fmla="*/ 275 h 648"/>
                <a:gd name="T38" fmla="*/ 236 w 1246"/>
                <a:gd name="T39" fmla="*/ 322 h 648"/>
                <a:gd name="T40" fmla="*/ 215 w 1246"/>
                <a:gd name="T41" fmla="*/ 331 h 648"/>
                <a:gd name="T42" fmla="*/ 189 w 1246"/>
                <a:gd name="T43" fmla="*/ 334 h 648"/>
                <a:gd name="T44" fmla="*/ 176 w 1246"/>
                <a:gd name="T45" fmla="*/ 382 h 648"/>
                <a:gd name="T46" fmla="*/ 135 w 1246"/>
                <a:gd name="T47" fmla="*/ 378 h 648"/>
                <a:gd name="T48" fmla="*/ 79 w 1246"/>
                <a:gd name="T49" fmla="*/ 377 h 648"/>
                <a:gd name="T50" fmla="*/ 7 w 1246"/>
                <a:gd name="T51" fmla="*/ 414 h 648"/>
                <a:gd name="T52" fmla="*/ 3 w 1246"/>
                <a:gd name="T53" fmla="*/ 437 h 648"/>
                <a:gd name="T54" fmla="*/ 65 w 1246"/>
                <a:gd name="T55" fmla="*/ 483 h 648"/>
                <a:gd name="T56" fmla="*/ 41 w 1246"/>
                <a:gd name="T57" fmla="*/ 498 h 648"/>
                <a:gd name="T58" fmla="*/ 3 w 1246"/>
                <a:gd name="T59" fmla="*/ 509 h 648"/>
                <a:gd name="T60" fmla="*/ 1 w 1246"/>
                <a:gd name="T61" fmla="*/ 531 h 648"/>
                <a:gd name="T62" fmla="*/ 25 w 1246"/>
                <a:gd name="T63" fmla="*/ 545 h 648"/>
                <a:gd name="T64" fmla="*/ 61 w 1246"/>
                <a:gd name="T65" fmla="*/ 563 h 648"/>
                <a:gd name="T66" fmla="*/ 73 w 1246"/>
                <a:gd name="T67" fmla="*/ 617 h 648"/>
                <a:gd name="T68" fmla="*/ 111 w 1246"/>
                <a:gd name="T69" fmla="*/ 639 h 648"/>
                <a:gd name="T70" fmla="*/ 175 w 1246"/>
                <a:gd name="T71" fmla="*/ 647 h 648"/>
                <a:gd name="T72" fmla="*/ 189 w 1246"/>
                <a:gd name="T73" fmla="*/ 630 h 648"/>
                <a:gd name="T74" fmla="*/ 203 w 1246"/>
                <a:gd name="T75" fmla="*/ 569 h 648"/>
                <a:gd name="T76" fmla="*/ 241 w 1246"/>
                <a:gd name="T77" fmla="*/ 582 h 648"/>
                <a:gd name="T78" fmla="*/ 232 w 1246"/>
                <a:gd name="T79" fmla="*/ 533 h 648"/>
                <a:gd name="T80" fmla="*/ 248 w 1246"/>
                <a:gd name="T81" fmla="*/ 538 h 648"/>
                <a:gd name="T82" fmla="*/ 279 w 1246"/>
                <a:gd name="T83" fmla="*/ 551 h 648"/>
                <a:gd name="T84" fmla="*/ 295 w 1246"/>
                <a:gd name="T85" fmla="*/ 515 h 648"/>
                <a:gd name="T86" fmla="*/ 287 w 1246"/>
                <a:gd name="T87" fmla="*/ 483 h 648"/>
                <a:gd name="T88" fmla="*/ 309 w 1246"/>
                <a:gd name="T89" fmla="*/ 487 h 648"/>
                <a:gd name="T90" fmla="*/ 341 w 1246"/>
                <a:gd name="T91" fmla="*/ 490 h 648"/>
                <a:gd name="T92" fmla="*/ 388 w 1246"/>
                <a:gd name="T93" fmla="*/ 422 h 648"/>
                <a:gd name="T94" fmla="*/ 423 w 1246"/>
                <a:gd name="T95" fmla="*/ 421 h 648"/>
                <a:gd name="T96" fmla="*/ 449 w 1246"/>
                <a:gd name="T97" fmla="*/ 421 h 648"/>
                <a:gd name="T98" fmla="*/ 464 w 1246"/>
                <a:gd name="T99" fmla="*/ 397 h 648"/>
                <a:gd name="T100" fmla="*/ 537 w 1246"/>
                <a:gd name="T101" fmla="*/ 390 h 648"/>
                <a:gd name="T102" fmla="*/ 570 w 1246"/>
                <a:gd name="T103" fmla="*/ 365 h 648"/>
                <a:gd name="T104" fmla="*/ 582 w 1246"/>
                <a:gd name="T105" fmla="*/ 338 h 648"/>
                <a:gd name="T106" fmla="*/ 680 w 1246"/>
                <a:gd name="T107" fmla="*/ 302 h 648"/>
                <a:gd name="T108" fmla="*/ 849 w 1246"/>
                <a:gd name="T109" fmla="*/ 269 h 648"/>
                <a:gd name="T110" fmla="*/ 1148 w 1246"/>
                <a:gd name="T111" fmla="*/ 227 h 648"/>
                <a:gd name="T112" fmla="*/ 1217 w 1246"/>
                <a:gd name="T113" fmla="*/ 174 h 648"/>
                <a:gd name="T114" fmla="*/ 1245 w 1246"/>
                <a:gd name="T115" fmla="*/ 105 h 648"/>
                <a:gd name="T116" fmla="*/ 1244 w 1246"/>
                <a:gd name="T117" fmla="*/ 61 h 648"/>
                <a:gd name="T118" fmla="*/ 1208 w 1246"/>
                <a:gd name="T119" fmla="*/ 17 h 648"/>
                <a:gd name="T120" fmla="*/ 1154 w 1246"/>
                <a:gd name="T121" fmla="*/ 0 h 648"/>
                <a:gd name="T122" fmla="*/ 1126 w 1246"/>
                <a:gd name="T123" fmla="*/ 4 h 64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246"/>
                <a:gd name="T187" fmla="*/ 0 h 648"/>
                <a:gd name="T188" fmla="*/ 1246 w 1246"/>
                <a:gd name="T189" fmla="*/ 648 h 64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246" h="648">
                  <a:moveTo>
                    <a:pt x="1126" y="4"/>
                  </a:moveTo>
                  <a:lnTo>
                    <a:pt x="1118" y="8"/>
                  </a:lnTo>
                  <a:lnTo>
                    <a:pt x="1112" y="12"/>
                  </a:lnTo>
                  <a:lnTo>
                    <a:pt x="1105" y="17"/>
                  </a:lnTo>
                  <a:lnTo>
                    <a:pt x="1100" y="22"/>
                  </a:lnTo>
                  <a:lnTo>
                    <a:pt x="1090" y="36"/>
                  </a:lnTo>
                  <a:lnTo>
                    <a:pt x="1082" y="48"/>
                  </a:lnTo>
                  <a:lnTo>
                    <a:pt x="1076" y="60"/>
                  </a:lnTo>
                  <a:lnTo>
                    <a:pt x="1069" y="70"/>
                  </a:lnTo>
                  <a:lnTo>
                    <a:pt x="1065" y="74"/>
                  </a:lnTo>
                  <a:lnTo>
                    <a:pt x="1062" y="78"/>
                  </a:lnTo>
                  <a:lnTo>
                    <a:pt x="1058" y="81"/>
                  </a:lnTo>
                  <a:lnTo>
                    <a:pt x="1053" y="82"/>
                  </a:lnTo>
                  <a:lnTo>
                    <a:pt x="1046" y="83"/>
                  </a:lnTo>
                  <a:lnTo>
                    <a:pt x="1038" y="83"/>
                  </a:lnTo>
                  <a:lnTo>
                    <a:pt x="1030" y="82"/>
                  </a:lnTo>
                  <a:lnTo>
                    <a:pt x="1021" y="81"/>
                  </a:lnTo>
                  <a:lnTo>
                    <a:pt x="1005" y="78"/>
                  </a:lnTo>
                  <a:lnTo>
                    <a:pt x="993" y="75"/>
                  </a:lnTo>
                  <a:lnTo>
                    <a:pt x="976" y="77"/>
                  </a:lnTo>
                  <a:lnTo>
                    <a:pt x="960" y="81"/>
                  </a:lnTo>
                  <a:lnTo>
                    <a:pt x="945" y="86"/>
                  </a:lnTo>
                  <a:lnTo>
                    <a:pt x="930" y="91"/>
                  </a:lnTo>
                  <a:lnTo>
                    <a:pt x="917" y="97"/>
                  </a:lnTo>
                  <a:lnTo>
                    <a:pt x="902" y="101"/>
                  </a:lnTo>
                  <a:lnTo>
                    <a:pt x="888" y="105"/>
                  </a:lnTo>
                  <a:lnTo>
                    <a:pt x="873" y="106"/>
                  </a:lnTo>
                  <a:lnTo>
                    <a:pt x="861" y="105"/>
                  </a:lnTo>
                  <a:lnTo>
                    <a:pt x="849" y="103"/>
                  </a:lnTo>
                  <a:lnTo>
                    <a:pt x="838" y="101"/>
                  </a:lnTo>
                  <a:lnTo>
                    <a:pt x="829" y="97"/>
                  </a:lnTo>
                  <a:lnTo>
                    <a:pt x="810" y="87"/>
                  </a:lnTo>
                  <a:lnTo>
                    <a:pt x="792" y="75"/>
                  </a:lnTo>
                  <a:lnTo>
                    <a:pt x="773" y="65"/>
                  </a:lnTo>
                  <a:lnTo>
                    <a:pt x="754" y="56"/>
                  </a:lnTo>
                  <a:lnTo>
                    <a:pt x="744" y="52"/>
                  </a:lnTo>
                  <a:lnTo>
                    <a:pt x="733" y="49"/>
                  </a:lnTo>
                  <a:lnTo>
                    <a:pt x="722" y="46"/>
                  </a:lnTo>
                  <a:lnTo>
                    <a:pt x="710" y="46"/>
                  </a:lnTo>
                  <a:lnTo>
                    <a:pt x="710" y="75"/>
                  </a:lnTo>
                  <a:lnTo>
                    <a:pt x="572" y="75"/>
                  </a:lnTo>
                  <a:lnTo>
                    <a:pt x="542" y="90"/>
                  </a:lnTo>
                  <a:lnTo>
                    <a:pt x="519" y="105"/>
                  </a:lnTo>
                  <a:lnTo>
                    <a:pt x="507" y="113"/>
                  </a:lnTo>
                  <a:lnTo>
                    <a:pt x="495" y="119"/>
                  </a:lnTo>
                  <a:lnTo>
                    <a:pt x="483" y="125"/>
                  </a:lnTo>
                  <a:lnTo>
                    <a:pt x="469" y="130"/>
                  </a:lnTo>
                  <a:lnTo>
                    <a:pt x="465" y="134"/>
                  </a:lnTo>
                  <a:lnTo>
                    <a:pt x="463" y="139"/>
                  </a:lnTo>
                  <a:lnTo>
                    <a:pt x="460" y="146"/>
                  </a:lnTo>
                  <a:lnTo>
                    <a:pt x="457" y="154"/>
                  </a:lnTo>
                  <a:lnTo>
                    <a:pt x="453" y="161"/>
                  </a:lnTo>
                  <a:lnTo>
                    <a:pt x="451" y="166"/>
                  </a:lnTo>
                  <a:lnTo>
                    <a:pt x="448" y="169"/>
                  </a:lnTo>
                  <a:lnTo>
                    <a:pt x="445" y="171"/>
                  </a:lnTo>
                  <a:lnTo>
                    <a:pt x="443" y="171"/>
                  </a:lnTo>
                  <a:lnTo>
                    <a:pt x="440" y="173"/>
                  </a:lnTo>
                  <a:lnTo>
                    <a:pt x="419" y="161"/>
                  </a:lnTo>
                  <a:lnTo>
                    <a:pt x="404" y="149"/>
                  </a:lnTo>
                  <a:lnTo>
                    <a:pt x="388" y="163"/>
                  </a:lnTo>
                  <a:lnTo>
                    <a:pt x="376" y="173"/>
                  </a:lnTo>
                  <a:lnTo>
                    <a:pt x="371" y="177"/>
                  </a:lnTo>
                  <a:lnTo>
                    <a:pt x="364" y="179"/>
                  </a:lnTo>
                  <a:lnTo>
                    <a:pt x="357" y="182"/>
                  </a:lnTo>
                  <a:lnTo>
                    <a:pt x="349" y="185"/>
                  </a:lnTo>
                  <a:lnTo>
                    <a:pt x="347" y="177"/>
                  </a:lnTo>
                  <a:lnTo>
                    <a:pt x="344" y="171"/>
                  </a:lnTo>
                  <a:lnTo>
                    <a:pt x="340" y="169"/>
                  </a:lnTo>
                  <a:lnTo>
                    <a:pt x="335" y="166"/>
                  </a:lnTo>
                  <a:lnTo>
                    <a:pt x="323" y="166"/>
                  </a:lnTo>
                  <a:lnTo>
                    <a:pt x="307" y="166"/>
                  </a:lnTo>
                  <a:lnTo>
                    <a:pt x="307" y="209"/>
                  </a:lnTo>
                  <a:lnTo>
                    <a:pt x="315" y="213"/>
                  </a:lnTo>
                  <a:lnTo>
                    <a:pt x="321" y="218"/>
                  </a:lnTo>
                  <a:lnTo>
                    <a:pt x="327" y="225"/>
                  </a:lnTo>
                  <a:lnTo>
                    <a:pt x="331" y="233"/>
                  </a:lnTo>
                  <a:lnTo>
                    <a:pt x="317" y="233"/>
                  </a:lnTo>
                  <a:lnTo>
                    <a:pt x="304" y="233"/>
                  </a:lnTo>
                  <a:lnTo>
                    <a:pt x="291" y="233"/>
                  </a:lnTo>
                  <a:lnTo>
                    <a:pt x="277" y="233"/>
                  </a:lnTo>
                  <a:lnTo>
                    <a:pt x="280" y="243"/>
                  </a:lnTo>
                  <a:lnTo>
                    <a:pt x="283" y="251"/>
                  </a:lnTo>
                  <a:lnTo>
                    <a:pt x="285" y="259"/>
                  </a:lnTo>
                  <a:lnTo>
                    <a:pt x="289" y="266"/>
                  </a:lnTo>
                  <a:lnTo>
                    <a:pt x="299" y="279"/>
                  </a:lnTo>
                  <a:lnTo>
                    <a:pt x="307" y="299"/>
                  </a:lnTo>
                  <a:lnTo>
                    <a:pt x="299" y="298"/>
                  </a:lnTo>
                  <a:lnTo>
                    <a:pt x="291" y="297"/>
                  </a:lnTo>
                  <a:lnTo>
                    <a:pt x="284" y="294"/>
                  </a:lnTo>
                  <a:lnTo>
                    <a:pt x="279" y="291"/>
                  </a:lnTo>
                  <a:lnTo>
                    <a:pt x="275" y="287"/>
                  </a:lnTo>
                  <a:lnTo>
                    <a:pt x="271" y="283"/>
                  </a:lnTo>
                  <a:lnTo>
                    <a:pt x="267" y="279"/>
                  </a:lnTo>
                  <a:lnTo>
                    <a:pt x="265" y="275"/>
                  </a:lnTo>
                  <a:lnTo>
                    <a:pt x="235" y="275"/>
                  </a:lnTo>
                  <a:lnTo>
                    <a:pt x="236" y="293"/>
                  </a:lnTo>
                  <a:lnTo>
                    <a:pt x="237" y="306"/>
                  </a:lnTo>
                  <a:lnTo>
                    <a:pt x="237" y="311"/>
                  </a:lnTo>
                  <a:lnTo>
                    <a:pt x="237" y="317"/>
                  </a:lnTo>
                  <a:lnTo>
                    <a:pt x="236" y="322"/>
                  </a:lnTo>
                  <a:lnTo>
                    <a:pt x="235" y="329"/>
                  </a:lnTo>
                  <a:lnTo>
                    <a:pt x="229" y="330"/>
                  </a:lnTo>
                  <a:lnTo>
                    <a:pt x="225" y="331"/>
                  </a:lnTo>
                  <a:lnTo>
                    <a:pt x="220" y="331"/>
                  </a:lnTo>
                  <a:lnTo>
                    <a:pt x="215" y="331"/>
                  </a:lnTo>
                  <a:lnTo>
                    <a:pt x="208" y="330"/>
                  </a:lnTo>
                  <a:lnTo>
                    <a:pt x="204" y="329"/>
                  </a:lnTo>
                  <a:lnTo>
                    <a:pt x="199" y="330"/>
                  </a:lnTo>
                  <a:lnTo>
                    <a:pt x="193" y="331"/>
                  </a:lnTo>
                  <a:lnTo>
                    <a:pt x="189" y="334"/>
                  </a:lnTo>
                  <a:lnTo>
                    <a:pt x="187" y="337"/>
                  </a:lnTo>
                  <a:lnTo>
                    <a:pt x="181" y="346"/>
                  </a:lnTo>
                  <a:lnTo>
                    <a:pt x="180" y="357"/>
                  </a:lnTo>
                  <a:lnTo>
                    <a:pt x="179" y="369"/>
                  </a:lnTo>
                  <a:lnTo>
                    <a:pt x="176" y="382"/>
                  </a:lnTo>
                  <a:lnTo>
                    <a:pt x="173" y="395"/>
                  </a:lnTo>
                  <a:lnTo>
                    <a:pt x="168" y="407"/>
                  </a:lnTo>
                  <a:lnTo>
                    <a:pt x="155" y="394"/>
                  </a:lnTo>
                  <a:lnTo>
                    <a:pt x="141" y="382"/>
                  </a:lnTo>
                  <a:lnTo>
                    <a:pt x="135" y="378"/>
                  </a:lnTo>
                  <a:lnTo>
                    <a:pt x="128" y="374"/>
                  </a:lnTo>
                  <a:lnTo>
                    <a:pt x="121" y="371"/>
                  </a:lnTo>
                  <a:lnTo>
                    <a:pt x="115" y="371"/>
                  </a:lnTo>
                  <a:lnTo>
                    <a:pt x="97" y="373"/>
                  </a:lnTo>
                  <a:lnTo>
                    <a:pt x="79" y="377"/>
                  </a:lnTo>
                  <a:lnTo>
                    <a:pt x="60" y="382"/>
                  </a:lnTo>
                  <a:lnTo>
                    <a:pt x="41" y="390"/>
                  </a:lnTo>
                  <a:lnTo>
                    <a:pt x="25" y="399"/>
                  </a:lnTo>
                  <a:lnTo>
                    <a:pt x="12" y="409"/>
                  </a:lnTo>
                  <a:lnTo>
                    <a:pt x="7" y="414"/>
                  </a:lnTo>
                  <a:lnTo>
                    <a:pt x="3" y="421"/>
                  </a:lnTo>
                  <a:lnTo>
                    <a:pt x="0" y="426"/>
                  </a:lnTo>
                  <a:lnTo>
                    <a:pt x="0" y="431"/>
                  </a:lnTo>
                  <a:lnTo>
                    <a:pt x="0" y="434"/>
                  </a:lnTo>
                  <a:lnTo>
                    <a:pt x="3" y="437"/>
                  </a:lnTo>
                  <a:lnTo>
                    <a:pt x="7" y="441"/>
                  </a:lnTo>
                  <a:lnTo>
                    <a:pt x="11" y="445"/>
                  </a:lnTo>
                  <a:lnTo>
                    <a:pt x="23" y="454"/>
                  </a:lnTo>
                  <a:lnTo>
                    <a:pt x="37" y="465"/>
                  </a:lnTo>
                  <a:lnTo>
                    <a:pt x="65" y="483"/>
                  </a:lnTo>
                  <a:lnTo>
                    <a:pt x="84" y="498"/>
                  </a:lnTo>
                  <a:lnTo>
                    <a:pt x="69" y="498"/>
                  </a:lnTo>
                  <a:lnTo>
                    <a:pt x="56" y="498"/>
                  </a:lnTo>
                  <a:lnTo>
                    <a:pt x="45" y="498"/>
                  </a:lnTo>
                  <a:lnTo>
                    <a:pt x="41" y="498"/>
                  </a:lnTo>
                  <a:lnTo>
                    <a:pt x="31" y="497"/>
                  </a:lnTo>
                  <a:lnTo>
                    <a:pt x="16" y="498"/>
                  </a:lnTo>
                  <a:lnTo>
                    <a:pt x="9" y="501"/>
                  </a:lnTo>
                  <a:lnTo>
                    <a:pt x="4" y="505"/>
                  </a:lnTo>
                  <a:lnTo>
                    <a:pt x="3" y="509"/>
                  </a:lnTo>
                  <a:lnTo>
                    <a:pt x="1" y="511"/>
                  </a:lnTo>
                  <a:lnTo>
                    <a:pt x="0" y="517"/>
                  </a:lnTo>
                  <a:lnTo>
                    <a:pt x="0" y="522"/>
                  </a:lnTo>
                  <a:lnTo>
                    <a:pt x="0" y="527"/>
                  </a:lnTo>
                  <a:lnTo>
                    <a:pt x="1" y="531"/>
                  </a:lnTo>
                  <a:lnTo>
                    <a:pt x="3" y="534"/>
                  </a:lnTo>
                  <a:lnTo>
                    <a:pt x="5" y="538"/>
                  </a:lnTo>
                  <a:lnTo>
                    <a:pt x="11" y="541"/>
                  </a:lnTo>
                  <a:lnTo>
                    <a:pt x="17" y="543"/>
                  </a:lnTo>
                  <a:lnTo>
                    <a:pt x="25" y="545"/>
                  </a:lnTo>
                  <a:lnTo>
                    <a:pt x="33" y="546"/>
                  </a:lnTo>
                  <a:lnTo>
                    <a:pt x="40" y="549"/>
                  </a:lnTo>
                  <a:lnTo>
                    <a:pt x="48" y="551"/>
                  </a:lnTo>
                  <a:lnTo>
                    <a:pt x="56" y="557"/>
                  </a:lnTo>
                  <a:lnTo>
                    <a:pt x="61" y="563"/>
                  </a:lnTo>
                  <a:lnTo>
                    <a:pt x="64" y="570"/>
                  </a:lnTo>
                  <a:lnTo>
                    <a:pt x="67" y="578"/>
                  </a:lnTo>
                  <a:lnTo>
                    <a:pt x="69" y="594"/>
                  </a:lnTo>
                  <a:lnTo>
                    <a:pt x="72" y="613"/>
                  </a:lnTo>
                  <a:lnTo>
                    <a:pt x="73" y="617"/>
                  </a:lnTo>
                  <a:lnTo>
                    <a:pt x="76" y="621"/>
                  </a:lnTo>
                  <a:lnTo>
                    <a:pt x="80" y="625"/>
                  </a:lnTo>
                  <a:lnTo>
                    <a:pt x="85" y="627"/>
                  </a:lnTo>
                  <a:lnTo>
                    <a:pt x="97" y="634"/>
                  </a:lnTo>
                  <a:lnTo>
                    <a:pt x="111" y="639"/>
                  </a:lnTo>
                  <a:lnTo>
                    <a:pt x="127" y="643"/>
                  </a:lnTo>
                  <a:lnTo>
                    <a:pt x="141" y="646"/>
                  </a:lnTo>
                  <a:lnTo>
                    <a:pt x="156" y="647"/>
                  </a:lnTo>
                  <a:lnTo>
                    <a:pt x="168" y="648"/>
                  </a:lnTo>
                  <a:lnTo>
                    <a:pt x="175" y="647"/>
                  </a:lnTo>
                  <a:lnTo>
                    <a:pt x="180" y="646"/>
                  </a:lnTo>
                  <a:lnTo>
                    <a:pt x="184" y="643"/>
                  </a:lnTo>
                  <a:lnTo>
                    <a:pt x="187" y="639"/>
                  </a:lnTo>
                  <a:lnTo>
                    <a:pt x="188" y="635"/>
                  </a:lnTo>
                  <a:lnTo>
                    <a:pt x="189" y="630"/>
                  </a:lnTo>
                  <a:lnTo>
                    <a:pt x="191" y="623"/>
                  </a:lnTo>
                  <a:lnTo>
                    <a:pt x="191" y="617"/>
                  </a:lnTo>
                  <a:lnTo>
                    <a:pt x="189" y="590"/>
                  </a:lnTo>
                  <a:lnTo>
                    <a:pt x="187" y="563"/>
                  </a:lnTo>
                  <a:lnTo>
                    <a:pt x="203" y="569"/>
                  </a:lnTo>
                  <a:lnTo>
                    <a:pt x="216" y="575"/>
                  </a:lnTo>
                  <a:lnTo>
                    <a:pt x="221" y="578"/>
                  </a:lnTo>
                  <a:lnTo>
                    <a:pt x="228" y="579"/>
                  </a:lnTo>
                  <a:lnTo>
                    <a:pt x="235" y="582"/>
                  </a:lnTo>
                  <a:lnTo>
                    <a:pt x="241" y="582"/>
                  </a:lnTo>
                  <a:lnTo>
                    <a:pt x="241" y="571"/>
                  </a:lnTo>
                  <a:lnTo>
                    <a:pt x="240" y="561"/>
                  </a:lnTo>
                  <a:lnTo>
                    <a:pt x="237" y="550"/>
                  </a:lnTo>
                  <a:lnTo>
                    <a:pt x="235" y="541"/>
                  </a:lnTo>
                  <a:lnTo>
                    <a:pt x="232" y="533"/>
                  </a:lnTo>
                  <a:lnTo>
                    <a:pt x="229" y="525"/>
                  </a:lnTo>
                  <a:lnTo>
                    <a:pt x="228" y="517"/>
                  </a:lnTo>
                  <a:lnTo>
                    <a:pt x="228" y="510"/>
                  </a:lnTo>
                  <a:lnTo>
                    <a:pt x="237" y="523"/>
                  </a:lnTo>
                  <a:lnTo>
                    <a:pt x="248" y="538"/>
                  </a:lnTo>
                  <a:lnTo>
                    <a:pt x="253" y="543"/>
                  </a:lnTo>
                  <a:lnTo>
                    <a:pt x="259" y="547"/>
                  </a:lnTo>
                  <a:lnTo>
                    <a:pt x="264" y="551"/>
                  </a:lnTo>
                  <a:lnTo>
                    <a:pt x="271" y="551"/>
                  </a:lnTo>
                  <a:lnTo>
                    <a:pt x="279" y="551"/>
                  </a:lnTo>
                  <a:lnTo>
                    <a:pt x="285" y="547"/>
                  </a:lnTo>
                  <a:lnTo>
                    <a:pt x="289" y="543"/>
                  </a:lnTo>
                  <a:lnTo>
                    <a:pt x="292" y="538"/>
                  </a:lnTo>
                  <a:lnTo>
                    <a:pt x="295" y="526"/>
                  </a:lnTo>
                  <a:lnTo>
                    <a:pt x="295" y="515"/>
                  </a:lnTo>
                  <a:lnTo>
                    <a:pt x="295" y="506"/>
                  </a:lnTo>
                  <a:lnTo>
                    <a:pt x="292" y="498"/>
                  </a:lnTo>
                  <a:lnTo>
                    <a:pt x="291" y="491"/>
                  </a:lnTo>
                  <a:lnTo>
                    <a:pt x="288" y="487"/>
                  </a:lnTo>
                  <a:lnTo>
                    <a:pt x="287" y="483"/>
                  </a:lnTo>
                  <a:lnTo>
                    <a:pt x="287" y="478"/>
                  </a:lnTo>
                  <a:lnTo>
                    <a:pt x="289" y="474"/>
                  </a:lnTo>
                  <a:lnTo>
                    <a:pt x="295" y="467"/>
                  </a:lnTo>
                  <a:lnTo>
                    <a:pt x="301" y="477"/>
                  </a:lnTo>
                  <a:lnTo>
                    <a:pt x="309" y="487"/>
                  </a:lnTo>
                  <a:lnTo>
                    <a:pt x="319" y="494"/>
                  </a:lnTo>
                  <a:lnTo>
                    <a:pt x="325" y="498"/>
                  </a:lnTo>
                  <a:lnTo>
                    <a:pt x="331" y="497"/>
                  </a:lnTo>
                  <a:lnTo>
                    <a:pt x="336" y="494"/>
                  </a:lnTo>
                  <a:lnTo>
                    <a:pt x="341" y="490"/>
                  </a:lnTo>
                  <a:lnTo>
                    <a:pt x="348" y="485"/>
                  </a:lnTo>
                  <a:lnTo>
                    <a:pt x="359" y="470"/>
                  </a:lnTo>
                  <a:lnTo>
                    <a:pt x="369" y="454"/>
                  </a:lnTo>
                  <a:lnTo>
                    <a:pt x="379" y="437"/>
                  </a:lnTo>
                  <a:lnTo>
                    <a:pt x="388" y="422"/>
                  </a:lnTo>
                  <a:lnTo>
                    <a:pt x="396" y="409"/>
                  </a:lnTo>
                  <a:lnTo>
                    <a:pt x="404" y="401"/>
                  </a:lnTo>
                  <a:lnTo>
                    <a:pt x="412" y="410"/>
                  </a:lnTo>
                  <a:lnTo>
                    <a:pt x="419" y="418"/>
                  </a:lnTo>
                  <a:lnTo>
                    <a:pt x="423" y="421"/>
                  </a:lnTo>
                  <a:lnTo>
                    <a:pt x="428" y="423"/>
                  </a:lnTo>
                  <a:lnTo>
                    <a:pt x="433" y="425"/>
                  </a:lnTo>
                  <a:lnTo>
                    <a:pt x="440" y="425"/>
                  </a:lnTo>
                  <a:lnTo>
                    <a:pt x="445" y="423"/>
                  </a:lnTo>
                  <a:lnTo>
                    <a:pt x="449" y="421"/>
                  </a:lnTo>
                  <a:lnTo>
                    <a:pt x="452" y="415"/>
                  </a:lnTo>
                  <a:lnTo>
                    <a:pt x="455" y="410"/>
                  </a:lnTo>
                  <a:lnTo>
                    <a:pt x="457" y="405"/>
                  </a:lnTo>
                  <a:lnTo>
                    <a:pt x="460" y="399"/>
                  </a:lnTo>
                  <a:lnTo>
                    <a:pt x="464" y="397"/>
                  </a:lnTo>
                  <a:lnTo>
                    <a:pt x="469" y="395"/>
                  </a:lnTo>
                  <a:lnTo>
                    <a:pt x="485" y="395"/>
                  </a:lnTo>
                  <a:lnTo>
                    <a:pt x="511" y="394"/>
                  </a:lnTo>
                  <a:lnTo>
                    <a:pt x="524" y="393"/>
                  </a:lnTo>
                  <a:lnTo>
                    <a:pt x="537" y="390"/>
                  </a:lnTo>
                  <a:lnTo>
                    <a:pt x="549" y="387"/>
                  </a:lnTo>
                  <a:lnTo>
                    <a:pt x="560" y="383"/>
                  </a:lnTo>
                  <a:lnTo>
                    <a:pt x="565" y="378"/>
                  </a:lnTo>
                  <a:lnTo>
                    <a:pt x="569" y="371"/>
                  </a:lnTo>
                  <a:lnTo>
                    <a:pt x="570" y="365"/>
                  </a:lnTo>
                  <a:lnTo>
                    <a:pt x="573" y="357"/>
                  </a:lnTo>
                  <a:lnTo>
                    <a:pt x="574" y="350"/>
                  </a:lnTo>
                  <a:lnTo>
                    <a:pt x="577" y="343"/>
                  </a:lnTo>
                  <a:lnTo>
                    <a:pt x="580" y="341"/>
                  </a:lnTo>
                  <a:lnTo>
                    <a:pt x="582" y="338"/>
                  </a:lnTo>
                  <a:lnTo>
                    <a:pt x="585" y="337"/>
                  </a:lnTo>
                  <a:lnTo>
                    <a:pt x="590" y="335"/>
                  </a:lnTo>
                  <a:lnTo>
                    <a:pt x="622" y="321"/>
                  </a:lnTo>
                  <a:lnTo>
                    <a:pt x="652" y="310"/>
                  </a:lnTo>
                  <a:lnTo>
                    <a:pt x="680" y="302"/>
                  </a:lnTo>
                  <a:lnTo>
                    <a:pt x="708" y="295"/>
                  </a:lnTo>
                  <a:lnTo>
                    <a:pt x="738" y="289"/>
                  </a:lnTo>
                  <a:lnTo>
                    <a:pt x="770" y="283"/>
                  </a:lnTo>
                  <a:lnTo>
                    <a:pt x="806" y="277"/>
                  </a:lnTo>
                  <a:lnTo>
                    <a:pt x="849" y="269"/>
                  </a:lnTo>
                  <a:lnTo>
                    <a:pt x="1048" y="269"/>
                  </a:lnTo>
                  <a:lnTo>
                    <a:pt x="1080" y="255"/>
                  </a:lnTo>
                  <a:lnTo>
                    <a:pt x="1114" y="242"/>
                  </a:lnTo>
                  <a:lnTo>
                    <a:pt x="1132" y="235"/>
                  </a:lnTo>
                  <a:lnTo>
                    <a:pt x="1148" y="227"/>
                  </a:lnTo>
                  <a:lnTo>
                    <a:pt x="1164" y="218"/>
                  </a:lnTo>
                  <a:lnTo>
                    <a:pt x="1178" y="209"/>
                  </a:lnTo>
                  <a:lnTo>
                    <a:pt x="1193" y="199"/>
                  </a:lnTo>
                  <a:lnTo>
                    <a:pt x="1206" y="187"/>
                  </a:lnTo>
                  <a:lnTo>
                    <a:pt x="1217" y="174"/>
                  </a:lnTo>
                  <a:lnTo>
                    <a:pt x="1228" y="159"/>
                  </a:lnTo>
                  <a:lnTo>
                    <a:pt x="1236" y="143"/>
                  </a:lnTo>
                  <a:lnTo>
                    <a:pt x="1241" y="125"/>
                  </a:lnTo>
                  <a:lnTo>
                    <a:pt x="1244" y="115"/>
                  </a:lnTo>
                  <a:lnTo>
                    <a:pt x="1245" y="105"/>
                  </a:lnTo>
                  <a:lnTo>
                    <a:pt x="1246" y="94"/>
                  </a:lnTo>
                  <a:lnTo>
                    <a:pt x="1246" y="82"/>
                  </a:lnTo>
                  <a:lnTo>
                    <a:pt x="1246" y="74"/>
                  </a:lnTo>
                  <a:lnTo>
                    <a:pt x="1245" y="67"/>
                  </a:lnTo>
                  <a:lnTo>
                    <a:pt x="1244" y="61"/>
                  </a:lnTo>
                  <a:lnTo>
                    <a:pt x="1241" y="54"/>
                  </a:lnTo>
                  <a:lnTo>
                    <a:pt x="1236" y="42"/>
                  </a:lnTo>
                  <a:lnTo>
                    <a:pt x="1228" y="33"/>
                  </a:lnTo>
                  <a:lnTo>
                    <a:pt x="1218" y="24"/>
                  </a:lnTo>
                  <a:lnTo>
                    <a:pt x="1208" y="17"/>
                  </a:lnTo>
                  <a:lnTo>
                    <a:pt x="1197" y="12"/>
                  </a:lnTo>
                  <a:lnTo>
                    <a:pt x="1186" y="6"/>
                  </a:lnTo>
                  <a:lnTo>
                    <a:pt x="1174" y="4"/>
                  </a:lnTo>
                  <a:lnTo>
                    <a:pt x="1164" y="1"/>
                  </a:lnTo>
                  <a:lnTo>
                    <a:pt x="1154" y="0"/>
                  </a:lnTo>
                  <a:lnTo>
                    <a:pt x="1145" y="0"/>
                  </a:lnTo>
                  <a:lnTo>
                    <a:pt x="1137" y="0"/>
                  </a:lnTo>
                  <a:lnTo>
                    <a:pt x="1132" y="1"/>
                  </a:lnTo>
                  <a:lnTo>
                    <a:pt x="1128" y="2"/>
                  </a:lnTo>
                  <a:lnTo>
                    <a:pt x="1126" y="4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accent1">
                  <a:lumMod val="20000"/>
                  <a:lumOff val="8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95" b="0" i="0" u="none" strike="noStrike" kern="1200" cap="none" spc="0" normalizeH="0" baseline="0" noProof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6" name="Freeform 75"/>
            <p:cNvSpPr>
              <a:spLocks/>
            </p:cNvSpPr>
            <p:nvPr/>
          </p:nvSpPr>
          <p:spPr bwMode="auto">
            <a:xfrm>
              <a:off x="5058883" y="2215340"/>
              <a:ext cx="14621" cy="12498"/>
            </a:xfrm>
            <a:custGeom>
              <a:avLst/>
              <a:gdLst>
                <a:gd name="T0" fmla="*/ 174 w 205"/>
                <a:gd name="T1" fmla="*/ 89 h 175"/>
                <a:gd name="T2" fmla="*/ 172 w 205"/>
                <a:gd name="T3" fmla="*/ 89 h 175"/>
                <a:gd name="T4" fmla="*/ 169 w 205"/>
                <a:gd name="T5" fmla="*/ 87 h 175"/>
                <a:gd name="T6" fmla="*/ 166 w 205"/>
                <a:gd name="T7" fmla="*/ 83 h 175"/>
                <a:gd name="T8" fmla="*/ 162 w 205"/>
                <a:gd name="T9" fmla="*/ 77 h 175"/>
                <a:gd name="T10" fmla="*/ 156 w 205"/>
                <a:gd name="T11" fmla="*/ 64 h 175"/>
                <a:gd name="T12" fmla="*/ 148 w 205"/>
                <a:gd name="T13" fmla="*/ 50 h 175"/>
                <a:gd name="T14" fmla="*/ 134 w 205"/>
                <a:gd name="T15" fmla="*/ 19 h 175"/>
                <a:gd name="T16" fmla="*/ 126 w 205"/>
                <a:gd name="T17" fmla="*/ 0 h 175"/>
                <a:gd name="T18" fmla="*/ 116 w 205"/>
                <a:gd name="T19" fmla="*/ 2 h 175"/>
                <a:gd name="T20" fmla="*/ 105 w 205"/>
                <a:gd name="T21" fmla="*/ 3 h 175"/>
                <a:gd name="T22" fmla="*/ 94 w 205"/>
                <a:gd name="T23" fmla="*/ 7 h 175"/>
                <a:gd name="T24" fmla="*/ 84 w 205"/>
                <a:gd name="T25" fmla="*/ 10 h 175"/>
                <a:gd name="T26" fmla="*/ 73 w 205"/>
                <a:gd name="T27" fmla="*/ 15 h 175"/>
                <a:gd name="T28" fmla="*/ 62 w 205"/>
                <a:gd name="T29" fmla="*/ 20 h 175"/>
                <a:gd name="T30" fmla="*/ 53 w 205"/>
                <a:gd name="T31" fmla="*/ 26 h 175"/>
                <a:gd name="T32" fmla="*/ 42 w 205"/>
                <a:gd name="T33" fmla="*/ 34 h 175"/>
                <a:gd name="T34" fmla="*/ 34 w 205"/>
                <a:gd name="T35" fmla="*/ 40 h 175"/>
                <a:gd name="T36" fmla="*/ 27 w 205"/>
                <a:gd name="T37" fmla="*/ 50 h 175"/>
                <a:gd name="T38" fmla="*/ 19 w 205"/>
                <a:gd name="T39" fmla="*/ 59 h 175"/>
                <a:gd name="T40" fmla="*/ 12 w 205"/>
                <a:gd name="T41" fmla="*/ 69 h 175"/>
                <a:gd name="T42" fmla="*/ 8 w 205"/>
                <a:gd name="T43" fmla="*/ 80 h 175"/>
                <a:gd name="T44" fmla="*/ 4 w 205"/>
                <a:gd name="T45" fmla="*/ 92 h 175"/>
                <a:gd name="T46" fmla="*/ 1 w 205"/>
                <a:gd name="T47" fmla="*/ 105 h 175"/>
                <a:gd name="T48" fmla="*/ 0 w 205"/>
                <a:gd name="T49" fmla="*/ 120 h 175"/>
                <a:gd name="T50" fmla="*/ 0 w 205"/>
                <a:gd name="T51" fmla="*/ 133 h 175"/>
                <a:gd name="T52" fmla="*/ 1 w 205"/>
                <a:gd name="T53" fmla="*/ 144 h 175"/>
                <a:gd name="T54" fmla="*/ 1 w 205"/>
                <a:gd name="T55" fmla="*/ 153 h 175"/>
                <a:gd name="T56" fmla="*/ 4 w 205"/>
                <a:gd name="T57" fmla="*/ 161 h 175"/>
                <a:gd name="T58" fmla="*/ 8 w 205"/>
                <a:gd name="T59" fmla="*/ 167 h 175"/>
                <a:gd name="T60" fmla="*/ 13 w 205"/>
                <a:gd name="T61" fmla="*/ 171 h 175"/>
                <a:gd name="T62" fmla="*/ 20 w 205"/>
                <a:gd name="T63" fmla="*/ 173 h 175"/>
                <a:gd name="T64" fmla="*/ 31 w 205"/>
                <a:gd name="T65" fmla="*/ 175 h 175"/>
                <a:gd name="T66" fmla="*/ 42 w 205"/>
                <a:gd name="T67" fmla="*/ 173 h 175"/>
                <a:gd name="T68" fmla="*/ 54 w 205"/>
                <a:gd name="T69" fmla="*/ 172 h 175"/>
                <a:gd name="T70" fmla="*/ 65 w 205"/>
                <a:gd name="T71" fmla="*/ 168 h 175"/>
                <a:gd name="T72" fmla="*/ 74 w 205"/>
                <a:gd name="T73" fmla="*/ 165 h 175"/>
                <a:gd name="T74" fmla="*/ 82 w 205"/>
                <a:gd name="T75" fmla="*/ 161 h 175"/>
                <a:gd name="T76" fmla="*/ 92 w 205"/>
                <a:gd name="T77" fmla="*/ 159 h 175"/>
                <a:gd name="T78" fmla="*/ 100 w 205"/>
                <a:gd name="T79" fmla="*/ 157 h 175"/>
                <a:gd name="T80" fmla="*/ 109 w 205"/>
                <a:gd name="T81" fmla="*/ 156 h 175"/>
                <a:gd name="T82" fmla="*/ 132 w 205"/>
                <a:gd name="T83" fmla="*/ 156 h 175"/>
                <a:gd name="T84" fmla="*/ 148 w 205"/>
                <a:gd name="T85" fmla="*/ 156 h 175"/>
                <a:gd name="T86" fmla="*/ 162 w 205"/>
                <a:gd name="T87" fmla="*/ 156 h 175"/>
                <a:gd name="T88" fmla="*/ 174 w 205"/>
                <a:gd name="T89" fmla="*/ 156 h 175"/>
                <a:gd name="T90" fmla="*/ 182 w 205"/>
                <a:gd name="T91" fmla="*/ 156 h 175"/>
                <a:gd name="T92" fmla="*/ 192 w 205"/>
                <a:gd name="T93" fmla="*/ 153 h 175"/>
                <a:gd name="T94" fmla="*/ 197 w 205"/>
                <a:gd name="T95" fmla="*/ 151 h 175"/>
                <a:gd name="T96" fmla="*/ 201 w 205"/>
                <a:gd name="T97" fmla="*/ 147 h 175"/>
                <a:gd name="T98" fmla="*/ 204 w 205"/>
                <a:gd name="T99" fmla="*/ 140 h 175"/>
                <a:gd name="T100" fmla="*/ 205 w 205"/>
                <a:gd name="T101" fmla="*/ 132 h 175"/>
                <a:gd name="T102" fmla="*/ 204 w 205"/>
                <a:gd name="T103" fmla="*/ 125 h 175"/>
                <a:gd name="T104" fmla="*/ 202 w 205"/>
                <a:gd name="T105" fmla="*/ 117 h 175"/>
                <a:gd name="T106" fmla="*/ 198 w 205"/>
                <a:gd name="T107" fmla="*/ 111 h 175"/>
                <a:gd name="T108" fmla="*/ 194 w 205"/>
                <a:gd name="T109" fmla="*/ 104 h 175"/>
                <a:gd name="T110" fmla="*/ 189 w 205"/>
                <a:gd name="T111" fmla="*/ 99 h 175"/>
                <a:gd name="T112" fmla="*/ 185 w 205"/>
                <a:gd name="T113" fmla="*/ 93 h 175"/>
                <a:gd name="T114" fmla="*/ 180 w 205"/>
                <a:gd name="T115" fmla="*/ 91 h 175"/>
                <a:gd name="T116" fmla="*/ 174 w 205"/>
                <a:gd name="T117" fmla="*/ 89 h 175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05"/>
                <a:gd name="T178" fmla="*/ 0 h 175"/>
                <a:gd name="T179" fmla="*/ 205 w 205"/>
                <a:gd name="T180" fmla="*/ 175 h 175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05" h="175">
                  <a:moveTo>
                    <a:pt x="174" y="89"/>
                  </a:moveTo>
                  <a:lnTo>
                    <a:pt x="172" y="89"/>
                  </a:lnTo>
                  <a:lnTo>
                    <a:pt x="169" y="87"/>
                  </a:lnTo>
                  <a:lnTo>
                    <a:pt x="166" y="83"/>
                  </a:lnTo>
                  <a:lnTo>
                    <a:pt x="162" y="77"/>
                  </a:lnTo>
                  <a:lnTo>
                    <a:pt x="156" y="64"/>
                  </a:lnTo>
                  <a:lnTo>
                    <a:pt x="148" y="50"/>
                  </a:lnTo>
                  <a:lnTo>
                    <a:pt x="134" y="19"/>
                  </a:lnTo>
                  <a:lnTo>
                    <a:pt x="126" y="0"/>
                  </a:lnTo>
                  <a:lnTo>
                    <a:pt x="116" y="2"/>
                  </a:lnTo>
                  <a:lnTo>
                    <a:pt x="105" y="3"/>
                  </a:lnTo>
                  <a:lnTo>
                    <a:pt x="94" y="7"/>
                  </a:lnTo>
                  <a:lnTo>
                    <a:pt x="84" y="10"/>
                  </a:lnTo>
                  <a:lnTo>
                    <a:pt x="73" y="15"/>
                  </a:lnTo>
                  <a:lnTo>
                    <a:pt x="62" y="20"/>
                  </a:lnTo>
                  <a:lnTo>
                    <a:pt x="53" y="26"/>
                  </a:lnTo>
                  <a:lnTo>
                    <a:pt x="42" y="34"/>
                  </a:lnTo>
                  <a:lnTo>
                    <a:pt x="34" y="40"/>
                  </a:lnTo>
                  <a:lnTo>
                    <a:pt x="27" y="50"/>
                  </a:lnTo>
                  <a:lnTo>
                    <a:pt x="19" y="59"/>
                  </a:lnTo>
                  <a:lnTo>
                    <a:pt x="12" y="69"/>
                  </a:lnTo>
                  <a:lnTo>
                    <a:pt x="8" y="80"/>
                  </a:lnTo>
                  <a:lnTo>
                    <a:pt x="4" y="92"/>
                  </a:lnTo>
                  <a:lnTo>
                    <a:pt x="1" y="105"/>
                  </a:lnTo>
                  <a:lnTo>
                    <a:pt x="0" y="120"/>
                  </a:lnTo>
                  <a:lnTo>
                    <a:pt x="0" y="133"/>
                  </a:lnTo>
                  <a:lnTo>
                    <a:pt x="1" y="144"/>
                  </a:lnTo>
                  <a:lnTo>
                    <a:pt x="1" y="153"/>
                  </a:lnTo>
                  <a:lnTo>
                    <a:pt x="4" y="161"/>
                  </a:lnTo>
                  <a:lnTo>
                    <a:pt x="8" y="167"/>
                  </a:lnTo>
                  <a:lnTo>
                    <a:pt x="13" y="171"/>
                  </a:lnTo>
                  <a:lnTo>
                    <a:pt x="20" y="173"/>
                  </a:lnTo>
                  <a:lnTo>
                    <a:pt x="31" y="175"/>
                  </a:lnTo>
                  <a:lnTo>
                    <a:pt x="42" y="173"/>
                  </a:lnTo>
                  <a:lnTo>
                    <a:pt x="54" y="172"/>
                  </a:lnTo>
                  <a:lnTo>
                    <a:pt x="65" y="168"/>
                  </a:lnTo>
                  <a:lnTo>
                    <a:pt x="74" y="165"/>
                  </a:lnTo>
                  <a:lnTo>
                    <a:pt x="82" y="161"/>
                  </a:lnTo>
                  <a:lnTo>
                    <a:pt x="92" y="159"/>
                  </a:lnTo>
                  <a:lnTo>
                    <a:pt x="100" y="157"/>
                  </a:lnTo>
                  <a:lnTo>
                    <a:pt x="109" y="156"/>
                  </a:lnTo>
                  <a:lnTo>
                    <a:pt x="132" y="156"/>
                  </a:lnTo>
                  <a:lnTo>
                    <a:pt x="148" y="156"/>
                  </a:lnTo>
                  <a:lnTo>
                    <a:pt x="162" y="156"/>
                  </a:lnTo>
                  <a:lnTo>
                    <a:pt x="174" y="156"/>
                  </a:lnTo>
                  <a:lnTo>
                    <a:pt x="182" y="156"/>
                  </a:lnTo>
                  <a:lnTo>
                    <a:pt x="192" y="153"/>
                  </a:lnTo>
                  <a:lnTo>
                    <a:pt x="197" y="151"/>
                  </a:lnTo>
                  <a:lnTo>
                    <a:pt x="201" y="147"/>
                  </a:lnTo>
                  <a:lnTo>
                    <a:pt x="204" y="140"/>
                  </a:lnTo>
                  <a:lnTo>
                    <a:pt x="205" y="132"/>
                  </a:lnTo>
                  <a:lnTo>
                    <a:pt x="204" y="125"/>
                  </a:lnTo>
                  <a:lnTo>
                    <a:pt x="202" y="117"/>
                  </a:lnTo>
                  <a:lnTo>
                    <a:pt x="198" y="111"/>
                  </a:lnTo>
                  <a:lnTo>
                    <a:pt x="194" y="104"/>
                  </a:lnTo>
                  <a:lnTo>
                    <a:pt x="189" y="99"/>
                  </a:lnTo>
                  <a:lnTo>
                    <a:pt x="185" y="93"/>
                  </a:lnTo>
                  <a:lnTo>
                    <a:pt x="180" y="91"/>
                  </a:lnTo>
                  <a:lnTo>
                    <a:pt x="174" y="89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accent1">
                  <a:lumMod val="20000"/>
                  <a:lumOff val="8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95" b="0" i="0" u="none" strike="noStrike" kern="1200" cap="none" spc="0" normalizeH="0" baseline="0" noProof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7" name="Freeform 80"/>
            <p:cNvSpPr>
              <a:spLocks/>
            </p:cNvSpPr>
            <p:nvPr/>
          </p:nvSpPr>
          <p:spPr bwMode="auto">
            <a:xfrm>
              <a:off x="5124911" y="2232555"/>
              <a:ext cx="10612" cy="14856"/>
            </a:xfrm>
            <a:custGeom>
              <a:avLst/>
              <a:gdLst>
                <a:gd name="T0" fmla="*/ 108 w 151"/>
                <a:gd name="T1" fmla="*/ 85 h 205"/>
                <a:gd name="T2" fmla="*/ 107 w 151"/>
                <a:gd name="T3" fmla="*/ 84 h 205"/>
                <a:gd name="T4" fmla="*/ 106 w 151"/>
                <a:gd name="T5" fmla="*/ 83 h 205"/>
                <a:gd name="T6" fmla="*/ 104 w 151"/>
                <a:gd name="T7" fmla="*/ 81 h 205"/>
                <a:gd name="T8" fmla="*/ 103 w 151"/>
                <a:gd name="T9" fmla="*/ 79 h 205"/>
                <a:gd name="T10" fmla="*/ 103 w 151"/>
                <a:gd name="T11" fmla="*/ 72 h 205"/>
                <a:gd name="T12" fmla="*/ 104 w 151"/>
                <a:gd name="T13" fmla="*/ 64 h 205"/>
                <a:gd name="T14" fmla="*/ 107 w 151"/>
                <a:gd name="T15" fmla="*/ 49 h 205"/>
                <a:gd name="T16" fmla="*/ 108 w 151"/>
                <a:gd name="T17" fmla="*/ 43 h 205"/>
                <a:gd name="T18" fmla="*/ 107 w 151"/>
                <a:gd name="T19" fmla="*/ 36 h 205"/>
                <a:gd name="T20" fmla="*/ 103 w 151"/>
                <a:gd name="T21" fmla="*/ 31 h 205"/>
                <a:gd name="T22" fmla="*/ 96 w 151"/>
                <a:gd name="T23" fmla="*/ 24 h 205"/>
                <a:gd name="T24" fmla="*/ 90 w 151"/>
                <a:gd name="T25" fmla="*/ 20 h 205"/>
                <a:gd name="T26" fmla="*/ 74 w 151"/>
                <a:gd name="T27" fmla="*/ 9 h 205"/>
                <a:gd name="T28" fmla="*/ 60 w 151"/>
                <a:gd name="T29" fmla="*/ 0 h 205"/>
                <a:gd name="T30" fmla="*/ 59 w 151"/>
                <a:gd name="T31" fmla="*/ 5 h 205"/>
                <a:gd name="T32" fmla="*/ 56 w 151"/>
                <a:gd name="T33" fmla="*/ 9 h 205"/>
                <a:gd name="T34" fmla="*/ 52 w 151"/>
                <a:gd name="T35" fmla="*/ 13 h 205"/>
                <a:gd name="T36" fmla="*/ 48 w 151"/>
                <a:gd name="T37" fmla="*/ 17 h 205"/>
                <a:gd name="T38" fmla="*/ 39 w 151"/>
                <a:gd name="T39" fmla="*/ 27 h 205"/>
                <a:gd name="T40" fmla="*/ 28 w 151"/>
                <a:gd name="T41" fmla="*/ 35 h 205"/>
                <a:gd name="T42" fmla="*/ 18 w 151"/>
                <a:gd name="T43" fmla="*/ 43 h 205"/>
                <a:gd name="T44" fmla="*/ 8 w 151"/>
                <a:gd name="T45" fmla="*/ 52 h 205"/>
                <a:gd name="T46" fmla="*/ 6 w 151"/>
                <a:gd name="T47" fmla="*/ 57 h 205"/>
                <a:gd name="T48" fmla="*/ 3 w 151"/>
                <a:gd name="T49" fmla="*/ 63 h 205"/>
                <a:gd name="T50" fmla="*/ 0 w 151"/>
                <a:gd name="T51" fmla="*/ 67 h 205"/>
                <a:gd name="T52" fmla="*/ 0 w 151"/>
                <a:gd name="T53" fmla="*/ 73 h 205"/>
                <a:gd name="T54" fmla="*/ 4 w 151"/>
                <a:gd name="T55" fmla="*/ 81 h 205"/>
                <a:gd name="T56" fmla="*/ 15 w 151"/>
                <a:gd name="T57" fmla="*/ 99 h 205"/>
                <a:gd name="T58" fmla="*/ 30 w 151"/>
                <a:gd name="T59" fmla="*/ 120 h 205"/>
                <a:gd name="T60" fmla="*/ 46 w 151"/>
                <a:gd name="T61" fmla="*/ 144 h 205"/>
                <a:gd name="T62" fmla="*/ 63 w 151"/>
                <a:gd name="T63" fmla="*/ 167 h 205"/>
                <a:gd name="T64" fmla="*/ 79 w 151"/>
                <a:gd name="T65" fmla="*/ 187 h 205"/>
                <a:gd name="T66" fmla="*/ 91 w 151"/>
                <a:gd name="T67" fmla="*/ 200 h 205"/>
                <a:gd name="T68" fmla="*/ 96 w 151"/>
                <a:gd name="T69" fmla="*/ 205 h 205"/>
                <a:gd name="T70" fmla="*/ 108 w 151"/>
                <a:gd name="T71" fmla="*/ 204 h 205"/>
                <a:gd name="T72" fmla="*/ 118 w 151"/>
                <a:gd name="T73" fmla="*/ 200 h 205"/>
                <a:gd name="T74" fmla="*/ 127 w 151"/>
                <a:gd name="T75" fmla="*/ 195 h 205"/>
                <a:gd name="T76" fmla="*/ 135 w 151"/>
                <a:gd name="T77" fmla="*/ 187 h 205"/>
                <a:gd name="T78" fmla="*/ 142 w 151"/>
                <a:gd name="T79" fmla="*/ 177 h 205"/>
                <a:gd name="T80" fmla="*/ 147 w 151"/>
                <a:gd name="T81" fmla="*/ 167 h 205"/>
                <a:gd name="T82" fmla="*/ 150 w 151"/>
                <a:gd name="T83" fmla="*/ 156 h 205"/>
                <a:gd name="T84" fmla="*/ 151 w 151"/>
                <a:gd name="T85" fmla="*/ 145 h 205"/>
                <a:gd name="T86" fmla="*/ 150 w 151"/>
                <a:gd name="T87" fmla="*/ 139 h 205"/>
                <a:gd name="T88" fmla="*/ 147 w 151"/>
                <a:gd name="T89" fmla="*/ 131 h 205"/>
                <a:gd name="T90" fmla="*/ 142 w 151"/>
                <a:gd name="T91" fmla="*/ 121 h 205"/>
                <a:gd name="T92" fmla="*/ 136 w 151"/>
                <a:gd name="T93" fmla="*/ 111 h 205"/>
                <a:gd name="T94" fmla="*/ 130 w 151"/>
                <a:gd name="T95" fmla="*/ 101 h 205"/>
                <a:gd name="T96" fmla="*/ 123 w 151"/>
                <a:gd name="T97" fmla="*/ 92 h 205"/>
                <a:gd name="T98" fmla="*/ 119 w 151"/>
                <a:gd name="T99" fmla="*/ 89 h 205"/>
                <a:gd name="T100" fmla="*/ 116 w 151"/>
                <a:gd name="T101" fmla="*/ 87 h 205"/>
                <a:gd name="T102" fmla="*/ 112 w 151"/>
                <a:gd name="T103" fmla="*/ 85 h 205"/>
                <a:gd name="T104" fmla="*/ 108 w 151"/>
                <a:gd name="T105" fmla="*/ 85 h 20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51"/>
                <a:gd name="T160" fmla="*/ 0 h 205"/>
                <a:gd name="T161" fmla="*/ 151 w 151"/>
                <a:gd name="T162" fmla="*/ 205 h 205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51" h="205">
                  <a:moveTo>
                    <a:pt x="108" y="85"/>
                  </a:moveTo>
                  <a:lnTo>
                    <a:pt x="107" y="84"/>
                  </a:lnTo>
                  <a:lnTo>
                    <a:pt x="106" y="83"/>
                  </a:lnTo>
                  <a:lnTo>
                    <a:pt x="104" y="81"/>
                  </a:lnTo>
                  <a:lnTo>
                    <a:pt x="103" y="79"/>
                  </a:lnTo>
                  <a:lnTo>
                    <a:pt x="103" y="72"/>
                  </a:lnTo>
                  <a:lnTo>
                    <a:pt x="104" y="64"/>
                  </a:lnTo>
                  <a:lnTo>
                    <a:pt x="107" y="49"/>
                  </a:lnTo>
                  <a:lnTo>
                    <a:pt x="108" y="43"/>
                  </a:lnTo>
                  <a:lnTo>
                    <a:pt x="107" y="36"/>
                  </a:lnTo>
                  <a:lnTo>
                    <a:pt x="103" y="31"/>
                  </a:lnTo>
                  <a:lnTo>
                    <a:pt x="96" y="24"/>
                  </a:lnTo>
                  <a:lnTo>
                    <a:pt x="90" y="20"/>
                  </a:lnTo>
                  <a:lnTo>
                    <a:pt x="74" y="9"/>
                  </a:lnTo>
                  <a:lnTo>
                    <a:pt x="60" y="0"/>
                  </a:lnTo>
                  <a:lnTo>
                    <a:pt x="59" y="5"/>
                  </a:lnTo>
                  <a:lnTo>
                    <a:pt x="56" y="9"/>
                  </a:lnTo>
                  <a:lnTo>
                    <a:pt x="52" y="13"/>
                  </a:lnTo>
                  <a:lnTo>
                    <a:pt x="48" y="17"/>
                  </a:lnTo>
                  <a:lnTo>
                    <a:pt x="39" y="27"/>
                  </a:lnTo>
                  <a:lnTo>
                    <a:pt x="28" y="35"/>
                  </a:lnTo>
                  <a:lnTo>
                    <a:pt x="18" y="43"/>
                  </a:lnTo>
                  <a:lnTo>
                    <a:pt x="8" y="52"/>
                  </a:lnTo>
                  <a:lnTo>
                    <a:pt x="6" y="57"/>
                  </a:lnTo>
                  <a:lnTo>
                    <a:pt x="3" y="63"/>
                  </a:lnTo>
                  <a:lnTo>
                    <a:pt x="0" y="67"/>
                  </a:lnTo>
                  <a:lnTo>
                    <a:pt x="0" y="73"/>
                  </a:lnTo>
                  <a:lnTo>
                    <a:pt x="4" y="81"/>
                  </a:lnTo>
                  <a:lnTo>
                    <a:pt x="15" y="99"/>
                  </a:lnTo>
                  <a:lnTo>
                    <a:pt x="30" y="120"/>
                  </a:lnTo>
                  <a:lnTo>
                    <a:pt x="46" y="144"/>
                  </a:lnTo>
                  <a:lnTo>
                    <a:pt x="63" y="167"/>
                  </a:lnTo>
                  <a:lnTo>
                    <a:pt x="79" y="187"/>
                  </a:lnTo>
                  <a:lnTo>
                    <a:pt x="91" y="200"/>
                  </a:lnTo>
                  <a:lnTo>
                    <a:pt x="96" y="205"/>
                  </a:lnTo>
                  <a:lnTo>
                    <a:pt x="108" y="204"/>
                  </a:lnTo>
                  <a:lnTo>
                    <a:pt x="118" y="200"/>
                  </a:lnTo>
                  <a:lnTo>
                    <a:pt x="127" y="195"/>
                  </a:lnTo>
                  <a:lnTo>
                    <a:pt x="135" y="187"/>
                  </a:lnTo>
                  <a:lnTo>
                    <a:pt x="142" y="177"/>
                  </a:lnTo>
                  <a:lnTo>
                    <a:pt x="147" y="167"/>
                  </a:lnTo>
                  <a:lnTo>
                    <a:pt x="150" y="156"/>
                  </a:lnTo>
                  <a:lnTo>
                    <a:pt x="151" y="145"/>
                  </a:lnTo>
                  <a:lnTo>
                    <a:pt x="150" y="139"/>
                  </a:lnTo>
                  <a:lnTo>
                    <a:pt x="147" y="131"/>
                  </a:lnTo>
                  <a:lnTo>
                    <a:pt x="142" y="121"/>
                  </a:lnTo>
                  <a:lnTo>
                    <a:pt x="136" y="111"/>
                  </a:lnTo>
                  <a:lnTo>
                    <a:pt x="130" y="101"/>
                  </a:lnTo>
                  <a:lnTo>
                    <a:pt x="123" y="92"/>
                  </a:lnTo>
                  <a:lnTo>
                    <a:pt x="119" y="89"/>
                  </a:lnTo>
                  <a:lnTo>
                    <a:pt x="116" y="87"/>
                  </a:lnTo>
                  <a:lnTo>
                    <a:pt x="112" y="85"/>
                  </a:lnTo>
                  <a:lnTo>
                    <a:pt x="108" y="8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accent1">
                  <a:lumMod val="20000"/>
                  <a:lumOff val="8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95" b="0" i="0" u="none" strike="noStrike" kern="1200" cap="none" spc="0" normalizeH="0" baseline="0" noProof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8" name="Freeform 56"/>
            <p:cNvSpPr>
              <a:spLocks/>
            </p:cNvSpPr>
            <p:nvPr/>
          </p:nvSpPr>
          <p:spPr bwMode="auto">
            <a:xfrm>
              <a:off x="4858205" y="2344095"/>
              <a:ext cx="35136" cy="47163"/>
            </a:xfrm>
            <a:custGeom>
              <a:avLst/>
              <a:gdLst>
                <a:gd name="T0" fmla="*/ 196 w 488"/>
                <a:gd name="T1" fmla="*/ 632 h 655"/>
                <a:gd name="T2" fmla="*/ 212 w 488"/>
                <a:gd name="T3" fmla="*/ 607 h 655"/>
                <a:gd name="T4" fmla="*/ 237 w 488"/>
                <a:gd name="T5" fmla="*/ 590 h 655"/>
                <a:gd name="T6" fmla="*/ 308 w 488"/>
                <a:gd name="T7" fmla="*/ 570 h 655"/>
                <a:gd name="T8" fmla="*/ 386 w 488"/>
                <a:gd name="T9" fmla="*/ 554 h 655"/>
                <a:gd name="T10" fmla="*/ 424 w 488"/>
                <a:gd name="T11" fmla="*/ 541 h 655"/>
                <a:gd name="T12" fmla="*/ 454 w 488"/>
                <a:gd name="T13" fmla="*/ 522 h 655"/>
                <a:gd name="T14" fmla="*/ 477 w 488"/>
                <a:gd name="T15" fmla="*/ 494 h 655"/>
                <a:gd name="T16" fmla="*/ 488 w 488"/>
                <a:gd name="T17" fmla="*/ 457 h 655"/>
                <a:gd name="T18" fmla="*/ 446 w 488"/>
                <a:gd name="T19" fmla="*/ 434 h 655"/>
                <a:gd name="T20" fmla="*/ 410 w 488"/>
                <a:gd name="T21" fmla="*/ 426 h 655"/>
                <a:gd name="T22" fmla="*/ 405 w 488"/>
                <a:gd name="T23" fmla="*/ 394 h 655"/>
                <a:gd name="T24" fmla="*/ 392 w 488"/>
                <a:gd name="T25" fmla="*/ 374 h 655"/>
                <a:gd name="T26" fmla="*/ 366 w 488"/>
                <a:gd name="T27" fmla="*/ 355 h 655"/>
                <a:gd name="T28" fmla="*/ 342 w 488"/>
                <a:gd name="T29" fmla="*/ 338 h 655"/>
                <a:gd name="T30" fmla="*/ 326 w 488"/>
                <a:gd name="T31" fmla="*/ 313 h 655"/>
                <a:gd name="T32" fmla="*/ 322 w 488"/>
                <a:gd name="T33" fmla="*/ 281 h 655"/>
                <a:gd name="T34" fmla="*/ 313 w 488"/>
                <a:gd name="T35" fmla="*/ 261 h 655"/>
                <a:gd name="T36" fmla="*/ 296 w 488"/>
                <a:gd name="T37" fmla="*/ 251 h 655"/>
                <a:gd name="T38" fmla="*/ 260 w 488"/>
                <a:gd name="T39" fmla="*/ 246 h 655"/>
                <a:gd name="T40" fmla="*/ 236 w 488"/>
                <a:gd name="T41" fmla="*/ 241 h 655"/>
                <a:gd name="T42" fmla="*/ 222 w 488"/>
                <a:gd name="T43" fmla="*/ 230 h 655"/>
                <a:gd name="T44" fmla="*/ 217 w 488"/>
                <a:gd name="T45" fmla="*/ 210 h 655"/>
                <a:gd name="T46" fmla="*/ 222 w 488"/>
                <a:gd name="T47" fmla="*/ 190 h 655"/>
                <a:gd name="T48" fmla="*/ 232 w 488"/>
                <a:gd name="T49" fmla="*/ 173 h 655"/>
                <a:gd name="T50" fmla="*/ 234 w 488"/>
                <a:gd name="T51" fmla="*/ 147 h 655"/>
                <a:gd name="T52" fmla="*/ 225 w 488"/>
                <a:gd name="T53" fmla="*/ 126 h 655"/>
                <a:gd name="T54" fmla="*/ 198 w 488"/>
                <a:gd name="T55" fmla="*/ 114 h 655"/>
                <a:gd name="T56" fmla="*/ 170 w 488"/>
                <a:gd name="T57" fmla="*/ 129 h 655"/>
                <a:gd name="T58" fmla="*/ 144 w 488"/>
                <a:gd name="T59" fmla="*/ 130 h 655"/>
                <a:gd name="T60" fmla="*/ 125 w 488"/>
                <a:gd name="T61" fmla="*/ 122 h 655"/>
                <a:gd name="T62" fmla="*/ 109 w 488"/>
                <a:gd name="T63" fmla="*/ 106 h 655"/>
                <a:gd name="T64" fmla="*/ 90 w 488"/>
                <a:gd name="T65" fmla="*/ 67 h 655"/>
                <a:gd name="T66" fmla="*/ 85 w 488"/>
                <a:gd name="T67" fmla="*/ 28 h 655"/>
                <a:gd name="T68" fmla="*/ 90 w 488"/>
                <a:gd name="T69" fmla="*/ 0 h 655"/>
                <a:gd name="T70" fmla="*/ 74 w 488"/>
                <a:gd name="T71" fmla="*/ 35 h 655"/>
                <a:gd name="T72" fmla="*/ 48 w 488"/>
                <a:gd name="T73" fmla="*/ 67 h 655"/>
                <a:gd name="T74" fmla="*/ 21 w 488"/>
                <a:gd name="T75" fmla="*/ 98 h 655"/>
                <a:gd name="T76" fmla="*/ 6 w 488"/>
                <a:gd name="T77" fmla="*/ 126 h 655"/>
                <a:gd name="T78" fmla="*/ 0 w 488"/>
                <a:gd name="T79" fmla="*/ 162 h 655"/>
                <a:gd name="T80" fmla="*/ 9 w 488"/>
                <a:gd name="T81" fmla="*/ 207 h 655"/>
                <a:gd name="T82" fmla="*/ 30 w 488"/>
                <a:gd name="T83" fmla="*/ 247 h 655"/>
                <a:gd name="T84" fmla="*/ 66 w 488"/>
                <a:gd name="T85" fmla="*/ 295 h 655"/>
                <a:gd name="T86" fmla="*/ 93 w 488"/>
                <a:gd name="T87" fmla="*/ 345 h 655"/>
                <a:gd name="T88" fmla="*/ 96 w 488"/>
                <a:gd name="T89" fmla="*/ 389 h 655"/>
                <a:gd name="T90" fmla="*/ 85 w 488"/>
                <a:gd name="T91" fmla="*/ 426 h 655"/>
                <a:gd name="T92" fmla="*/ 85 w 488"/>
                <a:gd name="T93" fmla="*/ 481 h 655"/>
                <a:gd name="T94" fmla="*/ 89 w 488"/>
                <a:gd name="T95" fmla="*/ 513 h 655"/>
                <a:gd name="T96" fmla="*/ 109 w 488"/>
                <a:gd name="T97" fmla="*/ 535 h 655"/>
                <a:gd name="T98" fmla="*/ 133 w 488"/>
                <a:gd name="T99" fmla="*/ 547 h 655"/>
                <a:gd name="T100" fmla="*/ 153 w 488"/>
                <a:gd name="T101" fmla="*/ 589 h 655"/>
                <a:gd name="T102" fmla="*/ 180 w 488"/>
                <a:gd name="T103" fmla="*/ 619 h 655"/>
                <a:gd name="T104" fmla="*/ 193 w 488"/>
                <a:gd name="T105" fmla="*/ 655 h 65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88"/>
                <a:gd name="T160" fmla="*/ 0 h 655"/>
                <a:gd name="T161" fmla="*/ 488 w 488"/>
                <a:gd name="T162" fmla="*/ 655 h 655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88" h="655">
                  <a:moveTo>
                    <a:pt x="193" y="655"/>
                  </a:moveTo>
                  <a:lnTo>
                    <a:pt x="194" y="643"/>
                  </a:lnTo>
                  <a:lnTo>
                    <a:pt x="196" y="632"/>
                  </a:lnTo>
                  <a:lnTo>
                    <a:pt x="200" y="623"/>
                  </a:lnTo>
                  <a:lnTo>
                    <a:pt x="205" y="615"/>
                  </a:lnTo>
                  <a:lnTo>
                    <a:pt x="212" y="607"/>
                  </a:lnTo>
                  <a:lnTo>
                    <a:pt x="218" y="601"/>
                  </a:lnTo>
                  <a:lnTo>
                    <a:pt x="228" y="595"/>
                  </a:lnTo>
                  <a:lnTo>
                    <a:pt x="237" y="590"/>
                  </a:lnTo>
                  <a:lnTo>
                    <a:pt x="258" y="582"/>
                  </a:lnTo>
                  <a:lnTo>
                    <a:pt x="281" y="575"/>
                  </a:lnTo>
                  <a:lnTo>
                    <a:pt x="308" y="570"/>
                  </a:lnTo>
                  <a:lnTo>
                    <a:pt x="334" y="565"/>
                  </a:lnTo>
                  <a:lnTo>
                    <a:pt x="361" y="559"/>
                  </a:lnTo>
                  <a:lnTo>
                    <a:pt x="386" y="554"/>
                  </a:lnTo>
                  <a:lnTo>
                    <a:pt x="400" y="550"/>
                  </a:lnTo>
                  <a:lnTo>
                    <a:pt x="412" y="546"/>
                  </a:lnTo>
                  <a:lnTo>
                    <a:pt x="424" y="541"/>
                  </a:lnTo>
                  <a:lnTo>
                    <a:pt x="434" y="535"/>
                  </a:lnTo>
                  <a:lnTo>
                    <a:pt x="445" y="529"/>
                  </a:lnTo>
                  <a:lnTo>
                    <a:pt x="454" y="522"/>
                  </a:lnTo>
                  <a:lnTo>
                    <a:pt x="462" y="514"/>
                  </a:lnTo>
                  <a:lnTo>
                    <a:pt x="470" y="505"/>
                  </a:lnTo>
                  <a:lnTo>
                    <a:pt x="477" y="494"/>
                  </a:lnTo>
                  <a:lnTo>
                    <a:pt x="482" y="483"/>
                  </a:lnTo>
                  <a:lnTo>
                    <a:pt x="486" y="470"/>
                  </a:lnTo>
                  <a:lnTo>
                    <a:pt x="488" y="457"/>
                  </a:lnTo>
                  <a:lnTo>
                    <a:pt x="473" y="450"/>
                  </a:lnTo>
                  <a:lnTo>
                    <a:pt x="456" y="439"/>
                  </a:lnTo>
                  <a:lnTo>
                    <a:pt x="446" y="434"/>
                  </a:lnTo>
                  <a:lnTo>
                    <a:pt x="434" y="430"/>
                  </a:lnTo>
                  <a:lnTo>
                    <a:pt x="422" y="427"/>
                  </a:lnTo>
                  <a:lnTo>
                    <a:pt x="410" y="426"/>
                  </a:lnTo>
                  <a:lnTo>
                    <a:pt x="409" y="414"/>
                  </a:lnTo>
                  <a:lnTo>
                    <a:pt x="408" y="403"/>
                  </a:lnTo>
                  <a:lnTo>
                    <a:pt x="405" y="394"/>
                  </a:lnTo>
                  <a:lnTo>
                    <a:pt x="401" y="386"/>
                  </a:lnTo>
                  <a:lnTo>
                    <a:pt x="397" y="379"/>
                  </a:lnTo>
                  <a:lnTo>
                    <a:pt x="392" y="374"/>
                  </a:lnTo>
                  <a:lnTo>
                    <a:pt x="386" y="369"/>
                  </a:lnTo>
                  <a:lnTo>
                    <a:pt x="380" y="363"/>
                  </a:lnTo>
                  <a:lnTo>
                    <a:pt x="366" y="355"/>
                  </a:lnTo>
                  <a:lnTo>
                    <a:pt x="354" y="347"/>
                  </a:lnTo>
                  <a:lnTo>
                    <a:pt x="348" y="343"/>
                  </a:lnTo>
                  <a:lnTo>
                    <a:pt x="342" y="338"/>
                  </a:lnTo>
                  <a:lnTo>
                    <a:pt x="337" y="331"/>
                  </a:lnTo>
                  <a:lnTo>
                    <a:pt x="332" y="325"/>
                  </a:lnTo>
                  <a:lnTo>
                    <a:pt x="326" y="313"/>
                  </a:lnTo>
                  <a:lnTo>
                    <a:pt x="324" y="302"/>
                  </a:lnTo>
                  <a:lnTo>
                    <a:pt x="324" y="291"/>
                  </a:lnTo>
                  <a:lnTo>
                    <a:pt x="322" y="281"/>
                  </a:lnTo>
                  <a:lnTo>
                    <a:pt x="321" y="273"/>
                  </a:lnTo>
                  <a:lnTo>
                    <a:pt x="316" y="263"/>
                  </a:lnTo>
                  <a:lnTo>
                    <a:pt x="313" y="261"/>
                  </a:lnTo>
                  <a:lnTo>
                    <a:pt x="308" y="257"/>
                  </a:lnTo>
                  <a:lnTo>
                    <a:pt x="302" y="254"/>
                  </a:lnTo>
                  <a:lnTo>
                    <a:pt x="296" y="251"/>
                  </a:lnTo>
                  <a:lnTo>
                    <a:pt x="285" y="249"/>
                  </a:lnTo>
                  <a:lnTo>
                    <a:pt x="273" y="247"/>
                  </a:lnTo>
                  <a:lnTo>
                    <a:pt x="260" y="246"/>
                  </a:lnTo>
                  <a:lnTo>
                    <a:pt x="248" y="245"/>
                  </a:lnTo>
                  <a:lnTo>
                    <a:pt x="241" y="243"/>
                  </a:lnTo>
                  <a:lnTo>
                    <a:pt x="236" y="241"/>
                  </a:lnTo>
                  <a:lnTo>
                    <a:pt x="230" y="238"/>
                  </a:lnTo>
                  <a:lnTo>
                    <a:pt x="226" y="235"/>
                  </a:lnTo>
                  <a:lnTo>
                    <a:pt x="222" y="230"/>
                  </a:lnTo>
                  <a:lnTo>
                    <a:pt x="220" y="225"/>
                  </a:lnTo>
                  <a:lnTo>
                    <a:pt x="217" y="218"/>
                  </a:lnTo>
                  <a:lnTo>
                    <a:pt x="217" y="210"/>
                  </a:lnTo>
                  <a:lnTo>
                    <a:pt x="218" y="202"/>
                  </a:lnTo>
                  <a:lnTo>
                    <a:pt x="220" y="195"/>
                  </a:lnTo>
                  <a:lnTo>
                    <a:pt x="222" y="190"/>
                  </a:lnTo>
                  <a:lnTo>
                    <a:pt x="226" y="185"/>
                  </a:lnTo>
                  <a:lnTo>
                    <a:pt x="229" y="179"/>
                  </a:lnTo>
                  <a:lnTo>
                    <a:pt x="232" y="173"/>
                  </a:lnTo>
                  <a:lnTo>
                    <a:pt x="234" y="166"/>
                  </a:lnTo>
                  <a:lnTo>
                    <a:pt x="236" y="155"/>
                  </a:lnTo>
                  <a:lnTo>
                    <a:pt x="234" y="147"/>
                  </a:lnTo>
                  <a:lnTo>
                    <a:pt x="232" y="139"/>
                  </a:lnTo>
                  <a:lnTo>
                    <a:pt x="229" y="133"/>
                  </a:lnTo>
                  <a:lnTo>
                    <a:pt x="225" y="126"/>
                  </a:lnTo>
                  <a:lnTo>
                    <a:pt x="217" y="114"/>
                  </a:lnTo>
                  <a:lnTo>
                    <a:pt x="212" y="101"/>
                  </a:lnTo>
                  <a:lnTo>
                    <a:pt x="198" y="114"/>
                  </a:lnTo>
                  <a:lnTo>
                    <a:pt x="185" y="123"/>
                  </a:lnTo>
                  <a:lnTo>
                    <a:pt x="178" y="126"/>
                  </a:lnTo>
                  <a:lnTo>
                    <a:pt x="170" y="129"/>
                  </a:lnTo>
                  <a:lnTo>
                    <a:pt x="161" y="131"/>
                  </a:lnTo>
                  <a:lnTo>
                    <a:pt x="150" y="131"/>
                  </a:lnTo>
                  <a:lnTo>
                    <a:pt x="144" y="130"/>
                  </a:lnTo>
                  <a:lnTo>
                    <a:pt x="137" y="129"/>
                  </a:lnTo>
                  <a:lnTo>
                    <a:pt x="132" y="126"/>
                  </a:lnTo>
                  <a:lnTo>
                    <a:pt x="125" y="122"/>
                  </a:lnTo>
                  <a:lnTo>
                    <a:pt x="120" y="118"/>
                  </a:lnTo>
                  <a:lnTo>
                    <a:pt x="114" y="111"/>
                  </a:lnTo>
                  <a:lnTo>
                    <a:pt x="109" y="106"/>
                  </a:lnTo>
                  <a:lnTo>
                    <a:pt x="104" y="99"/>
                  </a:lnTo>
                  <a:lnTo>
                    <a:pt x="96" y="83"/>
                  </a:lnTo>
                  <a:lnTo>
                    <a:pt x="90" y="67"/>
                  </a:lnTo>
                  <a:lnTo>
                    <a:pt x="86" y="51"/>
                  </a:lnTo>
                  <a:lnTo>
                    <a:pt x="85" y="35"/>
                  </a:lnTo>
                  <a:lnTo>
                    <a:pt x="85" y="28"/>
                  </a:lnTo>
                  <a:lnTo>
                    <a:pt x="85" y="17"/>
                  </a:lnTo>
                  <a:lnTo>
                    <a:pt x="88" y="6"/>
                  </a:lnTo>
                  <a:lnTo>
                    <a:pt x="90" y="0"/>
                  </a:lnTo>
                  <a:lnTo>
                    <a:pt x="85" y="17"/>
                  </a:lnTo>
                  <a:lnTo>
                    <a:pt x="80" y="26"/>
                  </a:lnTo>
                  <a:lnTo>
                    <a:pt x="74" y="35"/>
                  </a:lnTo>
                  <a:lnTo>
                    <a:pt x="68" y="45"/>
                  </a:lnTo>
                  <a:lnTo>
                    <a:pt x="61" y="53"/>
                  </a:lnTo>
                  <a:lnTo>
                    <a:pt x="48" y="67"/>
                  </a:lnTo>
                  <a:lnTo>
                    <a:pt x="33" y="82"/>
                  </a:lnTo>
                  <a:lnTo>
                    <a:pt x="26" y="90"/>
                  </a:lnTo>
                  <a:lnTo>
                    <a:pt x="21" y="98"/>
                  </a:lnTo>
                  <a:lnTo>
                    <a:pt x="14" y="107"/>
                  </a:lnTo>
                  <a:lnTo>
                    <a:pt x="10" y="115"/>
                  </a:lnTo>
                  <a:lnTo>
                    <a:pt x="6" y="126"/>
                  </a:lnTo>
                  <a:lnTo>
                    <a:pt x="2" y="137"/>
                  </a:lnTo>
                  <a:lnTo>
                    <a:pt x="1" y="149"/>
                  </a:lnTo>
                  <a:lnTo>
                    <a:pt x="0" y="162"/>
                  </a:lnTo>
                  <a:lnTo>
                    <a:pt x="1" y="178"/>
                  </a:lnTo>
                  <a:lnTo>
                    <a:pt x="4" y="193"/>
                  </a:lnTo>
                  <a:lnTo>
                    <a:pt x="9" y="207"/>
                  </a:lnTo>
                  <a:lnTo>
                    <a:pt x="16" y="222"/>
                  </a:lnTo>
                  <a:lnTo>
                    <a:pt x="22" y="234"/>
                  </a:lnTo>
                  <a:lnTo>
                    <a:pt x="30" y="247"/>
                  </a:lnTo>
                  <a:lnTo>
                    <a:pt x="40" y="259"/>
                  </a:lnTo>
                  <a:lnTo>
                    <a:pt x="49" y="271"/>
                  </a:lnTo>
                  <a:lnTo>
                    <a:pt x="66" y="295"/>
                  </a:lnTo>
                  <a:lnTo>
                    <a:pt x="81" y="319"/>
                  </a:lnTo>
                  <a:lnTo>
                    <a:pt x="88" y="331"/>
                  </a:lnTo>
                  <a:lnTo>
                    <a:pt x="93" y="345"/>
                  </a:lnTo>
                  <a:lnTo>
                    <a:pt x="96" y="358"/>
                  </a:lnTo>
                  <a:lnTo>
                    <a:pt x="97" y="373"/>
                  </a:lnTo>
                  <a:lnTo>
                    <a:pt x="96" y="389"/>
                  </a:lnTo>
                  <a:lnTo>
                    <a:pt x="93" y="403"/>
                  </a:lnTo>
                  <a:lnTo>
                    <a:pt x="89" y="417"/>
                  </a:lnTo>
                  <a:lnTo>
                    <a:pt x="85" y="426"/>
                  </a:lnTo>
                  <a:lnTo>
                    <a:pt x="85" y="453"/>
                  </a:lnTo>
                  <a:lnTo>
                    <a:pt x="85" y="469"/>
                  </a:lnTo>
                  <a:lnTo>
                    <a:pt x="85" y="481"/>
                  </a:lnTo>
                  <a:lnTo>
                    <a:pt x="85" y="493"/>
                  </a:lnTo>
                  <a:lnTo>
                    <a:pt x="86" y="503"/>
                  </a:lnTo>
                  <a:lnTo>
                    <a:pt x="89" y="513"/>
                  </a:lnTo>
                  <a:lnTo>
                    <a:pt x="94" y="522"/>
                  </a:lnTo>
                  <a:lnTo>
                    <a:pt x="102" y="529"/>
                  </a:lnTo>
                  <a:lnTo>
                    <a:pt x="109" y="535"/>
                  </a:lnTo>
                  <a:lnTo>
                    <a:pt x="117" y="541"/>
                  </a:lnTo>
                  <a:lnTo>
                    <a:pt x="125" y="545"/>
                  </a:lnTo>
                  <a:lnTo>
                    <a:pt x="133" y="547"/>
                  </a:lnTo>
                  <a:lnTo>
                    <a:pt x="138" y="562"/>
                  </a:lnTo>
                  <a:lnTo>
                    <a:pt x="145" y="577"/>
                  </a:lnTo>
                  <a:lnTo>
                    <a:pt x="153" y="589"/>
                  </a:lnTo>
                  <a:lnTo>
                    <a:pt x="161" y="601"/>
                  </a:lnTo>
                  <a:lnTo>
                    <a:pt x="170" y="610"/>
                  </a:lnTo>
                  <a:lnTo>
                    <a:pt x="180" y="619"/>
                  </a:lnTo>
                  <a:lnTo>
                    <a:pt x="190" y="626"/>
                  </a:lnTo>
                  <a:lnTo>
                    <a:pt x="198" y="631"/>
                  </a:lnTo>
                  <a:lnTo>
                    <a:pt x="193" y="65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accent1">
                  <a:lumMod val="20000"/>
                  <a:lumOff val="8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95" b="0" i="0" u="none" strike="noStrike" kern="1200" cap="none" spc="0" normalizeH="0" baseline="0" noProof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9" name="Freeform 58"/>
            <p:cNvSpPr>
              <a:spLocks/>
            </p:cNvSpPr>
            <p:nvPr/>
          </p:nvSpPr>
          <p:spPr bwMode="auto">
            <a:xfrm>
              <a:off x="4873297" y="2349519"/>
              <a:ext cx="40796" cy="27355"/>
            </a:xfrm>
            <a:custGeom>
              <a:avLst/>
              <a:gdLst>
                <a:gd name="T0" fmla="*/ 553 w 565"/>
                <a:gd name="T1" fmla="*/ 296 h 380"/>
                <a:gd name="T2" fmla="*/ 474 w 565"/>
                <a:gd name="T3" fmla="*/ 296 h 380"/>
                <a:gd name="T4" fmla="*/ 467 w 565"/>
                <a:gd name="T5" fmla="*/ 337 h 380"/>
                <a:gd name="T6" fmla="*/ 457 w 565"/>
                <a:gd name="T7" fmla="*/ 354 h 380"/>
                <a:gd name="T8" fmla="*/ 441 w 565"/>
                <a:gd name="T9" fmla="*/ 366 h 380"/>
                <a:gd name="T10" fmla="*/ 402 w 565"/>
                <a:gd name="T11" fmla="*/ 373 h 380"/>
                <a:gd name="T12" fmla="*/ 390 w 565"/>
                <a:gd name="T13" fmla="*/ 370 h 380"/>
                <a:gd name="T14" fmla="*/ 375 w 565"/>
                <a:gd name="T15" fmla="*/ 353 h 380"/>
                <a:gd name="T16" fmla="*/ 359 w 565"/>
                <a:gd name="T17" fmla="*/ 336 h 380"/>
                <a:gd name="T18" fmla="*/ 349 w 565"/>
                <a:gd name="T19" fmla="*/ 332 h 380"/>
                <a:gd name="T20" fmla="*/ 335 w 565"/>
                <a:gd name="T21" fmla="*/ 336 h 380"/>
                <a:gd name="T22" fmla="*/ 317 w 565"/>
                <a:gd name="T23" fmla="*/ 356 h 380"/>
                <a:gd name="T24" fmla="*/ 294 w 565"/>
                <a:gd name="T25" fmla="*/ 376 h 380"/>
                <a:gd name="T26" fmla="*/ 276 w 565"/>
                <a:gd name="T27" fmla="*/ 380 h 380"/>
                <a:gd name="T28" fmla="*/ 234 w 565"/>
                <a:gd name="T29" fmla="*/ 357 h 380"/>
                <a:gd name="T30" fmla="*/ 198 w 565"/>
                <a:gd name="T31" fmla="*/ 349 h 380"/>
                <a:gd name="T32" fmla="*/ 193 w 565"/>
                <a:gd name="T33" fmla="*/ 317 h 380"/>
                <a:gd name="T34" fmla="*/ 180 w 565"/>
                <a:gd name="T35" fmla="*/ 297 h 380"/>
                <a:gd name="T36" fmla="*/ 154 w 565"/>
                <a:gd name="T37" fmla="*/ 278 h 380"/>
                <a:gd name="T38" fmla="*/ 130 w 565"/>
                <a:gd name="T39" fmla="*/ 261 h 380"/>
                <a:gd name="T40" fmla="*/ 114 w 565"/>
                <a:gd name="T41" fmla="*/ 236 h 380"/>
                <a:gd name="T42" fmla="*/ 110 w 565"/>
                <a:gd name="T43" fmla="*/ 204 h 380"/>
                <a:gd name="T44" fmla="*/ 101 w 565"/>
                <a:gd name="T45" fmla="*/ 184 h 380"/>
                <a:gd name="T46" fmla="*/ 84 w 565"/>
                <a:gd name="T47" fmla="*/ 174 h 380"/>
                <a:gd name="T48" fmla="*/ 48 w 565"/>
                <a:gd name="T49" fmla="*/ 169 h 380"/>
                <a:gd name="T50" fmla="*/ 24 w 565"/>
                <a:gd name="T51" fmla="*/ 164 h 380"/>
                <a:gd name="T52" fmla="*/ 10 w 565"/>
                <a:gd name="T53" fmla="*/ 153 h 380"/>
                <a:gd name="T54" fmla="*/ 5 w 565"/>
                <a:gd name="T55" fmla="*/ 133 h 380"/>
                <a:gd name="T56" fmla="*/ 10 w 565"/>
                <a:gd name="T57" fmla="*/ 113 h 380"/>
                <a:gd name="T58" fmla="*/ 20 w 565"/>
                <a:gd name="T59" fmla="*/ 96 h 380"/>
                <a:gd name="T60" fmla="*/ 22 w 565"/>
                <a:gd name="T61" fmla="*/ 70 h 380"/>
                <a:gd name="T62" fmla="*/ 13 w 565"/>
                <a:gd name="T63" fmla="*/ 49 h 380"/>
                <a:gd name="T64" fmla="*/ 8 w 565"/>
                <a:gd name="T65" fmla="*/ 16 h 380"/>
                <a:gd name="T66" fmla="*/ 29 w 565"/>
                <a:gd name="T67" fmla="*/ 2 h 380"/>
                <a:gd name="T68" fmla="*/ 58 w 565"/>
                <a:gd name="T69" fmla="*/ 1 h 380"/>
                <a:gd name="T70" fmla="*/ 110 w 565"/>
                <a:gd name="T71" fmla="*/ 9 h 380"/>
                <a:gd name="T72" fmla="*/ 162 w 565"/>
                <a:gd name="T73" fmla="*/ 17 h 380"/>
                <a:gd name="T74" fmla="*/ 184 w 565"/>
                <a:gd name="T75" fmla="*/ 28 h 380"/>
                <a:gd name="T76" fmla="*/ 208 w 565"/>
                <a:gd name="T77" fmla="*/ 48 h 380"/>
                <a:gd name="T78" fmla="*/ 264 w 565"/>
                <a:gd name="T79" fmla="*/ 73 h 380"/>
                <a:gd name="T80" fmla="*/ 302 w 565"/>
                <a:gd name="T81" fmla="*/ 78 h 380"/>
                <a:gd name="T82" fmla="*/ 320 w 565"/>
                <a:gd name="T83" fmla="*/ 73 h 380"/>
                <a:gd name="T84" fmla="*/ 349 w 565"/>
                <a:gd name="T85" fmla="*/ 45 h 380"/>
                <a:gd name="T86" fmla="*/ 373 w 565"/>
                <a:gd name="T87" fmla="*/ 72 h 380"/>
                <a:gd name="T88" fmla="*/ 381 w 565"/>
                <a:gd name="T89" fmla="*/ 101 h 380"/>
                <a:gd name="T90" fmla="*/ 406 w 565"/>
                <a:gd name="T91" fmla="*/ 126 h 380"/>
                <a:gd name="T92" fmla="*/ 445 w 565"/>
                <a:gd name="T93" fmla="*/ 146 h 380"/>
                <a:gd name="T94" fmla="*/ 466 w 565"/>
                <a:gd name="T95" fmla="*/ 162 h 380"/>
                <a:gd name="T96" fmla="*/ 466 w 565"/>
                <a:gd name="T97" fmla="*/ 180 h 380"/>
                <a:gd name="T98" fmla="*/ 453 w 565"/>
                <a:gd name="T99" fmla="*/ 181 h 380"/>
                <a:gd name="T100" fmla="*/ 445 w 565"/>
                <a:gd name="T101" fmla="*/ 210 h 380"/>
                <a:gd name="T102" fmla="*/ 469 w 565"/>
                <a:gd name="T103" fmla="*/ 230 h 380"/>
                <a:gd name="T104" fmla="*/ 509 w 565"/>
                <a:gd name="T105" fmla="*/ 241 h 380"/>
                <a:gd name="T106" fmla="*/ 533 w 565"/>
                <a:gd name="T107" fmla="*/ 249 h 380"/>
                <a:gd name="T108" fmla="*/ 553 w 565"/>
                <a:gd name="T109" fmla="*/ 268 h 380"/>
                <a:gd name="T110" fmla="*/ 565 w 565"/>
                <a:gd name="T111" fmla="*/ 301 h 38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565"/>
                <a:gd name="T169" fmla="*/ 0 h 380"/>
                <a:gd name="T170" fmla="*/ 565 w 565"/>
                <a:gd name="T171" fmla="*/ 380 h 38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565" h="380">
                  <a:moveTo>
                    <a:pt x="565" y="301"/>
                  </a:moveTo>
                  <a:lnTo>
                    <a:pt x="559" y="298"/>
                  </a:lnTo>
                  <a:lnTo>
                    <a:pt x="553" y="296"/>
                  </a:lnTo>
                  <a:lnTo>
                    <a:pt x="546" y="296"/>
                  </a:lnTo>
                  <a:lnTo>
                    <a:pt x="541" y="296"/>
                  </a:lnTo>
                  <a:lnTo>
                    <a:pt x="474" y="296"/>
                  </a:lnTo>
                  <a:lnTo>
                    <a:pt x="474" y="314"/>
                  </a:lnTo>
                  <a:lnTo>
                    <a:pt x="470" y="330"/>
                  </a:lnTo>
                  <a:lnTo>
                    <a:pt x="467" y="337"/>
                  </a:lnTo>
                  <a:lnTo>
                    <a:pt x="465" y="344"/>
                  </a:lnTo>
                  <a:lnTo>
                    <a:pt x="461" y="349"/>
                  </a:lnTo>
                  <a:lnTo>
                    <a:pt x="457" y="354"/>
                  </a:lnTo>
                  <a:lnTo>
                    <a:pt x="451" y="360"/>
                  </a:lnTo>
                  <a:lnTo>
                    <a:pt x="446" y="364"/>
                  </a:lnTo>
                  <a:lnTo>
                    <a:pt x="441" y="366"/>
                  </a:lnTo>
                  <a:lnTo>
                    <a:pt x="434" y="369"/>
                  </a:lnTo>
                  <a:lnTo>
                    <a:pt x="419" y="373"/>
                  </a:lnTo>
                  <a:lnTo>
                    <a:pt x="402" y="373"/>
                  </a:lnTo>
                  <a:lnTo>
                    <a:pt x="398" y="373"/>
                  </a:lnTo>
                  <a:lnTo>
                    <a:pt x="394" y="372"/>
                  </a:lnTo>
                  <a:lnTo>
                    <a:pt x="390" y="370"/>
                  </a:lnTo>
                  <a:lnTo>
                    <a:pt x="387" y="366"/>
                  </a:lnTo>
                  <a:lnTo>
                    <a:pt x="381" y="360"/>
                  </a:lnTo>
                  <a:lnTo>
                    <a:pt x="375" y="353"/>
                  </a:lnTo>
                  <a:lnTo>
                    <a:pt x="370" y="345"/>
                  </a:lnTo>
                  <a:lnTo>
                    <a:pt x="363" y="338"/>
                  </a:lnTo>
                  <a:lnTo>
                    <a:pt x="359" y="336"/>
                  </a:lnTo>
                  <a:lnTo>
                    <a:pt x="357" y="333"/>
                  </a:lnTo>
                  <a:lnTo>
                    <a:pt x="353" y="332"/>
                  </a:lnTo>
                  <a:lnTo>
                    <a:pt x="349" y="332"/>
                  </a:lnTo>
                  <a:lnTo>
                    <a:pt x="343" y="332"/>
                  </a:lnTo>
                  <a:lnTo>
                    <a:pt x="339" y="333"/>
                  </a:lnTo>
                  <a:lnTo>
                    <a:pt x="335" y="336"/>
                  </a:lnTo>
                  <a:lnTo>
                    <a:pt x="331" y="338"/>
                  </a:lnTo>
                  <a:lnTo>
                    <a:pt x="325" y="346"/>
                  </a:lnTo>
                  <a:lnTo>
                    <a:pt x="317" y="356"/>
                  </a:lnTo>
                  <a:lnTo>
                    <a:pt x="309" y="365"/>
                  </a:lnTo>
                  <a:lnTo>
                    <a:pt x="300" y="372"/>
                  </a:lnTo>
                  <a:lnTo>
                    <a:pt x="294" y="376"/>
                  </a:lnTo>
                  <a:lnTo>
                    <a:pt x="289" y="377"/>
                  </a:lnTo>
                  <a:lnTo>
                    <a:pt x="282" y="380"/>
                  </a:lnTo>
                  <a:lnTo>
                    <a:pt x="276" y="380"/>
                  </a:lnTo>
                  <a:lnTo>
                    <a:pt x="261" y="373"/>
                  </a:lnTo>
                  <a:lnTo>
                    <a:pt x="244" y="362"/>
                  </a:lnTo>
                  <a:lnTo>
                    <a:pt x="234" y="357"/>
                  </a:lnTo>
                  <a:lnTo>
                    <a:pt x="222" y="353"/>
                  </a:lnTo>
                  <a:lnTo>
                    <a:pt x="210" y="350"/>
                  </a:lnTo>
                  <a:lnTo>
                    <a:pt x="198" y="349"/>
                  </a:lnTo>
                  <a:lnTo>
                    <a:pt x="197" y="337"/>
                  </a:lnTo>
                  <a:lnTo>
                    <a:pt x="196" y="326"/>
                  </a:lnTo>
                  <a:lnTo>
                    <a:pt x="193" y="317"/>
                  </a:lnTo>
                  <a:lnTo>
                    <a:pt x="189" y="309"/>
                  </a:lnTo>
                  <a:lnTo>
                    <a:pt x="185" y="302"/>
                  </a:lnTo>
                  <a:lnTo>
                    <a:pt x="180" y="297"/>
                  </a:lnTo>
                  <a:lnTo>
                    <a:pt x="174" y="292"/>
                  </a:lnTo>
                  <a:lnTo>
                    <a:pt x="168" y="286"/>
                  </a:lnTo>
                  <a:lnTo>
                    <a:pt x="154" y="278"/>
                  </a:lnTo>
                  <a:lnTo>
                    <a:pt x="142" y="270"/>
                  </a:lnTo>
                  <a:lnTo>
                    <a:pt x="136" y="266"/>
                  </a:lnTo>
                  <a:lnTo>
                    <a:pt x="130" y="261"/>
                  </a:lnTo>
                  <a:lnTo>
                    <a:pt x="125" y="254"/>
                  </a:lnTo>
                  <a:lnTo>
                    <a:pt x="120" y="248"/>
                  </a:lnTo>
                  <a:lnTo>
                    <a:pt x="114" y="236"/>
                  </a:lnTo>
                  <a:lnTo>
                    <a:pt x="112" y="225"/>
                  </a:lnTo>
                  <a:lnTo>
                    <a:pt x="112" y="214"/>
                  </a:lnTo>
                  <a:lnTo>
                    <a:pt x="110" y="204"/>
                  </a:lnTo>
                  <a:lnTo>
                    <a:pt x="109" y="196"/>
                  </a:lnTo>
                  <a:lnTo>
                    <a:pt x="104" y="186"/>
                  </a:lnTo>
                  <a:lnTo>
                    <a:pt x="101" y="184"/>
                  </a:lnTo>
                  <a:lnTo>
                    <a:pt x="96" y="180"/>
                  </a:lnTo>
                  <a:lnTo>
                    <a:pt x="90" y="177"/>
                  </a:lnTo>
                  <a:lnTo>
                    <a:pt x="84" y="174"/>
                  </a:lnTo>
                  <a:lnTo>
                    <a:pt x="73" y="172"/>
                  </a:lnTo>
                  <a:lnTo>
                    <a:pt x="61" y="170"/>
                  </a:lnTo>
                  <a:lnTo>
                    <a:pt x="48" y="169"/>
                  </a:lnTo>
                  <a:lnTo>
                    <a:pt x="36" y="168"/>
                  </a:lnTo>
                  <a:lnTo>
                    <a:pt x="29" y="166"/>
                  </a:lnTo>
                  <a:lnTo>
                    <a:pt x="24" y="164"/>
                  </a:lnTo>
                  <a:lnTo>
                    <a:pt x="18" y="161"/>
                  </a:lnTo>
                  <a:lnTo>
                    <a:pt x="14" y="158"/>
                  </a:lnTo>
                  <a:lnTo>
                    <a:pt x="10" y="153"/>
                  </a:lnTo>
                  <a:lnTo>
                    <a:pt x="8" y="148"/>
                  </a:lnTo>
                  <a:lnTo>
                    <a:pt x="5" y="141"/>
                  </a:lnTo>
                  <a:lnTo>
                    <a:pt x="5" y="133"/>
                  </a:lnTo>
                  <a:lnTo>
                    <a:pt x="6" y="125"/>
                  </a:lnTo>
                  <a:lnTo>
                    <a:pt x="8" y="118"/>
                  </a:lnTo>
                  <a:lnTo>
                    <a:pt x="10" y="113"/>
                  </a:lnTo>
                  <a:lnTo>
                    <a:pt x="14" y="108"/>
                  </a:lnTo>
                  <a:lnTo>
                    <a:pt x="17" y="102"/>
                  </a:lnTo>
                  <a:lnTo>
                    <a:pt x="20" y="96"/>
                  </a:lnTo>
                  <a:lnTo>
                    <a:pt x="22" y="89"/>
                  </a:lnTo>
                  <a:lnTo>
                    <a:pt x="24" y="78"/>
                  </a:lnTo>
                  <a:lnTo>
                    <a:pt x="22" y="70"/>
                  </a:lnTo>
                  <a:lnTo>
                    <a:pt x="20" y="62"/>
                  </a:lnTo>
                  <a:lnTo>
                    <a:pt x="17" y="56"/>
                  </a:lnTo>
                  <a:lnTo>
                    <a:pt x="13" y="49"/>
                  </a:lnTo>
                  <a:lnTo>
                    <a:pt x="5" y="37"/>
                  </a:lnTo>
                  <a:lnTo>
                    <a:pt x="0" y="24"/>
                  </a:lnTo>
                  <a:lnTo>
                    <a:pt x="8" y="16"/>
                  </a:lnTo>
                  <a:lnTo>
                    <a:pt x="18" y="8"/>
                  </a:lnTo>
                  <a:lnTo>
                    <a:pt x="24" y="5"/>
                  </a:lnTo>
                  <a:lnTo>
                    <a:pt x="29" y="2"/>
                  </a:lnTo>
                  <a:lnTo>
                    <a:pt x="34" y="1"/>
                  </a:lnTo>
                  <a:lnTo>
                    <a:pt x="41" y="0"/>
                  </a:lnTo>
                  <a:lnTo>
                    <a:pt x="58" y="1"/>
                  </a:lnTo>
                  <a:lnTo>
                    <a:pt x="77" y="2"/>
                  </a:lnTo>
                  <a:lnTo>
                    <a:pt x="93" y="6"/>
                  </a:lnTo>
                  <a:lnTo>
                    <a:pt x="110" y="9"/>
                  </a:lnTo>
                  <a:lnTo>
                    <a:pt x="128" y="13"/>
                  </a:lnTo>
                  <a:lnTo>
                    <a:pt x="145" y="16"/>
                  </a:lnTo>
                  <a:lnTo>
                    <a:pt x="162" y="17"/>
                  </a:lnTo>
                  <a:lnTo>
                    <a:pt x="180" y="18"/>
                  </a:lnTo>
                  <a:lnTo>
                    <a:pt x="181" y="22"/>
                  </a:lnTo>
                  <a:lnTo>
                    <a:pt x="184" y="28"/>
                  </a:lnTo>
                  <a:lnTo>
                    <a:pt x="188" y="33"/>
                  </a:lnTo>
                  <a:lnTo>
                    <a:pt x="193" y="38"/>
                  </a:lnTo>
                  <a:lnTo>
                    <a:pt x="208" y="48"/>
                  </a:lnTo>
                  <a:lnTo>
                    <a:pt x="226" y="57"/>
                  </a:lnTo>
                  <a:lnTo>
                    <a:pt x="245" y="66"/>
                  </a:lnTo>
                  <a:lnTo>
                    <a:pt x="264" y="73"/>
                  </a:lnTo>
                  <a:lnTo>
                    <a:pt x="281" y="77"/>
                  </a:lnTo>
                  <a:lnTo>
                    <a:pt x="294" y="78"/>
                  </a:lnTo>
                  <a:lnTo>
                    <a:pt x="302" y="78"/>
                  </a:lnTo>
                  <a:lnTo>
                    <a:pt x="309" y="77"/>
                  </a:lnTo>
                  <a:lnTo>
                    <a:pt x="314" y="76"/>
                  </a:lnTo>
                  <a:lnTo>
                    <a:pt x="320" y="73"/>
                  </a:lnTo>
                  <a:lnTo>
                    <a:pt x="329" y="68"/>
                  </a:lnTo>
                  <a:lnTo>
                    <a:pt x="337" y="61"/>
                  </a:lnTo>
                  <a:lnTo>
                    <a:pt x="349" y="45"/>
                  </a:lnTo>
                  <a:lnTo>
                    <a:pt x="361" y="30"/>
                  </a:lnTo>
                  <a:lnTo>
                    <a:pt x="367" y="50"/>
                  </a:lnTo>
                  <a:lnTo>
                    <a:pt x="373" y="72"/>
                  </a:lnTo>
                  <a:lnTo>
                    <a:pt x="374" y="82"/>
                  </a:lnTo>
                  <a:lnTo>
                    <a:pt x="377" y="92"/>
                  </a:lnTo>
                  <a:lnTo>
                    <a:pt x="381" y="101"/>
                  </a:lnTo>
                  <a:lnTo>
                    <a:pt x="385" y="109"/>
                  </a:lnTo>
                  <a:lnTo>
                    <a:pt x="394" y="118"/>
                  </a:lnTo>
                  <a:lnTo>
                    <a:pt x="406" y="126"/>
                  </a:lnTo>
                  <a:lnTo>
                    <a:pt x="418" y="133"/>
                  </a:lnTo>
                  <a:lnTo>
                    <a:pt x="431" y="140"/>
                  </a:lnTo>
                  <a:lnTo>
                    <a:pt x="445" y="146"/>
                  </a:lnTo>
                  <a:lnTo>
                    <a:pt x="457" y="153"/>
                  </a:lnTo>
                  <a:lnTo>
                    <a:pt x="462" y="158"/>
                  </a:lnTo>
                  <a:lnTo>
                    <a:pt x="466" y="162"/>
                  </a:lnTo>
                  <a:lnTo>
                    <a:pt x="471" y="169"/>
                  </a:lnTo>
                  <a:lnTo>
                    <a:pt x="474" y="174"/>
                  </a:lnTo>
                  <a:lnTo>
                    <a:pt x="466" y="180"/>
                  </a:lnTo>
                  <a:lnTo>
                    <a:pt x="459" y="181"/>
                  </a:lnTo>
                  <a:lnTo>
                    <a:pt x="457" y="181"/>
                  </a:lnTo>
                  <a:lnTo>
                    <a:pt x="453" y="181"/>
                  </a:lnTo>
                  <a:lnTo>
                    <a:pt x="449" y="178"/>
                  </a:lnTo>
                  <a:lnTo>
                    <a:pt x="445" y="174"/>
                  </a:lnTo>
                  <a:lnTo>
                    <a:pt x="445" y="210"/>
                  </a:lnTo>
                  <a:lnTo>
                    <a:pt x="453" y="218"/>
                  </a:lnTo>
                  <a:lnTo>
                    <a:pt x="461" y="225"/>
                  </a:lnTo>
                  <a:lnTo>
                    <a:pt x="469" y="230"/>
                  </a:lnTo>
                  <a:lnTo>
                    <a:pt x="477" y="233"/>
                  </a:lnTo>
                  <a:lnTo>
                    <a:pt x="493" y="238"/>
                  </a:lnTo>
                  <a:lnTo>
                    <a:pt x="509" y="241"/>
                  </a:lnTo>
                  <a:lnTo>
                    <a:pt x="517" y="242"/>
                  </a:lnTo>
                  <a:lnTo>
                    <a:pt x="525" y="245"/>
                  </a:lnTo>
                  <a:lnTo>
                    <a:pt x="533" y="249"/>
                  </a:lnTo>
                  <a:lnTo>
                    <a:pt x="539" y="253"/>
                  </a:lnTo>
                  <a:lnTo>
                    <a:pt x="546" y="260"/>
                  </a:lnTo>
                  <a:lnTo>
                    <a:pt x="553" y="268"/>
                  </a:lnTo>
                  <a:lnTo>
                    <a:pt x="559" y="277"/>
                  </a:lnTo>
                  <a:lnTo>
                    <a:pt x="565" y="289"/>
                  </a:lnTo>
                  <a:lnTo>
                    <a:pt x="565" y="301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accent1">
                  <a:lumMod val="20000"/>
                  <a:lumOff val="8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95" b="0" i="0" u="none" strike="noStrike" kern="1200" cap="none" spc="0" normalizeH="0" baseline="0" noProof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0" name="Freeform 71"/>
            <p:cNvSpPr>
              <a:spLocks/>
            </p:cNvSpPr>
            <p:nvPr/>
          </p:nvSpPr>
          <p:spPr bwMode="auto">
            <a:xfrm>
              <a:off x="4810807" y="2363196"/>
              <a:ext cx="29948" cy="32542"/>
            </a:xfrm>
            <a:custGeom>
              <a:avLst/>
              <a:gdLst>
                <a:gd name="T0" fmla="*/ 9 w 416"/>
                <a:gd name="T1" fmla="*/ 118 h 452"/>
                <a:gd name="T2" fmla="*/ 13 w 416"/>
                <a:gd name="T3" fmla="*/ 168 h 452"/>
                <a:gd name="T4" fmla="*/ 24 w 416"/>
                <a:gd name="T5" fmla="*/ 218 h 452"/>
                <a:gd name="T6" fmla="*/ 37 w 416"/>
                <a:gd name="T7" fmla="*/ 236 h 452"/>
                <a:gd name="T8" fmla="*/ 67 w 416"/>
                <a:gd name="T9" fmla="*/ 262 h 452"/>
                <a:gd name="T10" fmla="*/ 91 w 416"/>
                <a:gd name="T11" fmla="*/ 294 h 452"/>
                <a:gd name="T12" fmla="*/ 96 w 416"/>
                <a:gd name="T13" fmla="*/ 320 h 452"/>
                <a:gd name="T14" fmla="*/ 96 w 416"/>
                <a:gd name="T15" fmla="*/ 334 h 452"/>
                <a:gd name="T16" fmla="*/ 101 w 416"/>
                <a:gd name="T17" fmla="*/ 373 h 452"/>
                <a:gd name="T18" fmla="*/ 125 w 416"/>
                <a:gd name="T19" fmla="*/ 420 h 452"/>
                <a:gd name="T20" fmla="*/ 149 w 416"/>
                <a:gd name="T21" fmla="*/ 444 h 452"/>
                <a:gd name="T22" fmla="*/ 205 w 416"/>
                <a:gd name="T23" fmla="*/ 452 h 452"/>
                <a:gd name="T24" fmla="*/ 211 w 416"/>
                <a:gd name="T25" fmla="*/ 423 h 452"/>
                <a:gd name="T26" fmla="*/ 224 w 416"/>
                <a:gd name="T27" fmla="*/ 404 h 452"/>
                <a:gd name="T28" fmla="*/ 253 w 416"/>
                <a:gd name="T29" fmla="*/ 393 h 452"/>
                <a:gd name="T30" fmla="*/ 307 w 416"/>
                <a:gd name="T31" fmla="*/ 392 h 452"/>
                <a:gd name="T32" fmla="*/ 328 w 416"/>
                <a:gd name="T33" fmla="*/ 322 h 452"/>
                <a:gd name="T34" fmla="*/ 349 w 416"/>
                <a:gd name="T35" fmla="*/ 278 h 452"/>
                <a:gd name="T36" fmla="*/ 385 w 416"/>
                <a:gd name="T37" fmla="*/ 236 h 452"/>
                <a:gd name="T38" fmla="*/ 387 w 416"/>
                <a:gd name="T39" fmla="*/ 210 h 452"/>
                <a:gd name="T40" fmla="*/ 400 w 416"/>
                <a:gd name="T41" fmla="*/ 187 h 452"/>
                <a:gd name="T42" fmla="*/ 415 w 416"/>
                <a:gd name="T43" fmla="*/ 166 h 452"/>
                <a:gd name="T44" fmla="*/ 412 w 416"/>
                <a:gd name="T45" fmla="*/ 130 h 452"/>
                <a:gd name="T46" fmla="*/ 397 w 416"/>
                <a:gd name="T47" fmla="*/ 100 h 452"/>
                <a:gd name="T48" fmla="*/ 376 w 416"/>
                <a:gd name="T49" fmla="*/ 79 h 452"/>
                <a:gd name="T50" fmla="*/ 356 w 416"/>
                <a:gd name="T51" fmla="*/ 58 h 452"/>
                <a:gd name="T52" fmla="*/ 340 w 416"/>
                <a:gd name="T53" fmla="*/ 28 h 452"/>
                <a:gd name="T54" fmla="*/ 331 w 416"/>
                <a:gd name="T55" fmla="*/ 0 h 452"/>
                <a:gd name="T56" fmla="*/ 300 w 416"/>
                <a:gd name="T57" fmla="*/ 23 h 452"/>
                <a:gd name="T58" fmla="*/ 277 w 416"/>
                <a:gd name="T59" fmla="*/ 31 h 452"/>
                <a:gd name="T60" fmla="*/ 237 w 416"/>
                <a:gd name="T61" fmla="*/ 14 h 452"/>
                <a:gd name="T62" fmla="*/ 228 w 416"/>
                <a:gd name="T63" fmla="*/ 19 h 452"/>
                <a:gd name="T64" fmla="*/ 215 w 416"/>
                <a:gd name="T65" fmla="*/ 42 h 452"/>
                <a:gd name="T66" fmla="*/ 203 w 416"/>
                <a:gd name="T67" fmla="*/ 54 h 452"/>
                <a:gd name="T68" fmla="*/ 187 w 416"/>
                <a:gd name="T69" fmla="*/ 55 h 452"/>
                <a:gd name="T70" fmla="*/ 171 w 416"/>
                <a:gd name="T71" fmla="*/ 47 h 452"/>
                <a:gd name="T72" fmla="*/ 144 w 416"/>
                <a:gd name="T73" fmla="*/ 22 h 452"/>
                <a:gd name="T74" fmla="*/ 123 w 416"/>
                <a:gd name="T75" fmla="*/ 8 h 452"/>
                <a:gd name="T76" fmla="*/ 99 w 416"/>
                <a:gd name="T77" fmla="*/ 7 h 452"/>
                <a:gd name="T78" fmla="*/ 75 w 416"/>
                <a:gd name="T79" fmla="*/ 15 h 452"/>
                <a:gd name="T80" fmla="*/ 39 w 416"/>
                <a:gd name="T81" fmla="*/ 48 h 452"/>
                <a:gd name="T82" fmla="*/ 15 w 416"/>
                <a:gd name="T83" fmla="*/ 71 h 452"/>
                <a:gd name="T84" fmla="*/ 0 w 416"/>
                <a:gd name="T85" fmla="*/ 86 h 452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416"/>
                <a:gd name="T130" fmla="*/ 0 h 452"/>
                <a:gd name="T131" fmla="*/ 416 w 416"/>
                <a:gd name="T132" fmla="*/ 452 h 452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416" h="452">
                  <a:moveTo>
                    <a:pt x="0" y="86"/>
                  </a:moveTo>
                  <a:lnTo>
                    <a:pt x="5" y="102"/>
                  </a:lnTo>
                  <a:lnTo>
                    <a:pt x="9" y="118"/>
                  </a:lnTo>
                  <a:lnTo>
                    <a:pt x="11" y="135"/>
                  </a:lnTo>
                  <a:lnTo>
                    <a:pt x="12" y="151"/>
                  </a:lnTo>
                  <a:lnTo>
                    <a:pt x="13" y="168"/>
                  </a:lnTo>
                  <a:lnTo>
                    <a:pt x="15" y="186"/>
                  </a:lnTo>
                  <a:lnTo>
                    <a:pt x="19" y="202"/>
                  </a:lnTo>
                  <a:lnTo>
                    <a:pt x="24" y="218"/>
                  </a:lnTo>
                  <a:lnTo>
                    <a:pt x="28" y="224"/>
                  </a:lnTo>
                  <a:lnTo>
                    <a:pt x="32" y="230"/>
                  </a:lnTo>
                  <a:lnTo>
                    <a:pt x="37" y="236"/>
                  </a:lnTo>
                  <a:lnTo>
                    <a:pt x="43" y="242"/>
                  </a:lnTo>
                  <a:lnTo>
                    <a:pt x="55" y="252"/>
                  </a:lnTo>
                  <a:lnTo>
                    <a:pt x="67" y="262"/>
                  </a:lnTo>
                  <a:lnTo>
                    <a:pt x="79" y="274"/>
                  </a:lnTo>
                  <a:lnTo>
                    <a:pt x="88" y="286"/>
                  </a:lnTo>
                  <a:lnTo>
                    <a:pt x="91" y="294"/>
                  </a:lnTo>
                  <a:lnTo>
                    <a:pt x="93" y="302"/>
                  </a:lnTo>
                  <a:lnTo>
                    <a:pt x="96" y="311"/>
                  </a:lnTo>
                  <a:lnTo>
                    <a:pt x="96" y="320"/>
                  </a:lnTo>
                  <a:lnTo>
                    <a:pt x="96" y="331"/>
                  </a:lnTo>
                  <a:lnTo>
                    <a:pt x="96" y="332"/>
                  </a:lnTo>
                  <a:lnTo>
                    <a:pt x="96" y="334"/>
                  </a:lnTo>
                  <a:lnTo>
                    <a:pt x="96" y="344"/>
                  </a:lnTo>
                  <a:lnTo>
                    <a:pt x="97" y="359"/>
                  </a:lnTo>
                  <a:lnTo>
                    <a:pt x="101" y="373"/>
                  </a:lnTo>
                  <a:lnTo>
                    <a:pt x="108" y="389"/>
                  </a:lnTo>
                  <a:lnTo>
                    <a:pt x="116" y="405"/>
                  </a:lnTo>
                  <a:lnTo>
                    <a:pt x="125" y="420"/>
                  </a:lnTo>
                  <a:lnTo>
                    <a:pt x="137" y="433"/>
                  </a:lnTo>
                  <a:lnTo>
                    <a:pt x="143" y="439"/>
                  </a:lnTo>
                  <a:lnTo>
                    <a:pt x="149" y="444"/>
                  </a:lnTo>
                  <a:lnTo>
                    <a:pt x="156" y="448"/>
                  </a:lnTo>
                  <a:lnTo>
                    <a:pt x="163" y="452"/>
                  </a:lnTo>
                  <a:lnTo>
                    <a:pt x="205" y="452"/>
                  </a:lnTo>
                  <a:lnTo>
                    <a:pt x="205" y="441"/>
                  </a:lnTo>
                  <a:lnTo>
                    <a:pt x="207" y="431"/>
                  </a:lnTo>
                  <a:lnTo>
                    <a:pt x="211" y="423"/>
                  </a:lnTo>
                  <a:lnTo>
                    <a:pt x="213" y="415"/>
                  </a:lnTo>
                  <a:lnTo>
                    <a:pt x="219" y="409"/>
                  </a:lnTo>
                  <a:lnTo>
                    <a:pt x="224" y="404"/>
                  </a:lnTo>
                  <a:lnTo>
                    <a:pt x="231" y="400"/>
                  </a:lnTo>
                  <a:lnTo>
                    <a:pt x="237" y="397"/>
                  </a:lnTo>
                  <a:lnTo>
                    <a:pt x="253" y="393"/>
                  </a:lnTo>
                  <a:lnTo>
                    <a:pt x="271" y="392"/>
                  </a:lnTo>
                  <a:lnTo>
                    <a:pt x="289" y="392"/>
                  </a:lnTo>
                  <a:lnTo>
                    <a:pt x="307" y="392"/>
                  </a:lnTo>
                  <a:lnTo>
                    <a:pt x="315" y="364"/>
                  </a:lnTo>
                  <a:lnTo>
                    <a:pt x="321" y="342"/>
                  </a:lnTo>
                  <a:lnTo>
                    <a:pt x="328" y="322"/>
                  </a:lnTo>
                  <a:lnTo>
                    <a:pt x="335" y="306"/>
                  </a:lnTo>
                  <a:lnTo>
                    <a:pt x="345" y="284"/>
                  </a:lnTo>
                  <a:lnTo>
                    <a:pt x="349" y="278"/>
                  </a:lnTo>
                  <a:lnTo>
                    <a:pt x="385" y="218"/>
                  </a:lnTo>
                  <a:lnTo>
                    <a:pt x="385" y="231"/>
                  </a:lnTo>
                  <a:lnTo>
                    <a:pt x="385" y="236"/>
                  </a:lnTo>
                  <a:lnTo>
                    <a:pt x="385" y="231"/>
                  </a:lnTo>
                  <a:lnTo>
                    <a:pt x="385" y="218"/>
                  </a:lnTo>
                  <a:lnTo>
                    <a:pt x="387" y="210"/>
                  </a:lnTo>
                  <a:lnTo>
                    <a:pt x="391" y="202"/>
                  </a:lnTo>
                  <a:lnTo>
                    <a:pt x="395" y="195"/>
                  </a:lnTo>
                  <a:lnTo>
                    <a:pt x="400" y="187"/>
                  </a:lnTo>
                  <a:lnTo>
                    <a:pt x="407" y="180"/>
                  </a:lnTo>
                  <a:lnTo>
                    <a:pt x="411" y="174"/>
                  </a:lnTo>
                  <a:lnTo>
                    <a:pt x="415" y="166"/>
                  </a:lnTo>
                  <a:lnTo>
                    <a:pt x="416" y="158"/>
                  </a:lnTo>
                  <a:lnTo>
                    <a:pt x="415" y="143"/>
                  </a:lnTo>
                  <a:lnTo>
                    <a:pt x="412" y="130"/>
                  </a:lnTo>
                  <a:lnTo>
                    <a:pt x="408" y="119"/>
                  </a:lnTo>
                  <a:lnTo>
                    <a:pt x="403" y="110"/>
                  </a:lnTo>
                  <a:lnTo>
                    <a:pt x="397" y="100"/>
                  </a:lnTo>
                  <a:lnTo>
                    <a:pt x="391" y="94"/>
                  </a:lnTo>
                  <a:lnTo>
                    <a:pt x="384" y="86"/>
                  </a:lnTo>
                  <a:lnTo>
                    <a:pt x="376" y="79"/>
                  </a:lnTo>
                  <a:lnTo>
                    <a:pt x="369" y="72"/>
                  </a:lnTo>
                  <a:lnTo>
                    <a:pt x="363" y="66"/>
                  </a:lnTo>
                  <a:lnTo>
                    <a:pt x="356" y="58"/>
                  </a:lnTo>
                  <a:lnTo>
                    <a:pt x="349" y="50"/>
                  </a:lnTo>
                  <a:lnTo>
                    <a:pt x="344" y="39"/>
                  </a:lnTo>
                  <a:lnTo>
                    <a:pt x="340" y="28"/>
                  </a:lnTo>
                  <a:lnTo>
                    <a:pt x="339" y="15"/>
                  </a:lnTo>
                  <a:lnTo>
                    <a:pt x="337" y="0"/>
                  </a:lnTo>
                  <a:lnTo>
                    <a:pt x="331" y="0"/>
                  </a:lnTo>
                  <a:lnTo>
                    <a:pt x="323" y="8"/>
                  </a:lnTo>
                  <a:lnTo>
                    <a:pt x="308" y="18"/>
                  </a:lnTo>
                  <a:lnTo>
                    <a:pt x="300" y="23"/>
                  </a:lnTo>
                  <a:lnTo>
                    <a:pt x="292" y="27"/>
                  </a:lnTo>
                  <a:lnTo>
                    <a:pt x="284" y="30"/>
                  </a:lnTo>
                  <a:lnTo>
                    <a:pt x="277" y="31"/>
                  </a:lnTo>
                  <a:lnTo>
                    <a:pt x="259" y="22"/>
                  </a:lnTo>
                  <a:lnTo>
                    <a:pt x="241" y="12"/>
                  </a:lnTo>
                  <a:lnTo>
                    <a:pt x="237" y="14"/>
                  </a:lnTo>
                  <a:lnTo>
                    <a:pt x="233" y="15"/>
                  </a:lnTo>
                  <a:lnTo>
                    <a:pt x="231" y="16"/>
                  </a:lnTo>
                  <a:lnTo>
                    <a:pt x="228" y="19"/>
                  </a:lnTo>
                  <a:lnTo>
                    <a:pt x="223" y="26"/>
                  </a:lnTo>
                  <a:lnTo>
                    <a:pt x="219" y="34"/>
                  </a:lnTo>
                  <a:lnTo>
                    <a:pt x="215" y="42"/>
                  </a:lnTo>
                  <a:lnTo>
                    <a:pt x="209" y="48"/>
                  </a:lnTo>
                  <a:lnTo>
                    <a:pt x="207" y="51"/>
                  </a:lnTo>
                  <a:lnTo>
                    <a:pt x="203" y="54"/>
                  </a:lnTo>
                  <a:lnTo>
                    <a:pt x="197" y="55"/>
                  </a:lnTo>
                  <a:lnTo>
                    <a:pt x="192" y="55"/>
                  </a:lnTo>
                  <a:lnTo>
                    <a:pt x="187" y="55"/>
                  </a:lnTo>
                  <a:lnTo>
                    <a:pt x="180" y="52"/>
                  </a:lnTo>
                  <a:lnTo>
                    <a:pt x="175" y="51"/>
                  </a:lnTo>
                  <a:lnTo>
                    <a:pt x="171" y="47"/>
                  </a:lnTo>
                  <a:lnTo>
                    <a:pt x="161" y="40"/>
                  </a:lnTo>
                  <a:lnTo>
                    <a:pt x="153" y="31"/>
                  </a:lnTo>
                  <a:lnTo>
                    <a:pt x="144" y="22"/>
                  </a:lnTo>
                  <a:lnTo>
                    <a:pt x="135" y="15"/>
                  </a:lnTo>
                  <a:lnTo>
                    <a:pt x="128" y="11"/>
                  </a:lnTo>
                  <a:lnTo>
                    <a:pt x="123" y="8"/>
                  </a:lnTo>
                  <a:lnTo>
                    <a:pt x="116" y="7"/>
                  </a:lnTo>
                  <a:lnTo>
                    <a:pt x="108" y="7"/>
                  </a:lnTo>
                  <a:lnTo>
                    <a:pt x="99" y="7"/>
                  </a:lnTo>
                  <a:lnTo>
                    <a:pt x="89" y="10"/>
                  </a:lnTo>
                  <a:lnTo>
                    <a:pt x="81" y="12"/>
                  </a:lnTo>
                  <a:lnTo>
                    <a:pt x="75" y="15"/>
                  </a:lnTo>
                  <a:lnTo>
                    <a:pt x="61" y="24"/>
                  </a:lnTo>
                  <a:lnTo>
                    <a:pt x="49" y="36"/>
                  </a:lnTo>
                  <a:lnTo>
                    <a:pt x="39" y="48"/>
                  </a:lnTo>
                  <a:lnTo>
                    <a:pt x="27" y="60"/>
                  </a:lnTo>
                  <a:lnTo>
                    <a:pt x="21" y="66"/>
                  </a:lnTo>
                  <a:lnTo>
                    <a:pt x="15" y="71"/>
                  </a:lnTo>
                  <a:lnTo>
                    <a:pt x="8" y="75"/>
                  </a:lnTo>
                  <a:lnTo>
                    <a:pt x="0" y="79"/>
                  </a:lnTo>
                  <a:lnTo>
                    <a:pt x="0" y="86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accent1">
                  <a:lumMod val="20000"/>
                  <a:lumOff val="8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95" b="0" i="0" u="none" strike="noStrike" kern="1200" cap="none" spc="0" normalizeH="0" baseline="0" noProof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1" name="Freeform 90"/>
            <p:cNvSpPr>
              <a:spLocks/>
            </p:cNvSpPr>
            <p:nvPr/>
          </p:nvSpPr>
          <p:spPr bwMode="auto">
            <a:xfrm>
              <a:off x="4913150" y="2206615"/>
              <a:ext cx="245011" cy="139131"/>
            </a:xfrm>
            <a:custGeom>
              <a:avLst/>
              <a:gdLst>
                <a:gd name="T0" fmla="*/ 2060 w 3402"/>
                <a:gd name="T1" fmla="*/ 828 h 1931"/>
                <a:gd name="T2" fmla="*/ 2241 w 3402"/>
                <a:gd name="T3" fmla="*/ 932 h 1931"/>
                <a:gd name="T4" fmla="*/ 2988 w 3402"/>
                <a:gd name="T5" fmla="*/ 1268 h 1931"/>
                <a:gd name="T6" fmla="*/ 3324 w 3402"/>
                <a:gd name="T7" fmla="*/ 1068 h 1931"/>
                <a:gd name="T8" fmla="*/ 3344 w 3402"/>
                <a:gd name="T9" fmla="*/ 942 h 1931"/>
                <a:gd name="T10" fmla="*/ 3390 w 3402"/>
                <a:gd name="T11" fmla="*/ 792 h 1931"/>
                <a:gd name="T12" fmla="*/ 3088 w 3402"/>
                <a:gd name="T13" fmla="*/ 563 h 1931"/>
                <a:gd name="T14" fmla="*/ 3022 w 3402"/>
                <a:gd name="T15" fmla="*/ 695 h 1931"/>
                <a:gd name="T16" fmla="*/ 2917 w 3402"/>
                <a:gd name="T17" fmla="*/ 782 h 1931"/>
                <a:gd name="T18" fmla="*/ 2850 w 3402"/>
                <a:gd name="T19" fmla="*/ 891 h 1931"/>
                <a:gd name="T20" fmla="*/ 2840 w 3402"/>
                <a:gd name="T21" fmla="*/ 788 h 1931"/>
                <a:gd name="T22" fmla="*/ 2727 w 3402"/>
                <a:gd name="T23" fmla="*/ 714 h 1931"/>
                <a:gd name="T24" fmla="*/ 2460 w 3402"/>
                <a:gd name="T25" fmla="*/ 690 h 1931"/>
                <a:gd name="T26" fmla="*/ 2320 w 3402"/>
                <a:gd name="T27" fmla="*/ 610 h 1931"/>
                <a:gd name="T28" fmla="*/ 2473 w 3402"/>
                <a:gd name="T29" fmla="*/ 506 h 1931"/>
                <a:gd name="T30" fmla="*/ 2331 w 3402"/>
                <a:gd name="T31" fmla="*/ 473 h 1931"/>
                <a:gd name="T32" fmla="*/ 2139 w 3402"/>
                <a:gd name="T33" fmla="*/ 481 h 1931"/>
                <a:gd name="T34" fmla="*/ 1791 w 3402"/>
                <a:gd name="T35" fmla="*/ 487 h 1931"/>
                <a:gd name="T36" fmla="*/ 1559 w 3402"/>
                <a:gd name="T37" fmla="*/ 533 h 1931"/>
                <a:gd name="T38" fmla="*/ 1604 w 3402"/>
                <a:gd name="T39" fmla="*/ 318 h 1931"/>
                <a:gd name="T40" fmla="*/ 1776 w 3402"/>
                <a:gd name="T41" fmla="*/ 325 h 1931"/>
                <a:gd name="T42" fmla="*/ 1708 w 3402"/>
                <a:gd name="T43" fmla="*/ 94 h 1931"/>
                <a:gd name="T44" fmla="*/ 1607 w 3402"/>
                <a:gd name="T45" fmla="*/ 141 h 1931"/>
                <a:gd name="T46" fmla="*/ 1422 w 3402"/>
                <a:gd name="T47" fmla="*/ 313 h 1931"/>
                <a:gd name="T48" fmla="*/ 1432 w 3402"/>
                <a:gd name="T49" fmla="*/ 443 h 1931"/>
                <a:gd name="T50" fmla="*/ 1287 w 3402"/>
                <a:gd name="T51" fmla="*/ 546 h 1931"/>
                <a:gd name="T52" fmla="*/ 1245 w 3402"/>
                <a:gd name="T53" fmla="*/ 485 h 1931"/>
                <a:gd name="T54" fmla="*/ 1149 w 3402"/>
                <a:gd name="T55" fmla="*/ 375 h 1931"/>
                <a:gd name="T56" fmla="*/ 859 w 3402"/>
                <a:gd name="T57" fmla="*/ 367 h 1931"/>
                <a:gd name="T58" fmla="*/ 782 w 3402"/>
                <a:gd name="T59" fmla="*/ 601 h 1931"/>
                <a:gd name="T60" fmla="*/ 631 w 3402"/>
                <a:gd name="T61" fmla="*/ 342 h 1931"/>
                <a:gd name="T62" fmla="*/ 521 w 3402"/>
                <a:gd name="T63" fmla="*/ 265 h 1931"/>
                <a:gd name="T64" fmla="*/ 522 w 3402"/>
                <a:gd name="T65" fmla="*/ 458 h 1931"/>
                <a:gd name="T66" fmla="*/ 434 w 3402"/>
                <a:gd name="T67" fmla="*/ 542 h 1931"/>
                <a:gd name="T68" fmla="*/ 330 w 3402"/>
                <a:gd name="T69" fmla="*/ 486 h 1931"/>
                <a:gd name="T70" fmla="*/ 192 w 3402"/>
                <a:gd name="T71" fmla="*/ 614 h 1931"/>
                <a:gd name="T72" fmla="*/ 204 w 3402"/>
                <a:gd name="T73" fmla="*/ 757 h 1931"/>
                <a:gd name="T74" fmla="*/ 133 w 3402"/>
                <a:gd name="T75" fmla="*/ 898 h 1931"/>
                <a:gd name="T76" fmla="*/ 9 w 3402"/>
                <a:gd name="T77" fmla="*/ 1222 h 1931"/>
                <a:gd name="T78" fmla="*/ 106 w 3402"/>
                <a:gd name="T79" fmla="*/ 1346 h 1931"/>
                <a:gd name="T80" fmla="*/ 200 w 3402"/>
                <a:gd name="T81" fmla="*/ 1415 h 1931"/>
                <a:gd name="T82" fmla="*/ 342 w 3402"/>
                <a:gd name="T83" fmla="*/ 1483 h 1931"/>
                <a:gd name="T84" fmla="*/ 558 w 3402"/>
                <a:gd name="T85" fmla="*/ 1608 h 1931"/>
                <a:gd name="T86" fmla="*/ 669 w 3402"/>
                <a:gd name="T87" fmla="*/ 1653 h 1931"/>
                <a:gd name="T88" fmla="*/ 719 w 3402"/>
                <a:gd name="T89" fmla="*/ 1709 h 1931"/>
                <a:gd name="T90" fmla="*/ 807 w 3402"/>
                <a:gd name="T91" fmla="*/ 1813 h 1931"/>
                <a:gd name="T92" fmla="*/ 907 w 3402"/>
                <a:gd name="T93" fmla="*/ 1880 h 1931"/>
                <a:gd name="T94" fmla="*/ 995 w 3402"/>
                <a:gd name="T95" fmla="*/ 1893 h 1931"/>
                <a:gd name="T96" fmla="*/ 1114 w 3402"/>
                <a:gd name="T97" fmla="*/ 1801 h 1931"/>
                <a:gd name="T98" fmla="*/ 1255 w 3402"/>
                <a:gd name="T99" fmla="*/ 1652 h 1931"/>
                <a:gd name="T100" fmla="*/ 1211 w 3402"/>
                <a:gd name="T101" fmla="*/ 1545 h 1931"/>
                <a:gd name="T102" fmla="*/ 1082 w 3402"/>
                <a:gd name="T103" fmla="*/ 1600 h 1931"/>
                <a:gd name="T104" fmla="*/ 1081 w 3402"/>
                <a:gd name="T105" fmla="*/ 1437 h 1931"/>
                <a:gd name="T106" fmla="*/ 1155 w 3402"/>
                <a:gd name="T107" fmla="*/ 1361 h 1931"/>
                <a:gd name="T108" fmla="*/ 1167 w 3402"/>
                <a:gd name="T109" fmla="*/ 1158 h 1931"/>
                <a:gd name="T110" fmla="*/ 1221 w 3402"/>
                <a:gd name="T111" fmla="*/ 1076 h 1931"/>
                <a:gd name="T112" fmla="*/ 1440 w 3402"/>
                <a:gd name="T113" fmla="*/ 1202 h 1931"/>
                <a:gd name="T114" fmla="*/ 1536 w 3402"/>
                <a:gd name="T115" fmla="*/ 1216 h 1931"/>
                <a:gd name="T116" fmla="*/ 1639 w 3402"/>
                <a:gd name="T117" fmla="*/ 1258 h 1931"/>
                <a:gd name="T118" fmla="*/ 1602 w 3402"/>
                <a:gd name="T119" fmla="*/ 1063 h 1931"/>
                <a:gd name="T120" fmla="*/ 1688 w 3402"/>
                <a:gd name="T121" fmla="*/ 886 h 1931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402"/>
                <a:gd name="T184" fmla="*/ 0 h 1931"/>
                <a:gd name="T185" fmla="*/ 3402 w 3402"/>
                <a:gd name="T186" fmla="*/ 1931 h 1931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402" h="1931">
                  <a:moveTo>
                    <a:pt x="1704" y="846"/>
                  </a:moveTo>
                  <a:lnTo>
                    <a:pt x="1714" y="850"/>
                  </a:lnTo>
                  <a:lnTo>
                    <a:pt x="1722" y="854"/>
                  </a:lnTo>
                  <a:lnTo>
                    <a:pt x="1731" y="855"/>
                  </a:lnTo>
                  <a:lnTo>
                    <a:pt x="1740" y="856"/>
                  </a:lnTo>
                  <a:lnTo>
                    <a:pt x="1760" y="858"/>
                  </a:lnTo>
                  <a:lnTo>
                    <a:pt x="1783" y="858"/>
                  </a:lnTo>
                  <a:lnTo>
                    <a:pt x="1824" y="858"/>
                  </a:lnTo>
                  <a:lnTo>
                    <a:pt x="1864" y="858"/>
                  </a:lnTo>
                  <a:lnTo>
                    <a:pt x="1902" y="856"/>
                  </a:lnTo>
                  <a:lnTo>
                    <a:pt x="1939" y="854"/>
                  </a:lnTo>
                  <a:lnTo>
                    <a:pt x="1975" y="850"/>
                  </a:lnTo>
                  <a:lnTo>
                    <a:pt x="2010" y="843"/>
                  </a:lnTo>
                  <a:lnTo>
                    <a:pt x="2027" y="839"/>
                  </a:lnTo>
                  <a:lnTo>
                    <a:pt x="2043" y="834"/>
                  </a:lnTo>
                  <a:lnTo>
                    <a:pt x="2060" y="828"/>
                  </a:lnTo>
                  <a:lnTo>
                    <a:pt x="2077" y="822"/>
                  </a:lnTo>
                  <a:lnTo>
                    <a:pt x="2085" y="820"/>
                  </a:lnTo>
                  <a:lnTo>
                    <a:pt x="2092" y="818"/>
                  </a:lnTo>
                  <a:lnTo>
                    <a:pt x="2100" y="818"/>
                  </a:lnTo>
                  <a:lnTo>
                    <a:pt x="2107" y="818"/>
                  </a:lnTo>
                  <a:lnTo>
                    <a:pt x="2113" y="819"/>
                  </a:lnTo>
                  <a:lnTo>
                    <a:pt x="2121" y="820"/>
                  </a:lnTo>
                  <a:lnTo>
                    <a:pt x="2127" y="823"/>
                  </a:lnTo>
                  <a:lnTo>
                    <a:pt x="2133" y="826"/>
                  </a:lnTo>
                  <a:lnTo>
                    <a:pt x="2147" y="832"/>
                  </a:lnTo>
                  <a:lnTo>
                    <a:pt x="2159" y="842"/>
                  </a:lnTo>
                  <a:lnTo>
                    <a:pt x="2171" y="852"/>
                  </a:lnTo>
                  <a:lnTo>
                    <a:pt x="2181" y="864"/>
                  </a:lnTo>
                  <a:lnTo>
                    <a:pt x="2205" y="892"/>
                  </a:lnTo>
                  <a:lnTo>
                    <a:pt x="2229" y="919"/>
                  </a:lnTo>
                  <a:lnTo>
                    <a:pt x="2241" y="932"/>
                  </a:lnTo>
                  <a:lnTo>
                    <a:pt x="2255" y="946"/>
                  </a:lnTo>
                  <a:lnTo>
                    <a:pt x="2268" y="956"/>
                  </a:lnTo>
                  <a:lnTo>
                    <a:pt x="2283" y="967"/>
                  </a:lnTo>
                  <a:lnTo>
                    <a:pt x="2351" y="1006"/>
                  </a:lnTo>
                  <a:lnTo>
                    <a:pt x="2437" y="1051"/>
                  </a:lnTo>
                  <a:lnTo>
                    <a:pt x="2535" y="1100"/>
                  </a:lnTo>
                  <a:lnTo>
                    <a:pt x="2635" y="1150"/>
                  </a:lnTo>
                  <a:lnTo>
                    <a:pt x="2729" y="1195"/>
                  </a:lnTo>
                  <a:lnTo>
                    <a:pt x="2812" y="1234"/>
                  </a:lnTo>
                  <a:lnTo>
                    <a:pt x="2872" y="1260"/>
                  </a:lnTo>
                  <a:lnTo>
                    <a:pt x="2902" y="1274"/>
                  </a:lnTo>
                  <a:lnTo>
                    <a:pt x="2921" y="1275"/>
                  </a:lnTo>
                  <a:lnTo>
                    <a:pt x="2938" y="1275"/>
                  </a:lnTo>
                  <a:lnTo>
                    <a:pt x="2954" y="1274"/>
                  </a:lnTo>
                  <a:lnTo>
                    <a:pt x="2972" y="1272"/>
                  </a:lnTo>
                  <a:lnTo>
                    <a:pt x="2988" y="1268"/>
                  </a:lnTo>
                  <a:lnTo>
                    <a:pt x="3002" y="1263"/>
                  </a:lnTo>
                  <a:lnTo>
                    <a:pt x="3017" y="1258"/>
                  </a:lnTo>
                  <a:lnTo>
                    <a:pt x="3032" y="1251"/>
                  </a:lnTo>
                  <a:lnTo>
                    <a:pt x="3060" y="1235"/>
                  </a:lnTo>
                  <a:lnTo>
                    <a:pt x="3086" y="1218"/>
                  </a:lnTo>
                  <a:lnTo>
                    <a:pt x="3112" y="1198"/>
                  </a:lnTo>
                  <a:lnTo>
                    <a:pt x="3138" y="1178"/>
                  </a:lnTo>
                  <a:lnTo>
                    <a:pt x="3164" y="1156"/>
                  </a:lnTo>
                  <a:lnTo>
                    <a:pt x="3190" y="1136"/>
                  </a:lnTo>
                  <a:lnTo>
                    <a:pt x="3217" y="1116"/>
                  </a:lnTo>
                  <a:lnTo>
                    <a:pt x="3245" y="1099"/>
                  </a:lnTo>
                  <a:lnTo>
                    <a:pt x="3260" y="1091"/>
                  </a:lnTo>
                  <a:lnTo>
                    <a:pt x="3276" y="1084"/>
                  </a:lnTo>
                  <a:lnTo>
                    <a:pt x="3290" y="1079"/>
                  </a:lnTo>
                  <a:lnTo>
                    <a:pt x="3306" y="1074"/>
                  </a:lnTo>
                  <a:lnTo>
                    <a:pt x="3324" y="1068"/>
                  </a:lnTo>
                  <a:lnTo>
                    <a:pt x="3341" y="1066"/>
                  </a:lnTo>
                  <a:lnTo>
                    <a:pt x="3360" y="1064"/>
                  </a:lnTo>
                  <a:lnTo>
                    <a:pt x="3378" y="1063"/>
                  </a:lnTo>
                  <a:lnTo>
                    <a:pt x="3372" y="1075"/>
                  </a:lnTo>
                  <a:lnTo>
                    <a:pt x="3377" y="1066"/>
                  </a:lnTo>
                  <a:lnTo>
                    <a:pt x="3380" y="1056"/>
                  </a:lnTo>
                  <a:lnTo>
                    <a:pt x="3384" y="1046"/>
                  </a:lnTo>
                  <a:lnTo>
                    <a:pt x="3384" y="1032"/>
                  </a:lnTo>
                  <a:lnTo>
                    <a:pt x="3384" y="1023"/>
                  </a:lnTo>
                  <a:lnTo>
                    <a:pt x="3382" y="1014"/>
                  </a:lnTo>
                  <a:lnTo>
                    <a:pt x="3380" y="1006"/>
                  </a:lnTo>
                  <a:lnTo>
                    <a:pt x="3377" y="998"/>
                  </a:lnTo>
                  <a:lnTo>
                    <a:pt x="3369" y="982"/>
                  </a:lnTo>
                  <a:lnTo>
                    <a:pt x="3360" y="968"/>
                  </a:lnTo>
                  <a:lnTo>
                    <a:pt x="3352" y="955"/>
                  </a:lnTo>
                  <a:lnTo>
                    <a:pt x="3344" y="942"/>
                  </a:lnTo>
                  <a:lnTo>
                    <a:pt x="3341" y="935"/>
                  </a:lnTo>
                  <a:lnTo>
                    <a:pt x="3338" y="927"/>
                  </a:lnTo>
                  <a:lnTo>
                    <a:pt x="3337" y="920"/>
                  </a:lnTo>
                  <a:lnTo>
                    <a:pt x="3336" y="912"/>
                  </a:lnTo>
                  <a:lnTo>
                    <a:pt x="3337" y="904"/>
                  </a:lnTo>
                  <a:lnTo>
                    <a:pt x="3338" y="898"/>
                  </a:lnTo>
                  <a:lnTo>
                    <a:pt x="3341" y="891"/>
                  </a:lnTo>
                  <a:lnTo>
                    <a:pt x="3344" y="884"/>
                  </a:lnTo>
                  <a:lnTo>
                    <a:pt x="3352" y="872"/>
                  </a:lnTo>
                  <a:lnTo>
                    <a:pt x="3362" y="862"/>
                  </a:lnTo>
                  <a:lnTo>
                    <a:pt x="3373" y="851"/>
                  </a:lnTo>
                  <a:lnTo>
                    <a:pt x="3384" y="840"/>
                  </a:lnTo>
                  <a:lnTo>
                    <a:pt x="3394" y="828"/>
                  </a:lnTo>
                  <a:lnTo>
                    <a:pt x="3402" y="816"/>
                  </a:lnTo>
                  <a:lnTo>
                    <a:pt x="3397" y="806"/>
                  </a:lnTo>
                  <a:lnTo>
                    <a:pt x="3390" y="792"/>
                  </a:lnTo>
                  <a:lnTo>
                    <a:pt x="3384" y="779"/>
                  </a:lnTo>
                  <a:lnTo>
                    <a:pt x="3378" y="769"/>
                  </a:lnTo>
                  <a:lnTo>
                    <a:pt x="3366" y="753"/>
                  </a:lnTo>
                  <a:lnTo>
                    <a:pt x="3353" y="739"/>
                  </a:lnTo>
                  <a:lnTo>
                    <a:pt x="3338" y="726"/>
                  </a:lnTo>
                  <a:lnTo>
                    <a:pt x="3322" y="713"/>
                  </a:lnTo>
                  <a:lnTo>
                    <a:pt x="3286" y="690"/>
                  </a:lnTo>
                  <a:lnTo>
                    <a:pt x="3248" y="669"/>
                  </a:lnTo>
                  <a:lnTo>
                    <a:pt x="3208" y="646"/>
                  </a:lnTo>
                  <a:lnTo>
                    <a:pt x="3170" y="622"/>
                  </a:lnTo>
                  <a:lnTo>
                    <a:pt x="3152" y="609"/>
                  </a:lnTo>
                  <a:lnTo>
                    <a:pt x="3136" y="594"/>
                  </a:lnTo>
                  <a:lnTo>
                    <a:pt x="3121" y="579"/>
                  </a:lnTo>
                  <a:lnTo>
                    <a:pt x="3106" y="563"/>
                  </a:lnTo>
                  <a:lnTo>
                    <a:pt x="3102" y="563"/>
                  </a:lnTo>
                  <a:lnTo>
                    <a:pt x="3088" y="563"/>
                  </a:lnTo>
                  <a:lnTo>
                    <a:pt x="3077" y="565"/>
                  </a:lnTo>
                  <a:lnTo>
                    <a:pt x="3064" y="569"/>
                  </a:lnTo>
                  <a:lnTo>
                    <a:pt x="3048" y="574"/>
                  </a:lnTo>
                  <a:lnTo>
                    <a:pt x="3029" y="582"/>
                  </a:lnTo>
                  <a:lnTo>
                    <a:pt x="3022" y="585"/>
                  </a:lnTo>
                  <a:lnTo>
                    <a:pt x="3018" y="590"/>
                  </a:lnTo>
                  <a:lnTo>
                    <a:pt x="3016" y="595"/>
                  </a:lnTo>
                  <a:lnTo>
                    <a:pt x="3016" y="602"/>
                  </a:lnTo>
                  <a:lnTo>
                    <a:pt x="3016" y="617"/>
                  </a:lnTo>
                  <a:lnTo>
                    <a:pt x="3018" y="631"/>
                  </a:lnTo>
                  <a:lnTo>
                    <a:pt x="3022" y="649"/>
                  </a:lnTo>
                  <a:lnTo>
                    <a:pt x="3026" y="665"/>
                  </a:lnTo>
                  <a:lnTo>
                    <a:pt x="3026" y="674"/>
                  </a:lnTo>
                  <a:lnTo>
                    <a:pt x="3026" y="682"/>
                  </a:lnTo>
                  <a:lnTo>
                    <a:pt x="3025" y="689"/>
                  </a:lnTo>
                  <a:lnTo>
                    <a:pt x="3022" y="695"/>
                  </a:lnTo>
                  <a:lnTo>
                    <a:pt x="3028" y="729"/>
                  </a:lnTo>
                  <a:lnTo>
                    <a:pt x="3029" y="754"/>
                  </a:lnTo>
                  <a:lnTo>
                    <a:pt x="3029" y="763"/>
                  </a:lnTo>
                  <a:lnTo>
                    <a:pt x="3028" y="772"/>
                  </a:lnTo>
                  <a:lnTo>
                    <a:pt x="3026" y="779"/>
                  </a:lnTo>
                  <a:lnTo>
                    <a:pt x="3024" y="786"/>
                  </a:lnTo>
                  <a:lnTo>
                    <a:pt x="3020" y="790"/>
                  </a:lnTo>
                  <a:lnTo>
                    <a:pt x="3017" y="794"/>
                  </a:lnTo>
                  <a:lnTo>
                    <a:pt x="3013" y="796"/>
                  </a:lnTo>
                  <a:lnTo>
                    <a:pt x="3009" y="798"/>
                  </a:lnTo>
                  <a:lnTo>
                    <a:pt x="2998" y="799"/>
                  </a:lnTo>
                  <a:lnTo>
                    <a:pt x="2988" y="798"/>
                  </a:lnTo>
                  <a:lnTo>
                    <a:pt x="2964" y="791"/>
                  </a:lnTo>
                  <a:lnTo>
                    <a:pt x="2938" y="783"/>
                  </a:lnTo>
                  <a:lnTo>
                    <a:pt x="2928" y="782"/>
                  </a:lnTo>
                  <a:lnTo>
                    <a:pt x="2917" y="782"/>
                  </a:lnTo>
                  <a:lnTo>
                    <a:pt x="2913" y="783"/>
                  </a:lnTo>
                  <a:lnTo>
                    <a:pt x="2909" y="786"/>
                  </a:lnTo>
                  <a:lnTo>
                    <a:pt x="2905" y="788"/>
                  </a:lnTo>
                  <a:lnTo>
                    <a:pt x="2902" y="792"/>
                  </a:lnTo>
                  <a:lnTo>
                    <a:pt x="2904" y="800"/>
                  </a:lnTo>
                  <a:lnTo>
                    <a:pt x="2905" y="807"/>
                  </a:lnTo>
                  <a:lnTo>
                    <a:pt x="2905" y="815"/>
                  </a:lnTo>
                  <a:lnTo>
                    <a:pt x="2905" y="823"/>
                  </a:lnTo>
                  <a:lnTo>
                    <a:pt x="2902" y="836"/>
                  </a:lnTo>
                  <a:lnTo>
                    <a:pt x="2898" y="850"/>
                  </a:lnTo>
                  <a:lnTo>
                    <a:pt x="2892" y="862"/>
                  </a:lnTo>
                  <a:lnTo>
                    <a:pt x="2885" y="872"/>
                  </a:lnTo>
                  <a:lnTo>
                    <a:pt x="2877" y="880"/>
                  </a:lnTo>
                  <a:lnTo>
                    <a:pt x="2868" y="886"/>
                  </a:lnTo>
                  <a:lnTo>
                    <a:pt x="2858" y="890"/>
                  </a:lnTo>
                  <a:lnTo>
                    <a:pt x="2850" y="891"/>
                  </a:lnTo>
                  <a:lnTo>
                    <a:pt x="2845" y="890"/>
                  </a:lnTo>
                  <a:lnTo>
                    <a:pt x="2841" y="888"/>
                  </a:lnTo>
                  <a:lnTo>
                    <a:pt x="2838" y="886"/>
                  </a:lnTo>
                  <a:lnTo>
                    <a:pt x="2834" y="883"/>
                  </a:lnTo>
                  <a:lnTo>
                    <a:pt x="2832" y="879"/>
                  </a:lnTo>
                  <a:lnTo>
                    <a:pt x="2829" y="874"/>
                  </a:lnTo>
                  <a:lnTo>
                    <a:pt x="2826" y="867"/>
                  </a:lnTo>
                  <a:lnTo>
                    <a:pt x="2825" y="860"/>
                  </a:lnTo>
                  <a:lnTo>
                    <a:pt x="2824" y="852"/>
                  </a:lnTo>
                  <a:lnTo>
                    <a:pt x="2824" y="843"/>
                  </a:lnTo>
                  <a:lnTo>
                    <a:pt x="2824" y="834"/>
                  </a:lnTo>
                  <a:lnTo>
                    <a:pt x="2824" y="822"/>
                  </a:lnTo>
                  <a:lnTo>
                    <a:pt x="2825" y="811"/>
                  </a:lnTo>
                  <a:lnTo>
                    <a:pt x="2829" y="803"/>
                  </a:lnTo>
                  <a:lnTo>
                    <a:pt x="2833" y="795"/>
                  </a:lnTo>
                  <a:lnTo>
                    <a:pt x="2840" y="788"/>
                  </a:lnTo>
                  <a:lnTo>
                    <a:pt x="2856" y="775"/>
                  </a:lnTo>
                  <a:lnTo>
                    <a:pt x="2872" y="765"/>
                  </a:lnTo>
                  <a:lnTo>
                    <a:pt x="2878" y="758"/>
                  </a:lnTo>
                  <a:lnTo>
                    <a:pt x="2885" y="751"/>
                  </a:lnTo>
                  <a:lnTo>
                    <a:pt x="2889" y="743"/>
                  </a:lnTo>
                  <a:lnTo>
                    <a:pt x="2893" y="735"/>
                  </a:lnTo>
                  <a:lnTo>
                    <a:pt x="2893" y="725"/>
                  </a:lnTo>
                  <a:lnTo>
                    <a:pt x="2892" y="713"/>
                  </a:lnTo>
                  <a:lnTo>
                    <a:pt x="2886" y="699"/>
                  </a:lnTo>
                  <a:lnTo>
                    <a:pt x="2878" y="683"/>
                  </a:lnTo>
                  <a:lnTo>
                    <a:pt x="2846" y="693"/>
                  </a:lnTo>
                  <a:lnTo>
                    <a:pt x="2817" y="699"/>
                  </a:lnTo>
                  <a:lnTo>
                    <a:pt x="2791" y="705"/>
                  </a:lnTo>
                  <a:lnTo>
                    <a:pt x="2768" y="710"/>
                  </a:lnTo>
                  <a:lnTo>
                    <a:pt x="2745" y="713"/>
                  </a:lnTo>
                  <a:lnTo>
                    <a:pt x="2727" y="714"/>
                  </a:lnTo>
                  <a:lnTo>
                    <a:pt x="2708" y="714"/>
                  </a:lnTo>
                  <a:lnTo>
                    <a:pt x="2691" y="711"/>
                  </a:lnTo>
                  <a:lnTo>
                    <a:pt x="2675" y="709"/>
                  </a:lnTo>
                  <a:lnTo>
                    <a:pt x="2659" y="703"/>
                  </a:lnTo>
                  <a:lnTo>
                    <a:pt x="2643" y="697"/>
                  </a:lnTo>
                  <a:lnTo>
                    <a:pt x="2627" y="689"/>
                  </a:lnTo>
                  <a:lnTo>
                    <a:pt x="2611" y="678"/>
                  </a:lnTo>
                  <a:lnTo>
                    <a:pt x="2592" y="666"/>
                  </a:lnTo>
                  <a:lnTo>
                    <a:pt x="2573" y="651"/>
                  </a:lnTo>
                  <a:lnTo>
                    <a:pt x="2553" y="635"/>
                  </a:lnTo>
                  <a:lnTo>
                    <a:pt x="2531" y="653"/>
                  </a:lnTo>
                  <a:lnTo>
                    <a:pt x="2511" y="666"/>
                  </a:lnTo>
                  <a:lnTo>
                    <a:pt x="2495" y="677"/>
                  </a:lnTo>
                  <a:lnTo>
                    <a:pt x="2480" y="683"/>
                  </a:lnTo>
                  <a:lnTo>
                    <a:pt x="2469" y="687"/>
                  </a:lnTo>
                  <a:lnTo>
                    <a:pt x="2460" y="690"/>
                  </a:lnTo>
                  <a:lnTo>
                    <a:pt x="2453" y="690"/>
                  </a:lnTo>
                  <a:lnTo>
                    <a:pt x="2448" y="687"/>
                  </a:lnTo>
                  <a:lnTo>
                    <a:pt x="2443" y="685"/>
                  </a:lnTo>
                  <a:lnTo>
                    <a:pt x="2439" y="681"/>
                  </a:lnTo>
                  <a:lnTo>
                    <a:pt x="2436" y="675"/>
                  </a:lnTo>
                  <a:lnTo>
                    <a:pt x="2433" y="670"/>
                  </a:lnTo>
                  <a:lnTo>
                    <a:pt x="2429" y="665"/>
                  </a:lnTo>
                  <a:lnTo>
                    <a:pt x="2425" y="661"/>
                  </a:lnTo>
                  <a:lnTo>
                    <a:pt x="2420" y="657"/>
                  </a:lnTo>
                  <a:lnTo>
                    <a:pt x="2415" y="654"/>
                  </a:lnTo>
                  <a:lnTo>
                    <a:pt x="2381" y="642"/>
                  </a:lnTo>
                  <a:lnTo>
                    <a:pt x="2353" y="631"/>
                  </a:lnTo>
                  <a:lnTo>
                    <a:pt x="2341" y="626"/>
                  </a:lnTo>
                  <a:lnTo>
                    <a:pt x="2332" y="621"/>
                  </a:lnTo>
                  <a:lnTo>
                    <a:pt x="2325" y="615"/>
                  </a:lnTo>
                  <a:lnTo>
                    <a:pt x="2320" y="610"/>
                  </a:lnTo>
                  <a:lnTo>
                    <a:pt x="2319" y="605"/>
                  </a:lnTo>
                  <a:lnTo>
                    <a:pt x="2319" y="601"/>
                  </a:lnTo>
                  <a:lnTo>
                    <a:pt x="2321" y="595"/>
                  </a:lnTo>
                  <a:lnTo>
                    <a:pt x="2327" y="591"/>
                  </a:lnTo>
                  <a:lnTo>
                    <a:pt x="2336" y="587"/>
                  </a:lnTo>
                  <a:lnTo>
                    <a:pt x="2349" y="583"/>
                  </a:lnTo>
                  <a:lnTo>
                    <a:pt x="2365" y="579"/>
                  </a:lnTo>
                  <a:lnTo>
                    <a:pt x="2384" y="575"/>
                  </a:lnTo>
                  <a:lnTo>
                    <a:pt x="2384" y="570"/>
                  </a:lnTo>
                  <a:lnTo>
                    <a:pt x="2385" y="563"/>
                  </a:lnTo>
                  <a:lnTo>
                    <a:pt x="2387" y="558"/>
                  </a:lnTo>
                  <a:lnTo>
                    <a:pt x="2391" y="553"/>
                  </a:lnTo>
                  <a:lnTo>
                    <a:pt x="2400" y="543"/>
                  </a:lnTo>
                  <a:lnTo>
                    <a:pt x="2413" y="534"/>
                  </a:lnTo>
                  <a:lnTo>
                    <a:pt x="2443" y="518"/>
                  </a:lnTo>
                  <a:lnTo>
                    <a:pt x="2473" y="506"/>
                  </a:lnTo>
                  <a:lnTo>
                    <a:pt x="2485" y="501"/>
                  </a:lnTo>
                  <a:lnTo>
                    <a:pt x="2495" y="495"/>
                  </a:lnTo>
                  <a:lnTo>
                    <a:pt x="2497" y="494"/>
                  </a:lnTo>
                  <a:lnTo>
                    <a:pt x="2500" y="491"/>
                  </a:lnTo>
                  <a:lnTo>
                    <a:pt x="2500" y="489"/>
                  </a:lnTo>
                  <a:lnTo>
                    <a:pt x="2500" y="487"/>
                  </a:lnTo>
                  <a:lnTo>
                    <a:pt x="2497" y="486"/>
                  </a:lnTo>
                  <a:lnTo>
                    <a:pt x="2493" y="483"/>
                  </a:lnTo>
                  <a:lnTo>
                    <a:pt x="2488" y="482"/>
                  </a:lnTo>
                  <a:lnTo>
                    <a:pt x="2480" y="479"/>
                  </a:lnTo>
                  <a:lnTo>
                    <a:pt x="2457" y="477"/>
                  </a:lnTo>
                  <a:lnTo>
                    <a:pt x="2427" y="473"/>
                  </a:lnTo>
                  <a:lnTo>
                    <a:pt x="2400" y="473"/>
                  </a:lnTo>
                  <a:lnTo>
                    <a:pt x="2376" y="473"/>
                  </a:lnTo>
                  <a:lnTo>
                    <a:pt x="2353" y="473"/>
                  </a:lnTo>
                  <a:lnTo>
                    <a:pt x="2331" y="473"/>
                  </a:lnTo>
                  <a:lnTo>
                    <a:pt x="2320" y="495"/>
                  </a:lnTo>
                  <a:lnTo>
                    <a:pt x="2309" y="515"/>
                  </a:lnTo>
                  <a:lnTo>
                    <a:pt x="2303" y="523"/>
                  </a:lnTo>
                  <a:lnTo>
                    <a:pt x="2297" y="531"/>
                  </a:lnTo>
                  <a:lnTo>
                    <a:pt x="2291" y="537"/>
                  </a:lnTo>
                  <a:lnTo>
                    <a:pt x="2284" y="541"/>
                  </a:lnTo>
                  <a:lnTo>
                    <a:pt x="2277" y="542"/>
                  </a:lnTo>
                  <a:lnTo>
                    <a:pt x="2269" y="542"/>
                  </a:lnTo>
                  <a:lnTo>
                    <a:pt x="2263" y="538"/>
                  </a:lnTo>
                  <a:lnTo>
                    <a:pt x="2256" y="533"/>
                  </a:lnTo>
                  <a:lnTo>
                    <a:pt x="2248" y="523"/>
                  </a:lnTo>
                  <a:lnTo>
                    <a:pt x="2241" y="510"/>
                  </a:lnTo>
                  <a:lnTo>
                    <a:pt x="2235" y="494"/>
                  </a:lnTo>
                  <a:lnTo>
                    <a:pt x="2228" y="473"/>
                  </a:lnTo>
                  <a:lnTo>
                    <a:pt x="2191" y="478"/>
                  </a:lnTo>
                  <a:lnTo>
                    <a:pt x="2139" y="481"/>
                  </a:lnTo>
                  <a:lnTo>
                    <a:pt x="2085" y="485"/>
                  </a:lnTo>
                  <a:lnTo>
                    <a:pt x="2042" y="485"/>
                  </a:lnTo>
                  <a:lnTo>
                    <a:pt x="2010" y="485"/>
                  </a:lnTo>
                  <a:lnTo>
                    <a:pt x="1982" y="482"/>
                  </a:lnTo>
                  <a:lnTo>
                    <a:pt x="1955" y="479"/>
                  </a:lnTo>
                  <a:lnTo>
                    <a:pt x="1931" y="475"/>
                  </a:lnTo>
                  <a:lnTo>
                    <a:pt x="1910" y="473"/>
                  </a:lnTo>
                  <a:lnTo>
                    <a:pt x="1888" y="470"/>
                  </a:lnTo>
                  <a:lnTo>
                    <a:pt x="1868" y="470"/>
                  </a:lnTo>
                  <a:lnTo>
                    <a:pt x="1848" y="470"/>
                  </a:lnTo>
                  <a:lnTo>
                    <a:pt x="1839" y="471"/>
                  </a:lnTo>
                  <a:lnTo>
                    <a:pt x="1830" y="473"/>
                  </a:lnTo>
                  <a:lnTo>
                    <a:pt x="1820" y="475"/>
                  </a:lnTo>
                  <a:lnTo>
                    <a:pt x="1810" y="478"/>
                  </a:lnTo>
                  <a:lnTo>
                    <a:pt x="1800" y="482"/>
                  </a:lnTo>
                  <a:lnTo>
                    <a:pt x="1791" y="487"/>
                  </a:lnTo>
                  <a:lnTo>
                    <a:pt x="1780" y="494"/>
                  </a:lnTo>
                  <a:lnTo>
                    <a:pt x="1770" y="501"/>
                  </a:lnTo>
                  <a:lnTo>
                    <a:pt x="1748" y="518"/>
                  </a:lnTo>
                  <a:lnTo>
                    <a:pt x="1726" y="539"/>
                  </a:lnTo>
                  <a:lnTo>
                    <a:pt x="1700" y="566"/>
                  </a:lnTo>
                  <a:lnTo>
                    <a:pt x="1674" y="599"/>
                  </a:lnTo>
                  <a:lnTo>
                    <a:pt x="1668" y="606"/>
                  </a:lnTo>
                  <a:lnTo>
                    <a:pt x="1662" y="610"/>
                  </a:lnTo>
                  <a:lnTo>
                    <a:pt x="1656" y="611"/>
                  </a:lnTo>
                  <a:lnTo>
                    <a:pt x="1650" y="611"/>
                  </a:lnTo>
                  <a:lnTo>
                    <a:pt x="1643" y="609"/>
                  </a:lnTo>
                  <a:lnTo>
                    <a:pt x="1635" y="605"/>
                  </a:lnTo>
                  <a:lnTo>
                    <a:pt x="1628" y="599"/>
                  </a:lnTo>
                  <a:lnTo>
                    <a:pt x="1622" y="594"/>
                  </a:lnTo>
                  <a:lnTo>
                    <a:pt x="1591" y="562"/>
                  </a:lnTo>
                  <a:lnTo>
                    <a:pt x="1559" y="533"/>
                  </a:lnTo>
                  <a:lnTo>
                    <a:pt x="1562" y="518"/>
                  </a:lnTo>
                  <a:lnTo>
                    <a:pt x="1563" y="503"/>
                  </a:lnTo>
                  <a:lnTo>
                    <a:pt x="1564" y="489"/>
                  </a:lnTo>
                  <a:lnTo>
                    <a:pt x="1563" y="473"/>
                  </a:lnTo>
                  <a:lnTo>
                    <a:pt x="1560" y="443"/>
                  </a:lnTo>
                  <a:lnTo>
                    <a:pt x="1554" y="417"/>
                  </a:lnTo>
                  <a:lnTo>
                    <a:pt x="1542" y="375"/>
                  </a:lnTo>
                  <a:lnTo>
                    <a:pt x="1535" y="358"/>
                  </a:lnTo>
                  <a:lnTo>
                    <a:pt x="1543" y="355"/>
                  </a:lnTo>
                  <a:lnTo>
                    <a:pt x="1551" y="351"/>
                  </a:lnTo>
                  <a:lnTo>
                    <a:pt x="1556" y="347"/>
                  </a:lnTo>
                  <a:lnTo>
                    <a:pt x="1562" y="342"/>
                  </a:lnTo>
                  <a:lnTo>
                    <a:pt x="1572" y="331"/>
                  </a:lnTo>
                  <a:lnTo>
                    <a:pt x="1586" y="323"/>
                  </a:lnTo>
                  <a:lnTo>
                    <a:pt x="1594" y="319"/>
                  </a:lnTo>
                  <a:lnTo>
                    <a:pt x="1604" y="318"/>
                  </a:lnTo>
                  <a:lnTo>
                    <a:pt x="1616" y="318"/>
                  </a:lnTo>
                  <a:lnTo>
                    <a:pt x="1631" y="319"/>
                  </a:lnTo>
                  <a:lnTo>
                    <a:pt x="1648" y="322"/>
                  </a:lnTo>
                  <a:lnTo>
                    <a:pt x="1670" y="327"/>
                  </a:lnTo>
                  <a:lnTo>
                    <a:pt x="1694" y="335"/>
                  </a:lnTo>
                  <a:lnTo>
                    <a:pt x="1722" y="346"/>
                  </a:lnTo>
                  <a:lnTo>
                    <a:pt x="1730" y="349"/>
                  </a:lnTo>
                  <a:lnTo>
                    <a:pt x="1738" y="350"/>
                  </a:lnTo>
                  <a:lnTo>
                    <a:pt x="1744" y="350"/>
                  </a:lnTo>
                  <a:lnTo>
                    <a:pt x="1751" y="349"/>
                  </a:lnTo>
                  <a:lnTo>
                    <a:pt x="1756" y="347"/>
                  </a:lnTo>
                  <a:lnTo>
                    <a:pt x="1762" y="343"/>
                  </a:lnTo>
                  <a:lnTo>
                    <a:pt x="1766" y="341"/>
                  </a:lnTo>
                  <a:lnTo>
                    <a:pt x="1770" y="335"/>
                  </a:lnTo>
                  <a:lnTo>
                    <a:pt x="1774" y="330"/>
                  </a:lnTo>
                  <a:lnTo>
                    <a:pt x="1776" y="325"/>
                  </a:lnTo>
                  <a:lnTo>
                    <a:pt x="1779" y="318"/>
                  </a:lnTo>
                  <a:lnTo>
                    <a:pt x="1782" y="311"/>
                  </a:lnTo>
                  <a:lnTo>
                    <a:pt x="1784" y="295"/>
                  </a:lnTo>
                  <a:lnTo>
                    <a:pt x="1786" y="278"/>
                  </a:lnTo>
                  <a:lnTo>
                    <a:pt x="1786" y="259"/>
                  </a:lnTo>
                  <a:lnTo>
                    <a:pt x="1786" y="241"/>
                  </a:lnTo>
                  <a:lnTo>
                    <a:pt x="1783" y="222"/>
                  </a:lnTo>
                  <a:lnTo>
                    <a:pt x="1780" y="203"/>
                  </a:lnTo>
                  <a:lnTo>
                    <a:pt x="1778" y="186"/>
                  </a:lnTo>
                  <a:lnTo>
                    <a:pt x="1774" y="169"/>
                  </a:lnTo>
                  <a:lnTo>
                    <a:pt x="1768" y="154"/>
                  </a:lnTo>
                  <a:lnTo>
                    <a:pt x="1764" y="142"/>
                  </a:lnTo>
                  <a:lnTo>
                    <a:pt x="1750" y="132"/>
                  </a:lnTo>
                  <a:lnTo>
                    <a:pt x="1735" y="121"/>
                  </a:lnTo>
                  <a:lnTo>
                    <a:pt x="1722" y="108"/>
                  </a:lnTo>
                  <a:lnTo>
                    <a:pt x="1708" y="94"/>
                  </a:lnTo>
                  <a:lnTo>
                    <a:pt x="1684" y="66"/>
                  </a:lnTo>
                  <a:lnTo>
                    <a:pt x="1663" y="40"/>
                  </a:lnTo>
                  <a:lnTo>
                    <a:pt x="1644" y="17"/>
                  </a:lnTo>
                  <a:lnTo>
                    <a:pt x="1631" y="4"/>
                  </a:lnTo>
                  <a:lnTo>
                    <a:pt x="1626" y="0"/>
                  </a:lnTo>
                  <a:lnTo>
                    <a:pt x="1623" y="0"/>
                  </a:lnTo>
                  <a:lnTo>
                    <a:pt x="1620" y="2"/>
                  </a:lnTo>
                  <a:lnTo>
                    <a:pt x="1620" y="9"/>
                  </a:lnTo>
                  <a:lnTo>
                    <a:pt x="1620" y="44"/>
                  </a:lnTo>
                  <a:lnTo>
                    <a:pt x="1622" y="72"/>
                  </a:lnTo>
                  <a:lnTo>
                    <a:pt x="1623" y="85"/>
                  </a:lnTo>
                  <a:lnTo>
                    <a:pt x="1623" y="97"/>
                  </a:lnTo>
                  <a:lnTo>
                    <a:pt x="1622" y="108"/>
                  </a:lnTo>
                  <a:lnTo>
                    <a:pt x="1619" y="118"/>
                  </a:lnTo>
                  <a:lnTo>
                    <a:pt x="1614" y="130"/>
                  </a:lnTo>
                  <a:lnTo>
                    <a:pt x="1607" y="141"/>
                  </a:lnTo>
                  <a:lnTo>
                    <a:pt x="1596" y="153"/>
                  </a:lnTo>
                  <a:lnTo>
                    <a:pt x="1583" y="166"/>
                  </a:lnTo>
                  <a:lnTo>
                    <a:pt x="1566" y="180"/>
                  </a:lnTo>
                  <a:lnTo>
                    <a:pt x="1544" y="195"/>
                  </a:lnTo>
                  <a:lnTo>
                    <a:pt x="1519" y="213"/>
                  </a:lnTo>
                  <a:lnTo>
                    <a:pt x="1487" y="233"/>
                  </a:lnTo>
                  <a:lnTo>
                    <a:pt x="1472" y="242"/>
                  </a:lnTo>
                  <a:lnTo>
                    <a:pt x="1459" y="251"/>
                  </a:lnTo>
                  <a:lnTo>
                    <a:pt x="1448" y="261"/>
                  </a:lnTo>
                  <a:lnTo>
                    <a:pt x="1440" y="269"/>
                  </a:lnTo>
                  <a:lnTo>
                    <a:pt x="1434" y="277"/>
                  </a:lnTo>
                  <a:lnTo>
                    <a:pt x="1428" y="285"/>
                  </a:lnTo>
                  <a:lnTo>
                    <a:pt x="1424" y="293"/>
                  </a:lnTo>
                  <a:lnTo>
                    <a:pt x="1423" y="299"/>
                  </a:lnTo>
                  <a:lnTo>
                    <a:pt x="1422" y="306"/>
                  </a:lnTo>
                  <a:lnTo>
                    <a:pt x="1422" y="313"/>
                  </a:lnTo>
                  <a:lnTo>
                    <a:pt x="1423" y="319"/>
                  </a:lnTo>
                  <a:lnTo>
                    <a:pt x="1426" y="325"/>
                  </a:lnTo>
                  <a:lnTo>
                    <a:pt x="1431" y="337"/>
                  </a:lnTo>
                  <a:lnTo>
                    <a:pt x="1439" y="349"/>
                  </a:lnTo>
                  <a:lnTo>
                    <a:pt x="1447" y="361"/>
                  </a:lnTo>
                  <a:lnTo>
                    <a:pt x="1454" y="373"/>
                  </a:lnTo>
                  <a:lnTo>
                    <a:pt x="1456" y="378"/>
                  </a:lnTo>
                  <a:lnTo>
                    <a:pt x="1459" y="385"/>
                  </a:lnTo>
                  <a:lnTo>
                    <a:pt x="1460" y="391"/>
                  </a:lnTo>
                  <a:lnTo>
                    <a:pt x="1460" y="397"/>
                  </a:lnTo>
                  <a:lnTo>
                    <a:pt x="1459" y="405"/>
                  </a:lnTo>
                  <a:lnTo>
                    <a:pt x="1458" y="411"/>
                  </a:lnTo>
                  <a:lnTo>
                    <a:pt x="1454" y="418"/>
                  </a:lnTo>
                  <a:lnTo>
                    <a:pt x="1448" y="426"/>
                  </a:lnTo>
                  <a:lnTo>
                    <a:pt x="1442" y="434"/>
                  </a:lnTo>
                  <a:lnTo>
                    <a:pt x="1432" y="443"/>
                  </a:lnTo>
                  <a:lnTo>
                    <a:pt x="1422" y="451"/>
                  </a:lnTo>
                  <a:lnTo>
                    <a:pt x="1408" y="461"/>
                  </a:lnTo>
                  <a:lnTo>
                    <a:pt x="1406" y="462"/>
                  </a:lnTo>
                  <a:lnTo>
                    <a:pt x="1395" y="462"/>
                  </a:lnTo>
                  <a:lnTo>
                    <a:pt x="1386" y="463"/>
                  </a:lnTo>
                  <a:lnTo>
                    <a:pt x="1376" y="467"/>
                  </a:lnTo>
                  <a:lnTo>
                    <a:pt x="1363" y="474"/>
                  </a:lnTo>
                  <a:lnTo>
                    <a:pt x="1348" y="485"/>
                  </a:lnTo>
                  <a:lnTo>
                    <a:pt x="1338" y="501"/>
                  </a:lnTo>
                  <a:lnTo>
                    <a:pt x="1323" y="521"/>
                  </a:lnTo>
                  <a:lnTo>
                    <a:pt x="1306" y="546"/>
                  </a:lnTo>
                  <a:lnTo>
                    <a:pt x="1289" y="575"/>
                  </a:lnTo>
                  <a:lnTo>
                    <a:pt x="1290" y="567"/>
                  </a:lnTo>
                  <a:lnTo>
                    <a:pt x="1290" y="559"/>
                  </a:lnTo>
                  <a:lnTo>
                    <a:pt x="1289" y="551"/>
                  </a:lnTo>
                  <a:lnTo>
                    <a:pt x="1287" y="546"/>
                  </a:lnTo>
                  <a:lnTo>
                    <a:pt x="1285" y="539"/>
                  </a:lnTo>
                  <a:lnTo>
                    <a:pt x="1281" y="535"/>
                  </a:lnTo>
                  <a:lnTo>
                    <a:pt x="1277" y="530"/>
                  </a:lnTo>
                  <a:lnTo>
                    <a:pt x="1273" y="526"/>
                  </a:lnTo>
                  <a:lnTo>
                    <a:pt x="1263" y="519"/>
                  </a:lnTo>
                  <a:lnTo>
                    <a:pt x="1253" y="514"/>
                  </a:lnTo>
                  <a:lnTo>
                    <a:pt x="1242" y="511"/>
                  </a:lnTo>
                  <a:lnTo>
                    <a:pt x="1233" y="507"/>
                  </a:lnTo>
                  <a:lnTo>
                    <a:pt x="1226" y="505"/>
                  </a:lnTo>
                  <a:lnTo>
                    <a:pt x="1221" y="502"/>
                  </a:lnTo>
                  <a:lnTo>
                    <a:pt x="1219" y="501"/>
                  </a:lnTo>
                  <a:lnTo>
                    <a:pt x="1219" y="499"/>
                  </a:lnTo>
                  <a:lnTo>
                    <a:pt x="1221" y="498"/>
                  </a:lnTo>
                  <a:lnTo>
                    <a:pt x="1222" y="495"/>
                  </a:lnTo>
                  <a:lnTo>
                    <a:pt x="1231" y="491"/>
                  </a:lnTo>
                  <a:lnTo>
                    <a:pt x="1245" y="485"/>
                  </a:lnTo>
                  <a:lnTo>
                    <a:pt x="1266" y="477"/>
                  </a:lnTo>
                  <a:lnTo>
                    <a:pt x="1295" y="467"/>
                  </a:lnTo>
                  <a:lnTo>
                    <a:pt x="1285" y="446"/>
                  </a:lnTo>
                  <a:lnTo>
                    <a:pt x="1274" y="426"/>
                  </a:lnTo>
                  <a:lnTo>
                    <a:pt x="1261" y="406"/>
                  </a:lnTo>
                  <a:lnTo>
                    <a:pt x="1249" y="387"/>
                  </a:lnTo>
                  <a:lnTo>
                    <a:pt x="1241" y="379"/>
                  </a:lnTo>
                  <a:lnTo>
                    <a:pt x="1234" y="371"/>
                  </a:lnTo>
                  <a:lnTo>
                    <a:pt x="1227" y="366"/>
                  </a:lnTo>
                  <a:lnTo>
                    <a:pt x="1221" y="361"/>
                  </a:lnTo>
                  <a:lnTo>
                    <a:pt x="1213" y="357"/>
                  </a:lnTo>
                  <a:lnTo>
                    <a:pt x="1206" y="354"/>
                  </a:lnTo>
                  <a:lnTo>
                    <a:pt x="1199" y="353"/>
                  </a:lnTo>
                  <a:lnTo>
                    <a:pt x="1193" y="353"/>
                  </a:lnTo>
                  <a:lnTo>
                    <a:pt x="1170" y="366"/>
                  </a:lnTo>
                  <a:lnTo>
                    <a:pt x="1149" y="375"/>
                  </a:lnTo>
                  <a:lnTo>
                    <a:pt x="1127" y="382"/>
                  </a:lnTo>
                  <a:lnTo>
                    <a:pt x="1106" y="386"/>
                  </a:lnTo>
                  <a:lnTo>
                    <a:pt x="1086" y="389"/>
                  </a:lnTo>
                  <a:lnTo>
                    <a:pt x="1067" y="389"/>
                  </a:lnTo>
                  <a:lnTo>
                    <a:pt x="1049" y="387"/>
                  </a:lnTo>
                  <a:lnTo>
                    <a:pt x="1030" y="385"/>
                  </a:lnTo>
                  <a:lnTo>
                    <a:pt x="997" y="377"/>
                  </a:lnTo>
                  <a:lnTo>
                    <a:pt x="965" y="369"/>
                  </a:lnTo>
                  <a:lnTo>
                    <a:pt x="950" y="365"/>
                  </a:lnTo>
                  <a:lnTo>
                    <a:pt x="935" y="362"/>
                  </a:lnTo>
                  <a:lnTo>
                    <a:pt x="922" y="359"/>
                  </a:lnTo>
                  <a:lnTo>
                    <a:pt x="909" y="358"/>
                  </a:lnTo>
                  <a:lnTo>
                    <a:pt x="895" y="359"/>
                  </a:lnTo>
                  <a:lnTo>
                    <a:pt x="882" y="361"/>
                  </a:lnTo>
                  <a:lnTo>
                    <a:pt x="870" y="363"/>
                  </a:lnTo>
                  <a:lnTo>
                    <a:pt x="859" y="367"/>
                  </a:lnTo>
                  <a:lnTo>
                    <a:pt x="850" y="373"/>
                  </a:lnTo>
                  <a:lnTo>
                    <a:pt x="842" y="378"/>
                  </a:lnTo>
                  <a:lnTo>
                    <a:pt x="834" y="385"/>
                  </a:lnTo>
                  <a:lnTo>
                    <a:pt x="829" y="391"/>
                  </a:lnTo>
                  <a:lnTo>
                    <a:pt x="823" y="399"/>
                  </a:lnTo>
                  <a:lnTo>
                    <a:pt x="818" y="407"/>
                  </a:lnTo>
                  <a:lnTo>
                    <a:pt x="814" y="417"/>
                  </a:lnTo>
                  <a:lnTo>
                    <a:pt x="811" y="426"/>
                  </a:lnTo>
                  <a:lnTo>
                    <a:pt x="807" y="446"/>
                  </a:lnTo>
                  <a:lnTo>
                    <a:pt x="803" y="467"/>
                  </a:lnTo>
                  <a:lnTo>
                    <a:pt x="801" y="510"/>
                  </a:lnTo>
                  <a:lnTo>
                    <a:pt x="798" y="551"/>
                  </a:lnTo>
                  <a:lnTo>
                    <a:pt x="794" y="570"/>
                  </a:lnTo>
                  <a:lnTo>
                    <a:pt x="789" y="587"/>
                  </a:lnTo>
                  <a:lnTo>
                    <a:pt x="786" y="594"/>
                  </a:lnTo>
                  <a:lnTo>
                    <a:pt x="782" y="601"/>
                  </a:lnTo>
                  <a:lnTo>
                    <a:pt x="777" y="606"/>
                  </a:lnTo>
                  <a:lnTo>
                    <a:pt x="770" y="611"/>
                  </a:lnTo>
                  <a:lnTo>
                    <a:pt x="757" y="602"/>
                  </a:lnTo>
                  <a:lnTo>
                    <a:pt x="743" y="589"/>
                  </a:lnTo>
                  <a:lnTo>
                    <a:pt x="730" y="574"/>
                  </a:lnTo>
                  <a:lnTo>
                    <a:pt x="717" y="558"/>
                  </a:lnTo>
                  <a:lnTo>
                    <a:pt x="705" y="541"/>
                  </a:lnTo>
                  <a:lnTo>
                    <a:pt x="691" y="522"/>
                  </a:lnTo>
                  <a:lnTo>
                    <a:pt x="681" y="501"/>
                  </a:lnTo>
                  <a:lnTo>
                    <a:pt x="670" y="479"/>
                  </a:lnTo>
                  <a:lnTo>
                    <a:pt x="661" y="458"/>
                  </a:lnTo>
                  <a:lnTo>
                    <a:pt x="651" y="435"/>
                  </a:lnTo>
                  <a:lnTo>
                    <a:pt x="645" y="411"/>
                  </a:lnTo>
                  <a:lnTo>
                    <a:pt x="638" y="389"/>
                  </a:lnTo>
                  <a:lnTo>
                    <a:pt x="634" y="366"/>
                  </a:lnTo>
                  <a:lnTo>
                    <a:pt x="631" y="342"/>
                  </a:lnTo>
                  <a:lnTo>
                    <a:pt x="631" y="321"/>
                  </a:lnTo>
                  <a:lnTo>
                    <a:pt x="633" y="298"/>
                  </a:lnTo>
                  <a:lnTo>
                    <a:pt x="633" y="295"/>
                  </a:lnTo>
                  <a:lnTo>
                    <a:pt x="631" y="293"/>
                  </a:lnTo>
                  <a:lnTo>
                    <a:pt x="630" y="289"/>
                  </a:lnTo>
                  <a:lnTo>
                    <a:pt x="627" y="285"/>
                  </a:lnTo>
                  <a:lnTo>
                    <a:pt x="619" y="278"/>
                  </a:lnTo>
                  <a:lnTo>
                    <a:pt x="609" y="271"/>
                  </a:lnTo>
                  <a:lnTo>
                    <a:pt x="597" y="265"/>
                  </a:lnTo>
                  <a:lnTo>
                    <a:pt x="583" y="261"/>
                  </a:lnTo>
                  <a:lnTo>
                    <a:pt x="567" y="258"/>
                  </a:lnTo>
                  <a:lnTo>
                    <a:pt x="553" y="257"/>
                  </a:lnTo>
                  <a:lnTo>
                    <a:pt x="545" y="258"/>
                  </a:lnTo>
                  <a:lnTo>
                    <a:pt x="537" y="259"/>
                  </a:lnTo>
                  <a:lnTo>
                    <a:pt x="529" y="262"/>
                  </a:lnTo>
                  <a:lnTo>
                    <a:pt x="521" y="265"/>
                  </a:lnTo>
                  <a:lnTo>
                    <a:pt x="514" y="270"/>
                  </a:lnTo>
                  <a:lnTo>
                    <a:pt x="506" y="275"/>
                  </a:lnTo>
                  <a:lnTo>
                    <a:pt x="500" y="281"/>
                  </a:lnTo>
                  <a:lnTo>
                    <a:pt x="493" y="289"/>
                  </a:lnTo>
                  <a:lnTo>
                    <a:pt x="488" y="298"/>
                  </a:lnTo>
                  <a:lnTo>
                    <a:pt x="482" y="309"/>
                  </a:lnTo>
                  <a:lnTo>
                    <a:pt x="477" y="319"/>
                  </a:lnTo>
                  <a:lnTo>
                    <a:pt x="473" y="333"/>
                  </a:lnTo>
                  <a:lnTo>
                    <a:pt x="469" y="347"/>
                  </a:lnTo>
                  <a:lnTo>
                    <a:pt x="466" y="363"/>
                  </a:lnTo>
                  <a:lnTo>
                    <a:pt x="465" y="381"/>
                  </a:lnTo>
                  <a:lnTo>
                    <a:pt x="464" y="401"/>
                  </a:lnTo>
                  <a:lnTo>
                    <a:pt x="485" y="417"/>
                  </a:lnTo>
                  <a:lnTo>
                    <a:pt x="501" y="431"/>
                  </a:lnTo>
                  <a:lnTo>
                    <a:pt x="514" y="445"/>
                  </a:lnTo>
                  <a:lnTo>
                    <a:pt x="522" y="458"/>
                  </a:lnTo>
                  <a:lnTo>
                    <a:pt x="525" y="465"/>
                  </a:lnTo>
                  <a:lnTo>
                    <a:pt x="526" y="470"/>
                  </a:lnTo>
                  <a:lnTo>
                    <a:pt x="528" y="477"/>
                  </a:lnTo>
                  <a:lnTo>
                    <a:pt x="529" y="482"/>
                  </a:lnTo>
                  <a:lnTo>
                    <a:pt x="528" y="493"/>
                  </a:lnTo>
                  <a:lnTo>
                    <a:pt x="524" y="502"/>
                  </a:lnTo>
                  <a:lnTo>
                    <a:pt x="518" y="511"/>
                  </a:lnTo>
                  <a:lnTo>
                    <a:pt x="512" y="519"/>
                  </a:lnTo>
                  <a:lnTo>
                    <a:pt x="504" y="526"/>
                  </a:lnTo>
                  <a:lnTo>
                    <a:pt x="494" y="533"/>
                  </a:lnTo>
                  <a:lnTo>
                    <a:pt x="485" y="537"/>
                  </a:lnTo>
                  <a:lnTo>
                    <a:pt x="476" y="541"/>
                  </a:lnTo>
                  <a:lnTo>
                    <a:pt x="466" y="543"/>
                  </a:lnTo>
                  <a:lnTo>
                    <a:pt x="458" y="545"/>
                  </a:lnTo>
                  <a:lnTo>
                    <a:pt x="446" y="543"/>
                  </a:lnTo>
                  <a:lnTo>
                    <a:pt x="434" y="542"/>
                  </a:lnTo>
                  <a:lnTo>
                    <a:pt x="424" y="539"/>
                  </a:lnTo>
                  <a:lnTo>
                    <a:pt x="414" y="537"/>
                  </a:lnTo>
                  <a:lnTo>
                    <a:pt x="406" y="533"/>
                  </a:lnTo>
                  <a:lnTo>
                    <a:pt x="398" y="529"/>
                  </a:lnTo>
                  <a:lnTo>
                    <a:pt x="390" y="525"/>
                  </a:lnTo>
                  <a:lnTo>
                    <a:pt x="384" y="519"/>
                  </a:lnTo>
                  <a:lnTo>
                    <a:pt x="378" y="514"/>
                  </a:lnTo>
                  <a:lnTo>
                    <a:pt x="373" y="509"/>
                  </a:lnTo>
                  <a:lnTo>
                    <a:pt x="369" y="502"/>
                  </a:lnTo>
                  <a:lnTo>
                    <a:pt x="365" y="497"/>
                  </a:lnTo>
                  <a:lnTo>
                    <a:pt x="361" y="490"/>
                  </a:lnTo>
                  <a:lnTo>
                    <a:pt x="358" y="482"/>
                  </a:lnTo>
                  <a:lnTo>
                    <a:pt x="357" y="475"/>
                  </a:lnTo>
                  <a:lnTo>
                    <a:pt x="356" y="467"/>
                  </a:lnTo>
                  <a:lnTo>
                    <a:pt x="342" y="477"/>
                  </a:lnTo>
                  <a:lnTo>
                    <a:pt x="330" y="486"/>
                  </a:lnTo>
                  <a:lnTo>
                    <a:pt x="324" y="491"/>
                  </a:lnTo>
                  <a:lnTo>
                    <a:pt x="317" y="494"/>
                  </a:lnTo>
                  <a:lnTo>
                    <a:pt x="309" y="497"/>
                  </a:lnTo>
                  <a:lnTo>
                    <a:pt x="301" y="497"/>
                  </a:lnTo>
                  <a:lnTo>
                    <a:pt x="294" y="493"/>
                  </a:lnTo>
                  <a:lnTo>
                    <a:pt x="286" y="485"/>
                  </a:lnTo>
                  <a:lnTo>
                    <a:pt x="277" y="474"/>
                  </a:lnTo>
                  <a:lnTo>
                    <a:pt x="270" y="467"/>
                  </a:lnTo>
                  <a:lnTo>
                    <a:pt x="241" y="467"/>
                  </a:lnTo>
                  <a:lnTo>
                    <a:pt x="240" y="487"/>
                  </a:lnTo>
                  <a:lnTo>
                    <a:pt x="238" y="506"/>
                  </a:lnTo>
                  <a:lnTo>
                    <a:pt x="234" y="522"/>
                  </a:lnTo>
                  <a:lnTo>
                    <a:pt x="229" y="538"/>
                  </a:lnTo>
                  <a:lnTo>
                    <a:pt x="218" y="565"/>
                  </a:lnTo>
                  <a:lnTo>
                    <a:pt x="205" y="590"/>
                  </a:lnTo>
                  <a:lnTo>
                    <a:pt x="192" y="614"/>
                  </a:lnTo>
                  <a:lnTo>
                    <a:pt x="180" y="641"/>
                  </a:lnTo>
                  <a:lnTo>
                    <a:pt x="176" y="655"/>
                  </a:lnTo>
                  <a:lnTo>
                    <a:pt x="172" y="671"/>
                  </a:lnTo>
                  <a:lnTo>
                    <a:pt x="169" y="689"/>
                  </a:lnTo>
                  <a:lnTo>
                    <a:pt x="169" y="707"/>
                  </a:lnTo>
                  <a:lnTo>
                    <a:pt x="169" y="714"/>
                  </a:lnTo>
                  <a:lnTo>
                    <a:pt x="170" y="719"/>
                  </a:lnTo>
                  <a:lnTo>
                    <a:pt x="172" y="723"/>
                  </a:lnTo>
                  <a:lnTo>
                    <a:pt x="174" y="727"/>
                  </a:lnTo>
                  <a:lnTo>
                    <a:pt x="180" y="733"/>
                  </a:lnTo>
                  <a:lnTo>
                    <a:pt x="186" y="737"/>
                  </a:lnTo>
                  <a:lnTo>
                    <a:pt x="193" y="741"/>
                  </a:lnTo>
                  <a:lnTo>
                    <a:pt x="200" y="746"/>
                  </a:lnTo>
                  <a:lnTo>
                    <a:pt x="201" y="749"/>
                  </a:lnTo>
                  <a:lnTo>
                    <a:pt x="204" y="753"/>
                  </a:lnTo>
                  <a:lnTo>
                    <a:pt x="204" y="757"/>
                  </a:lnTo>
                  <a:lnTo>
                    <a:pt x="205" y="762"/>
                  </a:lnTo>
                  <a:lnTo>
                    <a:pt x="204" y="770"/>
                  </a:lnTo>
                  <a:lnTo>
                    <a:pt x="202" y="775"/>
                  </a:lnTo>
                  <a:lnTo>
                    <a:pt x="201" y="780"/>
                  </a:lnTo>
                  <a:lnTo>
                    <a:pt x="198" y="784"/>
                  </a:lnTo>
                  <a:lnTo>
                    <a:pt x="192" y="792"/>
                  </a:lnTo>
                  <a:lnTo>
                    <a:pt x="182" y="798"/>
                  </a:lnTo>
                  <a:lnTo>
                    <a:pt x="174" y="803"/>
                  </a:lnTo>
                  <a:lnTo>
                    <a:pt x="166" y="808"/>
                  </a:lnTo>
                  <a:lnTo>
                    <a:pt x="164" y="812"/>
                  </a:lnTo>
                  <a:lnTo>
                    <a:pt x="160" y="816"/>
                  </a:lnTo>
                  <a:lnTo>
                    <a:pt x="158" y="822"/>
                  </a:lnTo>
                  <a:lnTo>
                    <a:pt x="157" y="828"/>
                  </a:lnTo>
                  <a:lnTo>
                    <a:pt x="150" y="852"/>
                  </a:lnTo>
                  <a:lnTo>
                    <a:pt x="142" y="876"/>
                  </a:lnTo>
                  <a:lnTo>
                    <a:pt x="133" y="898"/>
                  </a:lnTo>
                  <a:lnTo>
                    <a:pt x="122" y="918"/>
                  </a:lnTo>
                  <a:lnTo>
                    <a:pt x="97" y="955"/>
                  </a:lnTo>
                  <a:lnTo>
                    <a:pt x="69" y="991"/>
                  </a:lnTo>
                  <a:lnTo>
                    <a:pt x="56" y="1010"/>
                  </a:lnTo>
                  <a:lnTo>
                    <a:pt x="44" y="1030"/>
                  </a:lnTo>
                  <a:lnTo>
                    <a:pt x="32" y="1050"/>
                  </a:lnTo>
                  <a:lnTo>
                    <a:pt x="21" y="1071"/>
                  </a:lnTo>
                  <a:lnTo>
                    <a:pt x="12" y="1095"/>
                  </a:lnTo>
                  <a:lnTo>
                    <a:pt x="5" y="1120"/>
                  </a:lnTo>
                  <a:lnTo>
                    <a:pt x="4" y="1134"/>
                  </a:lnTo>
                  <a:lnTo>
                    <a:pt x="1" y="1147"/>
                  </a:lnTo>
                  <a:lnTo>
                    <a:pt x="0" y="1162"/>
                  </a:lnTo>
                  <a:lnTo>
                    <a:pt x="0" y="1178"/>
                  </a:lnTo>
                  <a:lnTo>
                    <a:pt x="1" y="1195"/>
                  </a:lnTo>
                  <a:lnTo>
                    <a:pt x="4" y="1210"/>
                  </a:lnTo>
                  <a:lnTo>
                    <a:pt x="9" y="1222"/>
                  </a:lnTo>
                  <a:lnTo>
                    <a:pt x="16" y="1232"/>
                  </a:lnTo>
                  <a:lnTo>
                    <a:pt x="24" y="1240"/>
                  </a:lnTo>
                  <a:lnTo>
                    <a:pt x="32" y="1248"/>
                  </a:lnTo>
                  <a:lnTo>
                    <a:pt x="41" y="1254"/>
                  </a:lnTo>
                  <a:lnTo>
                    <a:pt x="52" y="1259"/>
                  </a:lnTo>
                  <a:lnTo>
                    <a:pt x="61" y="1264"/>
                  </a:lnTo>
                  <a:lnTo>
                    <a:pt x="70" y="1271"/>
                  </a:lnTo>
                  <a:lnTo>
                    <a:pt x="78" y="1276"/>
                  </a:lnTo>
                  <a:lnTo>
                    <a:pt x="86" y="1283"/>
                  </a:lnTo>
                  <a:lnTo>
                    <a:pt x="93" y="1291"/>
                  </a:lnTo>
                  <a:lnTo>
                    <a:pt x="98" y="1302"/>
                  </a:lnTo>
                  <a:lnTo>
                    <a:pt x="101" y="1314"/>
                  </a:lnTo>
                  <a:lnTo>
                    <a:pt x="102" y="1328"/>
                  </a:lnTo>
                  <a:lnTo>
                    <a:pt x="102" y="1335"/>
                  </a:lnTo>
                  <a:lnTo>
                    <a:pt x="105" y="1342"/>
                  </a:lnTo>
                  <a:lnTo>
                    <a:pt x="106" y="1346"/>
                  </a:lnTo>
                  <a:lnTo>
                    <a:pt x="110" y="1348"/>
                  </a:lnTo>
                  <a:lnTo>
                    <a:pt x="114" y="1351"/>
                  </a:lnTo>
                  <a:lnTo>
                    <a:pt x="118" y="1352"/>
                  </a:lnTo>
                  <a:lnTo>
                    <a:pt x="124" y="1353"/>
                  </a:lnTo>
                  <a:lnTo>
                    <a:pt x="129" y="1355"/>
                  </a:lnTo>
                  <a:lnTo>
                    <a:pt x="141" y="1355"/>
                  </a:lnTo>
                  <a:lnTo>
                    <a:pt x="153" y="1355"/>
                  </a:lnTo>
                  <a:lnTo>
                    <a:pt x="165" y="1355"/>
                  </a:lnTo>
                  <a:lnTo>
                    <a:pt x="174" y="1357"/>
                  </a:lnTo>
                  <a:lnTo>
                    <a:pt x="180" y="1361"/>
                  </a:lnTo>
                  <a:lnTo>
                    <a:pt x="184" y="1365"/>
                  </a:lnTo>
                  <a:lnTo>
                    <a:pt x="188" y="1369"/>
                  </a:lnTo>
                  <a:lnTo>
                    <a:pt x="190" y="1375"/>
                  </a:lnTo>
                  <a:lnTo>
                    <a:pt x="193" y="1388"/>
                  </a:lnTo>
                  <a:lnTo>
                    <a:pt x="197" y="1401"/>
                  </a:lnTo>
                  <a:lnTo>
                    <a:pt x="200" y="1415"/>
                  </a:lnTo>
                  <a:lnTo>
                    <a:pt x="204" y="1425"/>
                  </a:lnTo>
                  <a:lnTo>
                    <a:pt x="208" y="1431"/>
                  </a:lnTo>
                  <a:lnTo>
                    <a:pt x="212" y="1433"/>
                  </a:lnTo>
                  <a:lnTo>
                    <a:pt x="217" y="1436"/>
                  </a:lnTo>
                  <a:lnTo>
                    <a:pt x="222" y="1436"/>
                  </a:lnTo>
                  <a:lnTo>
                    <a:pt x="241" y="1436"/>
                  </a:lnTo>
                  <a:lnTo>
                    <a:pt x="253" y="1436"/>
                  </a:lnTo>
                  <a:lnTo>
                    <a:pt x="262" y="1436"/>
                  </a:lnTo>
                  <a:lnTo>
                    <a:pt x="270" y="1436"/>
                  </a:lnTo>
                  <a:lnTo>
                    <a:pt x="278" y="1437"/>
                  </a:lnTo>
                  <a:lnTo>
                    <a:pt x="286" y="1439"/>
                  </a:lnTo>
                  <a:lnTo>
                    <a:pt x="293" y="1443"/>
                  </a:lnTo>
                  <a:lnTo>
                    <a:pt x="300" y="1447"/>
                  </a:lnTo>
                  <a:lnTo>
                    <a:pt x="313" y="1457"/>
                  </a:lnTo>
                  <a:lnTo>
                    <a:pt x="328" y="1471"/>
                  </a:lnTo>
                  <a:lnTo>
                    <a:pt x="342" y="1483"/>
                  </a:lnTo>
                  <a:lnTo>
                    <a:pt x="358" y="1495"/>
                  </a:lnTo>
                  <a:lnTo>
                    <a:pt x="368" y="1500"/>
                  </a:lnTo>
                  <a:lnTo>
                    <a:pt x="377" y="1504"/>
                  </a:lnTo>
                  <a:lnTo>
                    <a:pt x="386" y="1507"/>
                  </a:lnTo>
                  <a:lnTo>
                    <a:pt x="397" y="1508"/>
                  </a:lnTo>
                  <a:lnTo>
                    <a:pt x="398" y="1521"/>
                  </a:lnTo>
                  <a:lnTo>
                    <a:pt x="398" y="1532"/>
                  </a:lnTo>
                  <a:lnTo>
                    <a:pt x="400" y="1540"/>
                  </a:lnTo>
                  <a:lnTo>
                    <a:pt x="402" y="1548"/>
                  </a:lnTo>
                  <a:lnTo>
                    <a:pt x="408" y="1561"/>
                  </a:lnTo>
                  <a:lnTo>
                    <a:pt x="416" y="1575"/>
                  </a:lnTo>
                  <a:lnTo>
                    <a:pt x="518" y="1575"/>
                  </a:lnTo>
                  <a:lnTo>
                    <a:pt x="530" y="1584"/>
                  </a:lnTo>
                  <a:lnTo>
                    <a:pt x="541" y="1592"/>
                  </a:lnTo>
                  <a:lnTo>
                    <a:pt x="550" y="1600"/>
                  </a:lnTo>
                  <a:lnTo>
                    <a:pt x="558" y="1608"/>
                  </a:lnTo>
                  <a:lnTo>
                    <a:pt x="574" y="1624"/>
                  </a:lnTo>
                  <a:lnTo>
                    <a:pt x="590" y="1641"/>
                  </a:lnTo>
                  <a:lnTo>
                    <a:pt x="594" y="1657"/>
                  </a:lnTo>
                  <a:lnTo>
                    <a:pt x="598" y="1671"/>
                  </a:lnTo>
                  <a:lnTo>
                    <a:pt x="602" y="1676"/>
                  </a:lnTo>
                  <a:lnTo>
                    <a:pt x="606" y="1680"/>
                  </a:lnTo>
                  <a:lnTo>
                    <a:pt x="613" y="1683"/>
                  </a:lnTo>
                  <a:lnTo>
                    <a:pt x="621" y="1683"/>
                  </a:lnTo>
                  <a:lnTo>
                    <a:pt x="627" y="1683"/>
                  </a:lnTo>
                  <a:lnTo>
                    <a:pt x="634" y="1681"/>
                  </a:lnTo>
                  <a:lnTo>
                    <a:pt x="639" y="1680"/>
                  </a:lnTo>
                  <a:lnTo>
                    <a:pt x="643" y="1677"/>
                  </a:lnTo>
                  <a:lnTo>
                    <a:pt x="651" y="1672"/>
                  </a:lnTo>
                  <a:lnTo>
                    <a:pt x="658" y="1665"/>
                  </a:lnTo>
                  <a:lnTo>
                    <a:pt x="663" y="1659"/>
                  </a:lnTo>
                  <a:lnTo>
                    <a:pt x="669" y="1653"/>
                  </a:lnTo>
                  <a:lnTo>
                    <a:pt x="673" y="1651"/>
                  </a:lnTo>
                  <a:lnTo>
                    <a:pt x="677" y="1648"/>
                  </a:lnTo>
                  <a:lnTo>
                    <a:pt x="681" y="1648"/>
                  </a:lnTo>
                  <a:lnTo>
                    <a:pt x="686" y="1647"/>
                  </a:lnTo>
                  <a:lnTo>
                    <a:pt x="697" y="1649"/>
                  </a:lnTo>
                  <a:lnTo>
                    <a:pt x="709" y="1653"/>
                  </a:lnTo>
                  <a:lnTo>
                    <a:pt x="714" y="1657"/>
                  </a:lnTo>
                  <a:lnTo>
                    <a:pt x="718" y="1660"/>
                  </a:lnTo>
                  <a:lnTo>
                    <a:pt x="722" y="1663"/>
                  </a:lnTo>
                  <a:lnTo>
                    <a:pt x="722" y="1665"/>
                  </a:lnTo>
                  <a:lnTo>
                    <a:pt x="726" y="1673"/>
                  </a:lnTo>
                  <a:lnTo>
                    <a:pt x="726" y="1681"/>
                  </a:lnTo>
                  <a:lnTo>
                    <a:pt x="726" y="1688"/>
                  </a:lnTo>
                  <a:lnTo>
                    <a:pt x="723" y="1695"/>
                  </a:lnTo>
                  <a:lnTo>
                    <a:pt x="722" y="1703"/>
                  </a:lnTo>
                  <a:lnTo>
                    <a:pt x="719" y="1709"/>
                  </a:lnTo>
                  <a:lnTo>
                    <a:pt x="717" y="1717"/>
                  </a:lnTo>
                  <a:lnTo>
                    <a:pt x="717" y="1725"/>
                  </a:lnTo>
                  <a:lnTo>
                    <a:pt x="718" y="1733"/>
                  </a:lnTo>
                  <a:lnTo>
                    <a:pt x="721" y="1740"/>
                  </a:lnTo>
                  <a:lnTo>
                    <a:pt x="725" y="1745"/>
                  </a:lnTo>
                  <a:lnTo>
                    <a:pt x="730" y="1751"/>
                  </a:lnTo>
                  <a:lnTo>
                    <a:pt x="741" y="1759"/>
                  </a:lnTo>
                  <a:lnTo>
                    <a:pt x="754" y="1767"/>
                  </a:lnTo>
                  <a:lnTo>
                    <a:pt x="767" y="1775"/>
                  </a:lnTo>
                  <a:lnTo>
                    <a:pt x="781" y="1783"/>
                  </a:lnTo>
                  <a:lnTo>
                    <a:pt x="787" y="1787"/>
                  </a:lnTo>
                  <a:lnTo>
                    <a:pt x="793" y="1792"/>
                  </a:lnTo>
                  <a:lnTo>
                    <a:pt x="797" y="1797"/>
                  </a:lnTo>
                  <a:lnTo>
                    <a:pt x="801" y="1804"/>
                  </a:lnTo>
                  <a:lnTo>
                    <a:pt x="803" y="1809"/>
                  </a:lnTo>
                  <a:lnTo>
                    <a:pt x="807" y="1813"/>
                  </a:lnTo>
                  <a:lnTo>
                    <a:pt x="813" y="1816"/>
                  </a:lnTo>
                  <a:lnTo>
                    <a:pt x="818" y="1817"/>
                  </a:lnTo>
                  <a:lnTo>
                    <a:pt x="830" y="1817"/>
                  </a:lnTo>
                  <a:lnTo>
                    <a:pt x="843" y="1815"/>
                  </a:lnTo>
                  <a:lnTo>
                    <a:pt x="858" y="1812"/>
                  </a:lnTo>
                  <a:lnTo>
                    <a:pt x="871" y="1811"/>
                  </a:lnTo>
                  <a:lnTo>
                    <a:pt x="877" y="1812"/>
                  </a:lnTo>
                  <a:lnTo>
                    <a:pt x="882" y="1813"/>
                  </a:lnTo>
                  <a:lnTo>
                    <a:pt x="887" y="1817"/>
                  </a:lnTo>
                  <a:lnTo>
                    <a:pt x="891" y="1821"/>
                  </a:lnTo>
                  <a:lnTo>
                    <a:pt x="897" y="1828"/>
                  </a:lnTo>
                  <a:lnTo>
                    <a:pt x="901" y="1836"/>
                  </a:lnTo>
                  <a:lnTo>
                    <a:pt x="903" y="1843"/>
                  </a:lnTo>
                  <a:lnTo>
                    <a:pt x="905" y="1851"/>
                  </a:lnTo>
                  <a:lnTo>
                    <a:pt x="907" y="1865"/>
                  </a:lnTo>
                  <a:lnTo>
                    <a:pt x="907" y="1880"/>
                  </a:lnTo>
                  <a:lnTo>
                    <a:pt x="907" y="1895"/>
                  </a:lnTo>
                  <a:lnTo>
                    <a:pt x="909" y="1908"/>
                  </a:lnTo>
                  <a:lnTo>
                    <a:pt x="909" y="1915"/>
                  </a:lnTo>
                  <a:lnTo>
                    <a:pt x="910" y="1920"/>
                  </a:lnTo>
                  <a:lnTo>
                    <a:pt x="913" y="1925"/>
                  </a:lnTo>
                  <a:lnTo>
                    <a:pt x="915" y="1931"/>
                  </a:lnTo>
                  <a:lnTo>
                    <a:pt x="915" y="1924"/>
                  </a:lnTo>
                  <a:lnTo>
                    <a:pt x="921" y="1917"/>
                  </a:lnTo>
                  <a:lnTo>
                    <a:pt x="926" y="1912"/>
                  </a:lnTo>
                  <a:lnTo>
                    <a:pt x="934" y="1907"/>
                  </a:lnTo>
                  <a:lnTo>
                    <a:pt x="942" y="1903"/>
                  </a:lnTo>
                  <a:lnTo>
                    <a:pt x="950" y="1899"/>
                  </a:lnTo>
                  <a:lnTo>
                    <a:pt x="961" y="1896"/>
                  </a:lnTo>
                  <a:lnTo>
                    <a:pt x="970" y="1895"/>
                  </a:lnTo>
                  <a:lnTo>
                    <a:pt x="982" y="1895"/>
                  </a:lnTo>
                  <a:lnTo>
                    <a:pt x="995" y="1893"/>
                  </a:lnTo>
                  <a:lnTo>
                    <a:pt x="1011" y="1892"/>
                  </a:lnTo>
                  <a:lnTo>
                    <a:pt x="1027" y="1889"/>
                  </a:lnTo>
                  <a:lnTo>
                    <a:pt x="1045" y="1885"/>
                  </a:lnTo>
                  <a:lnTo>
                    <a:pt x="1062" y="1881"/>
                  </a:lnTo>
                  <a:lnTo>
                    <a:pt x="1078" y="1876"/>
                  </a:lnTo>
                  <a:lnTo>
                    <a:pt x="1094" y="1871"/>
                  </a:lnTo>
                  <a:lnTo>
                    <a:pt x="1109" y="1864"/>
                  </a:lnTo>
                  <a:lnTo>
                    <a:pt x="1117" y="1860"/>
                  </a:lnTo>
                  <a:lnTo>
                    <a:pt x="1123" y="1855"/>
                  </a:lnTo>
                  <a:lnTo>
                    <a:pt x="1126" y="1849"/>
                  </a:lnTo>
                  <a:lnTo>
                    <a:pt x="1129" y="1844"/>
                  </a:lnTo>
                  <a:lnTo>
                    <a:pt x="1129" y="1837"/>
                  </a:lnTo>
                  <a:lnTo>
                    <a:pt x="1127" y="1831"/>
                  </a:lnTo>
                  <a:lnTo>
                    <a:pt x="1125" y="1823"/>
                  </a:lnTo>
                  <a:lnTo>
                    <a:pt x="1122" y="1816"/>
                  </a:lnTo>
                  <a:lnTo>
                    <a:pt x="1114" y="1801"/>
                  </a:lnTo>
                  <a:lnTo>
                    <a:pt x="1107" y="1788"/>
                  </a:lnTo>
                  <a:lnTo>
                    <a:pt x="1106" y="1781"/>
                  </a:lnTo>
                  <a:lnTo>
                    <a:pt x="1105" y="1776"/>
                  </a:lnTo>
                  <a:lnTo>
                    <a:pt x="1106" y="1772"/>
                  </a:lnTo>
                  <a:lnTo>
                    <a:pt x="1109" y="1768"/>
                  </a:lnTo>
                  <a:lnTo>
                    <a:pt x="1119" y="1760"/>
                  </a:lnTo>
                  <a:lnTo>
                    <a:pt x="1135" y="1752"/>
                  </a:lnTo>
                  <a:lnTo>
                    <a:pt x="1143" y="1748"/>
                  </a:lnTo>
                  <a:lnTo>
                    <a:pt x="1150" y="1743"/>
                  </a:lnTo>
                  <a:lnTo>
                    <a:pt x="1157" y="1737"/>
                  </a:lnTo>
                  <a:lnTo>
                    <a:pt x="1162" y="1732"/>
                  </a:lnTo>
                  <a:lnTo>
                    <a:pt x="1174" y="1719"/>
                  </a:lnTo>
                  <a:lnTo>
                    <a:pt x="1193" y="1703"/>
                  </a:lnTo>
                  <a:lnTo>
                    <a:pt x="1213" y="1687"/>
                  </a:lnTo>
                  <a:lnTo>
                    <a:pt x="1234" y="1669"/>
                  </a:lnTo>
                  <a:lnTo>
                    <a:pt x="1255" y="1652"/>
                  </a:lnTo>
                  <a:lnTo>
                    <a:pt x="1273" y="1636"/>
                  </a:lnTo>
                  <a:lnTo>
                    <a:pt x="1279" y="1628"/>
                  </a:lnTo>
                  <a:lnTo>
                    <a:pt x="1285" y="1621"/>
                  </a:lnTo>
                  <a:lnTo>
                    <a:pt x="1287" y="1616"/>
                  </a:lnTo>
                  <a:lnTo>
                    <a:pt x="1289" y="1611"/>
                  </a:lnTo>
                  <a:lnTo>
                    <a:pt x="1289" y="1607"/>
                  </a:lnTo>
                  <a:lnTo>
                    <a:pt x="1286" y="1601"/>
                  </a:lnTo>
                  <a:lnTo>
                    <a:pt x="1285" y="1596"/>
                  </a:lnTo>
                  <a:lnTo>
                    <a:pt x="1281" y="1591"/>
                  </a:lnTo>
                  <a:lnTo>
                    <a:pt x="1271" y="1580"/>
                  </a:lnTo>
                  <a:lnTo>
                    <a:pt x="1261" y="1569"/>
                  </a:lnTo>
                  <a:lnTo>
                    <a:pt x="1247" y="1559"/>
                  </a:lnTo>
                  <a:lnTo>
                    <a:pt x="1233" y="1552"/>
                  </a:lnTo>
                  <a:lnTo>
                    <a:pt x="1226" y="1549"/>
                  </a:lnTo>
                  <a:lnTo>
                    <a:pt x="1218" y="1547"/>
                  </a:lnTo>
                  <a:lnTo>
                    <a:pt x="1211" y="1545"/>
                  </a:lnTo>
                  <a:lnTo>
                    <a:pt x="1205" y="1544"/>
                  </a:lnTo>
                  <a:lnTo>
                    <a:pt x="1198" y="1545"/>
                  </a:lnTo>
                  <a:lnTo>
                    <a:pt x="1193" y="1548"/>
                  </a:lnTo>
                  <a:lnTo>
                    <a:pt x="1187" y="1551"/>
                  </a:lnTo>
                  <a:lnTo>
                    <a:pt x="1182" y="1555"/>
                  </a:lnTo>
                  <a:lnTo>
                    <a:pt x="1174" y="1565"/>
                  </a:lnTo>
                  <a:lnTo>
                    <a:pt x="1166" y="1577"/>
                  </a:lnTo>
                  <a:lnTo>
                    <a:pt x="1159" y="1589"/>
                  </a:lnTo>
                  <a:lnTo>
                    <a:pt x="1151" y="1600"/>
                  </a:lnTo>
                  <a:lnTo>
                    <a:pt x="1147" y="1605"/>
                  </a:lnTo>
                  <a:lnTo>
                    <a:pt x="1142" y="1608"/>
                  </a:lnTo>
                  <a:lnTo>
                    <a:pt x="1138" y="1611"/>
                  </a:lnTo>
                  <a:lnTo>
                    <a:pt x="1133" y="1611"/>
                  </a:lnTo>
                  <a:lnTo>
                    <a:pt x="1117" y="1609"/>
                  </a:lnTo>
                  <a:lnTo>
                    <a:pt x="1099" y="1605"/>
                  </a:lnTo>
                  <a:lnTo>
                    <a:pt x="1082" y="1600"/>
                  </a:lnTo>
                  <a:lnTo>
                    <a:pt x="1065" y="1593"/>
                  </a:lnTo>
                  <a:lnTo>
                    <a:pt x="1049" y="1584"/>
                  </a:lnTo>
                  <a:lnTo>
                    <a:pt x="1035" y="1575"/>
                  </a:lnTo>
                  <a:lnTo>
                    <a:pt x="1030" y="1571"/>
                  </a:lnTo>
                  <a:lnTo>
                    <a:pt x="1027" y="1565"/>
                  </a:lnTo>
                  <a:lnTo>
                    <a:pt x="1025" y="1561"/>
                  </a:lnTo>
                  <a:lnTo>
                    <a:pt x="1023" y="1557"/>
                  </a:lnTo>
                  <a:lnTo>
                    <a:pt x="1025" y="1548"/>
                  </a:lnTo>
                  <a:lnTo>
                    <a:pt x="1026" y="1540"/>
                  </a:lnTo>
                  <a:lnTo>
                    <a:pt x="1029" y="1529"/>
                  </a:lnTo>
                  <a:lnTo>
                    <a:pt x="1031" y="1520"/>
                  </a:lnTo>
                  <a:lnTo>
                    <a:pt x="1041" y="1500"/>
                  </a:lnTo>
                  <a:lnTo>
                    <a:pt x="1051" y="1479"/>
                  </a:lnTo>
                  <a:lnTo>
                    <a:pt x="1062" y="1460"/>
                  </a:lnTo>
                  <a:lnTo>
                    <a:pt x="1074" y="1444"/>
                  </a:lnTo>
                  <a:lnTo>
                    <a:pt x="1081" y="1437"/>
                  </a:lnTo>
                  <a:lnTo>
                    <a:pt x="1086" y="1432"/>
                  </a:lnTo>
                  <a:lnTo>
                    <a:pt x="1091" y="1427"/>
                  </a:lnTo>
                  <a:lnTo>
                    <a:pt x="1095" y="1424"/>
                  </a:lnTo>
                  <a:lnTo>
                    <a:pt x="1113" y="1420"/>
                  </a:lnTo>
                  <a:lnTo>
                    <a:pt x="1137" y="1415"/>
                  </a:lnTo>
                  <a:lnTo>
                    <a:pt x="1149" y="1411"/>
                  </a:lnTo>
                  <a:lnTo>
                    <a:pt x="1158" y="1405"/>
                  </a:lnTo>
                  <a:lnTo>
                    <a:pt x="1162" y="1403"/>
                  </a:lnTo>
                  <a:lnTo>
                    <a:pt x="1166" y="1397"/>
                  </a:lnTo>
                  <a:lnTo>
                    <a:pt x="1167" y="1393"/>
                  </a:lnTo>
                  <a:lnTo>
                    <a:pt x="1169" y="1388"/>
                  </a:lnTo>
                  <a:lnTo>
                    <a:pt x="1167" y="1381"/>
                  </a:lnTo>
                  <a:lnTo>
                    <a:pt x="1166" y="1376"/>
                  </a:lnTo>
                  <a:lnTo>
                    <a:pt x="1162" y="1371"/>
                  </a:lnTo>
                  <a:lnTo>
                    <a:pt x="1159" y="1367"/>
                  </a:lnTo>
                  <a:lnTo>
                    <a:pt x="1155" y="1361"/>
                  </a:lnTo>
                  <a:lnTo>
                    <a:pt x="1153" y="1355"/>
                  </a:lnTo>
                  <a:lnTo>
                    <a:pt x="1151" y="1348"/>
                  </a:lnTo>
                  <a:lnTo>
                    <a:pt x="1150" y="1340"/>
                  </a:lnTo>
                  <a:lnTo>
                    <a:pt x="1151" y="1323"/>
                  </a:lnTo>
                  <a:lnTo>
                    <a:pt x="1155" y="1308"/>
                  </a:lnTo>
                  <a:lnTo>
                    <a:pt x="1159" y="1295"/>
                  </a:lnTo>
                  <a:lnTo>
                    <a:pt x="1165" y="1282"/>
                  </a:lnTo>
                  <a:lnTo>
                    <a:pt x="1171" y="1268"/>
                  </a:lnTo>
                  <a:lnTo>
                    <a:pt x="1175" y="1255"/>
                  </a:lnTo>
                  <a:lnTo>
                    <a:pt x="1179" y="1239"/>
                  </a:lnTo>
                  <a:lnTo>
                    <a:pt x="1181" y="1219"/>
                  </a:lnTo>
                  <a:lnTo>
                    <a:pt x="1179" y="1207"/>
                  </a:lnTo>
                  <a:lnTo>
                    <a:pt x="1178" y="1196"/>
                  </a:lnTo>
                  <a:lnTo>
                    <a:pt x="1177" y="1186"/>
                  </a:lnTo>
                  <a:lnTo>
                    <a:pt x="1174" y="1176"/>
                  </a:lnTo>
                  <a:lnTo>
                    <a:pt x="1167" y="1158"/>
                  </a:lnTo>
                  <a:lnTo>
                    <a:pt x="1159" y="1142"/>
                  </a:lnTo>
                  <a:lnTo>
                    <a:pt x="1151" y="1126"/>
                  </a:lnTo>
                  <a:lnTo>
                    <a:pt x="1145" y="1111"/>
                  </a:lnTo>
                  <a:lnTo>
                    <a:pt x="1142" y="1104"/>
                  </a:lnTo>
                  <a:lnTo>
                    <a:pt x="1139" y="1096"/>
                  </a:lnTo>
                  <a:lnTo>
                    <a:pt x="1138" y="1088"/>
                  </a:lnTo>
                  <a:lnTo>
                    <a:pt x="1138" y="1082"/>
                  </a:lnTo>
                  <a:lnTo>
                    <a:pt x="1137" y="1068"/>
                  </a:lnTo>
                  <a:lnTo>
                    <a:pt x="1134" y="1060"/>
                  </a:lnTo>
                  <a:lnTo>
                    <a:pt x="1133" y="1058"/>
                  </a:lnTo>
                  <a:lnTo>
                    <a:pt x="1133" y="1055"/>
                  </a:lnTo>
                  <a:lnTo>
                    <a:pt x="1134" y="1051"/>
                  </a:lnTo>
                  <a:lnTo>
                    <a:pt x="1138" y="1044"/>
                  </a:lnTo>
                  <a:lnTo>
                    <a:pt x="1167" y="1056"/>
                  </a:lnTo>
                  <a:lnTo>
                    <a:pt x="1194" y="1066"/>
                  </a:lnTo>
                  <a:lnTo>
                    <a:pt x="1221" y="1076"/>
                  </a:lnTo>
                  <a:lnTo>
                    <a:pt x="1246" y="1087"/>
                  </a:lnTo>
                  <a:lnTo>
                    <a:pt x="1271" y="1098"/>
                  </a:lnTo>
                  <a:lnTo>
                    <a:pt x="1296" y="1110"/>
                  </a:lnTo>
                  <a:lnTo>
                    <a:pt x="1322" y="1124"/>
                  </a:lnTo>
                  <a:lnTo>
                    <a:pt x="1348" y="1142"/>
                  </a:lnTo>
                  <a:lnTo>
                    <a:pt x="1366" y="1163"/>
                  </a:lnTo>
                  <a:lnTo>
                    <a:pt x="1376" y="1183"/>
                  </a:lnTo>
                  <a:lnTo>
                    <a:pt x="1380" y="1187"/>
                  </a:lnTo>
                  <a:lnTo>
                    <a:pt x="1383" y="1191"/>
                  </a:lnTo>
                  <a:lnTo>
                    <a:pt x="1388" y="1194"/>
                  </a:lnTo>
                  <a:lnTo>
                    <a:pt x="1394" y="1196"/>
                  </a:lnTo>
                  <a:lnTo>
                    <a:pt x="1400" y="1199"/>
                  </a:lnTo>
                  <a:lnTo>
                    <a:pt x="1407" y="1200"/>
                  </a:lnTo>
                  <a:lnTo>
                    <a:pt x="1416" y="1202"/>
                  </a:lnTo>
                  <a:lnTo>
                    <a:pt x="1427" y="1202"/>
                  </a:lnTo>
                  <a:lnTo>
                    <a:pt x="1440" y="1202"/>
                  </a:lnTo>
                  <a:lnTo>
                    <a:pt x="1452" y="1202"/>
                  </a:lnTo>
                  <a:lnTo>
                    <a:pt x="1467" y="1202"/>
                  </a:lnTo>
                  <a:lnTo>
                    <a:pt x="1487" y="1202"/>
                  </a:lnTo>
                  <a:lnTo>
                    <a:pt x="1488" y="1207"/>
                  </a:lnTo>
                  <a:lnTo>
                    <a:pt x="1490" y="1211"/>
                  </a:lnTo>
                  <a:lnTo>
                    <a:pt x="1491" y="1216"/>
                  </a:lnTo>
                  <a:lnTo>
                    <a:pt x="1495" y="1222"/>
                  </a:lnTo>
                  <a:lnTo>
                    <a:pt x="1499" y="1226"/>
                  </a:lnTo>
                  <a:lnTo>
                    <a:pt x="1503" y="1228"/>
                  </a:lnTo>
                  <a:lnTo>
                    <a:pt x="1507" y="1231"/>
                  </a:lnTo>
                  <a:lnTo>
                    <a:pt x="1511" y="1232"/>
                  </a:lnTo>
                  <a:lnTo>
                    <a:pt x="1516" y="1231"/>
                  </a:lnTo>
                  <a:lnTo>
                    <a:pt x="1520" y="1230"/>
                  </a:lnTo>
                  <a:lnTo>
                    <a:pt x="1524" y="1227"/>
                  </a:lnTo>
                  <a:lnTo>
                    <a:pt x="1528" y="1224"/>
                  </a:lnTo>
                  <a:lnTo>
                    <a:pt x="1536" y="1216"/>
                  </a:lnTo>
                  <a:lnTo>
                    <a:pt x="1542" y="1207"/>
                  </a:lnTo>
                  <a:lnTo>
                    <a:pt x="1556" y="1228"/>
                  </a:lnTo>
                  <a:lnTo>
                    <a:pt x="1568" y="1250"/>
                  </a:lnTo>
                  <a:lnTo>
                    <a:pt x="1572" y="1255"/>
                  </a:lnTo>
                  <a:lnTo>
                    <a:pt x="1576" y="1259"/>
                  </a:lnTo>
                  <a:lnTo>
                    <a:pt x="1580" y="1263"/>
                  </a:lnTo>
                  <a:lnTo>
                    <a:pt x="1586" y="1267"/>
                  </a:lnTo>
                  <a:lnTo>
                    <a:pt x="1591" y="1270"/>
                  </a:lnTo>
                  <a:lnTo>
                    <a:pt x="1598" y="1272"/>
                  </a:lnTo>
                  <a:lnTo>
                    <a:pt x="1606" y="1274"/>
                  </a:lnTo>
                  <a:lnTo>
                    <a:pt x="1614" y="1274"/>
                  </a:lnTo>
                  <a:lnTo>
                    <a:pt x="1620" y="1274"/>
                  </a:lnTo>
                  <a:lnTo>
                    <a:pt x="1626" y="1271"/>
                  </a:lnTo>
                  <a:lnTo>
                    <a:pt x="1631" y="1268"/>
                  </a:lnTo>
                  <a:lnTo>
                    <a:pt x="1635" y="1264"/>
                  </a:lnTo>
                  <a:lnTo>
                    <a:pt x="1639" y="1258"/>
                  </a:lnTo>
                  <a:lnTo>
                    <a:pt x="1642" y="1251"/>
                  </a:lnTo>
                  <a:lnTo>
                    <a:pt x="1643" y="1242"/>
                  </a:lnTo>
                  <a:lnTo>
                    <a:pt x="1644" y="1232"/>
                  </a:lnTo>
                  <a:lnTo>
                    <a:pt x="1644" y="1199"/>
                  </a:lnTo>
                  <a:lnTo>
                    <a:pt x="1644" y="1164"/>
                  </a:lnTo>
                  <a:lnTo>
                    <a:pt x="1643" y="1146"/>
                  </a:lnTo>
                  <a:lnTo>
                    <a:pt x="1642" y="1127"/>
                  </a:lnTo>
                  <a:lnTo>
                    <a:pt x="1638" y="1107"/>
                  </a:lnTo>
                  <a:lnTo>
                    <a:pt x="1632" y="1087"/>
                  </a:lnTo>
                  <a:lnTo>
                    <a:pt x="1630" y="1082"/>
                  </a:lnTo>
                  <a:lnTo>
                    <a:pt x="1628" y="1078"/>
                  </a:lnTo>
                  <a:lnTo>
                    <a:pt x="1626" y="1075"/>
                  </a:lnTo>
                  <a:lnTo>
                    <a:pt x="1623" y="1072"/>
                  </a:lnTo>
                  <a:lnTo>
                    <a:pt x="1616" y="1070"/>
                  </a:lnTo>
                  <a:lnTo>
                    <a:pt x="1608" y="1067"/>
                  </a:lnTo>
                  <a:lnTo>
                    <a:pt x="1602" y="1063"/>
                  </a:lnTo>
                  <a:lnTo>
                    <a:pt x="1595" y="1058"/>
                  </a:lnTo>
                  <a:lnTo>
                    <a:pt x="1592" y="1054"/>
                  </a:lnTo>
                  <a:lnTo>
                    <a:pt x="1591" y="1048"/>
                  </a:lnTo>
                  <a:lnTo>
                    <a:pt x="1590" y="1042"/>
                  </a:lnTo>
                  <a:lnTo>
                    <a:pt x="1590" y="1032"/>
                  </a:lnTo>
                  <a:lnTo>
                    <a:pt x="1591" y="1019"/>
                  </a:lnTo>
                  <a:lnTo>
                    <a:pt x="1594" y="1006"/>
                  </a:lnTo>
                  <a:lnTo>
                    <a:pt x="1598" y="994"/>
                  </a:lnTo>
                  <a:lnTo>
                    <a:pt x="1604" y="982"/>
                  </a:lnTo>
                  <a:lnTo>
                    <a:pt x="1611" y="971"/>
                  </a:lnTo>
                  <a:lnTo>
                    <a:pt x="1620" y="960"/>
                  </a:lnTo>
                  <a:lnTo>
                    <a:pt x="1628" y="950"/>
                  </a:lnTo>
                  <a:lnTo>
                    <a:pt x="1639" y="939"/>
                  </a:lnTo>
                  <a:lnTo>
                    <a:pt x="1659" y="919"/>
                  </a:lnTo>
                  <a:lnTo>
                    <a:pt x="1679" y="898"/>
                  </a:lnTo>
                  <a:lnTo>
                    <a:pt x="1688" y="886"/>
                  </a:lnTo>
                  <a:lnTo>
                    <a:pt x="1696" y="874"/>
                  </a:lnTo>
                  <a:lnTo>
                    <a:pt x="1704" y="860"/>
                  </a:lnTo>
                  <a:lnTo>
                    <a:pt x="1710" y="846"/>
                  </a:lnTo>
                  <a:lnTo>
                    <a:pt x="1704" y="846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accent1">
                  <a:lumMod val="20000"/>
                  <a:lumOff val="8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95" b="0" i="0" u="none" strike="noStrike" kern="1200" cap="none" spc="0" normalizeH="0" baseline="0" noProof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2" name="Freeform 11"/>
            <p:cNvSpPr>
              <a:spLocks/>
            </p:cNvSpPr>
            <p:nvPr/>
          </p:nvSpPr>
          <p:spPr bwMode="auto">
            <a:xfrm>
              <a:off x="4753268" y="2513174"/>
              <a:ext cx="45984" cy="62019"/>
            </a:xfrm>
            <a:custGeom>
              <a:avLst/>
              <a:gdLst>
                <a:gd name="T0" fmla="*/ 271 w 644"/>
                <a:gd name="T1" fmla="*/ 715 h 860"/>
                <a:gd name="T2" fmla="*/ 229 w 644"/>
                <a:gd name="T3" fmla="*/ 682 h 860"/>
                <a:gd name="T4" fmla="*/ 189 w 644"/>
                <a:gd name="T5" fmla="*/ 680 h 860"/>
                <a:gd name="T6" fmla="*/ 152 w 644"/>
                <a:gd name="T7" fmla="*/ 658 h 860"/>
                <a:gd name="T8" fmla="*/ 89 w 644"/>
                <a:gd name="T9" fmla="*/ 604 h 860"/>
                <a:gd name="T10" fmla="*/ 49 w 644"/>
                <a:gd name="T11" fmla="*/ 574 h 860"/>
                <a:gd name="T12" fmla="*/ 37 w 644"/>
                <a:gd name="T13" fmla="*/ 526 h 860"/>
                <a:gd name="T14" fmla="*/ 31 w 644"/>
                <a:gd name="T15" fmla="*/ 486 h 860"/>
                <a:gd name="T16" fmla="*/ 45 w 644"/>
                <a:gd name="T17" fmla="*/ 469 h 860"/>
                <a:gd name="T18" fmla="*/ 73 w 644"/>
                <a:gd name="T19" fmla="*/ 454 h 860"/>
                <a:gd name="T20" fmla="*/ 77 w 644"/>
                <a:gd name="T21" fmla="*/ 429 h 860"/>
                <a:gd name="T22" fmla="*/ 53 w 644"/>
                <a:gd name="T23" fmla="*/ 393 h 860"/>
                <a:gd name="T24" fmla="*/ 7 w 644"/>
                <a:gd name="T25" fmla="*/ 350 h 860"/>
                <a:gd name="T26" fmla="*/ 1 w 644"/>
                <a:gd name="T27" fmla="*/ 310 h 860"/>
                <a:gd name="T28" fmla="*/ 24 w 644"/>
                <a:gd name="T29" fmla="*/ 269 h 860"/>
                <a:gd name="T30" fmla="*/ 67 w 644"/>
                <a:gd name="T31" fmla="*/ 217 h 860"/>
                <a:gd name="T32" fmla="*/ 65 w 644"/>
                <a:gd name="T33" fmla="*/ 133 h 860"/>
                <a:gd name="T34" fmla="*/ 57 w 644"/>
                <a:gd name="T35" fmla="*/ 122 h 860"/>
                <a:gd name="T36" fmla="*/ 39 w 644"/>
                <a:gd name="T37" fmla="*/ 111 h 860"/>
                <a:gd name="T38" fmla="*/ 37 w 644"/>
                <a:gd name="T39" fmla="*/ 94 h 860"/>
                <a:gd name="T40" fmla="*/ 67 w 644"/>
                <a:gd name="T41" fmla="*/ 33 h 860"/>
                <a:gd name="T42" fmla="*/ 91 w 644"/>
                <a:gd name="T43" fmla="*/ 6 h 860"/>
                <a:gd name="T44" fmla="*/ 112 w 644"/>
                <a:gd name="T45" fmla="*/ 26 h 860"/>
                <a:gd name="T46" fmla="*/ 139 w 644"/>
                <a:gd name="T47" fmla="*/ 34 h 860"/>
                <a:gd name="T48" fmla="*/ 156 w 644"/>
                <a:gd name="T49" fmla="*/ 23 h 860"/>
                <a:gd name="T50" fmla="*/ 172 w 644"/>
                <a:gd name="T51" fmla="*/ 2 h 860"/>
                <a:gd name="T52" fmla="*/ 195 w 644"/>
                <a:gd name="T53" fmla="*/ 0 h 860"/>
                <a:gd name="T54" fmla="*/ 228 w 644"/>
                <a:gd name="T55" fmla="*/ 19 h 860"/>
                <a:gd name="T56" fmla="*/ 249 w 644"/>
                <a:gd name="T57" fmla="*/ 63 h 860"/>
                <a:gd name="T58" fmla="*/ 280 w 644"/>
                <a:gd name="T59" fmla="*/ 87 h 860"/>
                <a:gd name="T60" fmla="*/ 308 w 644"/>
                <a:gd name="T61" fmla="*/ 85 h 860"/>
                <a:gd name="T62" fmla="*/ 339 w 644"/>
                <a:gd name="T63" fmla="*/ 82 h 860"/>
                <a:gd name="T64" fmla="*/ 349 w 644"/>
                <a:gd name="T65" fmla="*/ 111 h 860"/>
                <a:gd name="T66" fmla="*/ 389 w 644"/>
                <a:gd name="T67" fmla="*/ 123 h 860"/>
                <a:gd name="T68" fmla="*/ 433 w 644"/>
                <a:gd name="T69" fmla="*/ 145 h 860"/>
                <a:gd name="T70" fmla="*/ 445 w 644"/>
                <a:gd name="T71" fmla="*/ 183 h 860"/>
                <a:gd name="T72" fmla="*/ 481 w 644"/>
                <a:gd name="T73" fmla="*/ 222 h 860"/>
                <a:gd name="T74" fmla="*/ 518 w 644"/>
                <a:gd name="T75" fmla="*/ 255 h 860"/>
                <a:gd name="T76" fmla="*/ 536 w 644"/>
                <a:gd name="T77" fmla="*/ 289 h 860"/>
                <a:gd name="T78" fmla="*/ 530 w 644"/>
                <a:gd name="T79" fmla="*/ 330 h 860"/>
                <a:gd name="T80" fmla="*/ 518 w 644"/>
                <a:gd name="T81" fmla="*/ 358 h 860"/>
                <a:gd name="T82" fmla="*/ 521 w 644"/>
                <a:gd name="T83" fmla="*/ 397 h 860"/>
                <a:gd name="T84" fmla="*/ 548 w 644"/>
                <a:gd name="T85" fmla="*/ 459 h 860"/>
                <a:gd name="T86" fmla="*/ 604 w 644"/>
                <a:gd name="T87" fmla="*/ 535 h 860"/>
                <a:gd name="T88" fmla="*/ 641 w 644"/>
                <a:gd name="T89" fmla="*/ 604 h 860"/>
                <a:gd name="T90" fmla="*/ 644 w 644"/>
                <a:gd name="T91" fmla="*/ 643 h 860"/>
                <a:gd name="T92" fmla="*/ 636 w 644"/>
                <a:gd name="T93" fmla="*/ 679 h 860"/>
                <a:gd name="T94" fmla="*/ 592 w 644"/>
                <a:gd name="T95" fmla="*/ 696 h 860"/>
                <a:gd name="T96" fmla="*/ 502 w 644"/>
                <a:gd name="T97" fmla="*/ 703 h 860"/>
                <a:gd name="T98" fmla="*/ 481 w 644"/>
                <a:gd name="T99" fmla="*/ 766 h 860"/>
                <a:gd name="T100" fmla="*/ 469 w 644"/>
                <a:gd name="T101" fmla="*/ 782 h 860"/>
                <a:gd name="T102" fmla="*/ 463 w 644"/>
                <a:gd name="T103" fmla="*/ 823 h 860"/>
                <a:gd name="T104" fmla="*/ 469 w 644"/>
                <a:gd name="T105" fmla="*/ 860 h 860"/>
                <a:gd name="T106" fmla="*/ 424 w 644"/>
                <a:gd name="T107" fmla="*/ 847 h 860"/>
                <a:gd name="T108" fmla="*/ 407 w 644"/>
                <a:gd name="T109" fmla="*/ 831 h 860"/>
                <a:gd name="T110" fmla="*/ 379 w 644"/>
                <a:gd name="T111" fmla="*/ 824 h 860"/>
                <a:gd name="T112" fmla="*/ 332 w 644"/>
                <a:gd name="T113" fmla="*/ 816 h 860"/>
                <a:gd name="T114" fmla="*/ 305 w 644"/>
                <a:gd name="T115" fmla="*/ 779 h 860"/>
                <a:gd name="T116" fmla="*/ 265 w 644"/>
                <a:gd name="T117" fmla="*/ 758 h 86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44"/>
                <a:gd name="T178" fmla="*/ 0 h 860"/>
                <a:gd name="T179" fmla="*/ 644 w 644"/>
                <a:gd name="T180" fmla="*/ 860 h 86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44" h="860">
                  <a:moveTo>
                    <a:pt x="265" y="758"/>
                  </a:moveTo>
                  <a:lnTo>
                    <a:pt x="280" y="740"/>
                  </a:lnTo>
                  <a:lnTo>
                    <a:pt x="289" y="727"/>
                  </a:lnTo>
                  <a:lnTo>
                    <a:pt x="271" y="715"/>
                  </a:lnTo>
                  <a:lnTo>
                    <a:pt x="253" y="703"/>
                  </a:lnTo>
                  <a:lnTo>
                    <a:pt x="245" y="696"/>
                  </a:lnTo>
                  <a:lnTo>
                    <a:pt x="237" y="690"/>
                  </a:lnTo>
                  <a:lnTo>
                    <a:pt x="229" y="682"/>
                  </a:lnTo>
                  <a:lnTo>
                    <a:pt x="223" y="674"/>
                  </a:lnTo>
                  <a:lnTo>
                    <a:pt x="211" y="679"/>
                  </a:lnTo>
                  <a:lnTo>
                    <a:pt x="200" y="680"/>
                  </a:lnTo>
                  <a:lnTo>
                    <a:pt x="189" y="680"/>
                  </a:lnTo>
                  <a:lnTo>
                    <a:pt x="180" y="676"/>
                  </a:lnTo>
                  <a:lnTo>
                    <a:pt x="171" y="672"/>
                  </a:lnTo>
                  <a:lnTo>
                    <a:pt x="161" y="666"/>
                  </a:lnTo>
                  <a:lnTo>
                    <a:pt x="152" y="658"/>
                  </a:lnTo>
                  <a:lnTo>
                    <a:pt x="143" y="650"/>
                  </a:lnTo>
                  <a:lnTo>
                    <a:pt x="123" y="631"/>
                  </a:lnTo>
                  <a:lnTo>
                    <a:pt x="101" y="612"/>
                  </a:lnTo>
                  <a:lnTo>
                    <a:pt x="89" y="604"/>
                  </a:lnTo>
                  <a:lnTo>
                    <a:pt x="77" y="598"/>
                  </a:lnTo>
                  <a:lnTo>
                    <a:pt x="64" y="593"/>
                  </a:lnTo>
                  <a:lnTo>
                    <a:pt x="48" y="589"/>
                  </a:lnTo>
                  <a:lnTo>
                    <a:pt x="49" y="574"/>
                  </a:lnTo>
                  <a:lnTo>
                    <a:pt x="48" y="561"/>
                  </a:lnTo>
                  <a:lnTo>
                    <a:pt x="45" y="549"/>
                  </a:lnTo>
                  <a:lnTo>
                    <a:pt x="41" y="537"/>
                  </a:lnTo>
                  <a:lnTo>
                    <a:pt x="37" y="526"/>
                  </a:lnTo>
                  <a:lnTo>
                    <a:pt x="33" y="515"/>
                  </a:lnTo>
                  <a:lnTo>
                    <a:pt x="31" y="503"/>
                  </a:lnTo>
                  <a:lnTo>
                    <a:pt x="31" y="493"/>
                  </a:lnTo>
                  <a:lnTo>
                    <a:pt x="31" y="486"/>
                  </a:lnTo>
                  <a:lnTo>
                    <a:pt x="32" y="482"/>
                  </a:lnTo>
                  <a:lnTo>
                    <a:pt x="35" y="478"/>
                  </a:lnTo>
                  <a:lnTo>
                    <a:pt x="37" y="474"/>
                  </a:lnTo>
                  <a:lnTo>
                    <a:pt x="45" y="469"/>
                  </a:lnTo>
                  <a:lnTo>
                    <a:pt x="55" y="466"/>
                  </a:lnTo>
                  <a:lnTo>
                    <a:pt x="63" y="462"/>
                  </a:lnTo>
                  <a:lnTo>
                    <a:pt x="71" y="457"/>
                  </a:lnTo>
                  <a:lnTo>
                    <a:pt x="73" y="454"/>
                  </a:lnTo>
                  <a:lnTo>
                    <a:pt x="76" y="450"/>
                  </a:lnTo>
                  <a:lnTo>
                    <a:pt x="77" y="445"/>
                  </a:lnTo>
                  <a:lnTo>
                    <a:pt x="79" y="438"/>
                  </a:lnTo>
                  <a:lnTo>
                    <a:pt x="77" y="429"/>
                  </a:lnTo>
                  <a:lnTo>
                    <a:pt x="75" y="421"/>
                  </a:lnTo>
                  <a:lnTo>
                    <a:pt x="71" y="413"/>
                  </a:lnTo>
                  <a:lnTo>
                    <a:pt x="67" y="406"/>
                  </a:lnTo>
                  <a:lnTo>
                    <a:pt x="53" y="393"/>
                  </a:lnTo>
                  <a:lnTo>
                    <a:pt x="39" y="382"/>
                  </a:lnTo>
                  <a:lnTo>
                    <a:pt x="25" y="370"/>
                  </a:lnTo>
                  <a:lnTo>
                    <a:pt x="12" y="357"/>
                  </a:lnTo>
                  <a:lnTo>
                    <a:pt x="7" y="350"/>
                  </a:lnTo>
                  <a:lnTo>
                    <a:pt x="4" y="342"/>
                  </a:lnTo>
                  <a:lnTo>
                    <a:pt x="1" y="334"/>
                  </a:lnTo>
                  <a:lnTo>
                    <a:pt x="0" y="325"/>
                  </a:lnTo>
                  <a:lnTo>
                    <a:pt x="1" y="310"/>
                  </a:lnTo>
                  <a:lnTo>
                    <a:pt x="4" y="297"/>
                  </a:lnTo>
                  <a:lnTo>
                    <a:pt x="8" y="286"/>
                  </a:lnTo>
                  <a:lnTo>
                    <a:pt x="15" y="277"/>
                  </a:lnTo>
                  <a:lnTo>
                    <a:pt x="24" y="269"/>
                  </a:lnTo>
                  <a:lnTo>
                    <a:pt x="36" y="262"/>
                  </a:lnTo>
                  <a:lnTo>
                    <a:pt x="49" y="257"/>
                  </a:lnTo>
                  <a:lnTo>
                    <a:pt x="67" y="251"/>
                  </a:lnTo>
                  <a:lnTo>
                    <a:pt x="67" y="217"/>
                  </a:lnTo>
                  <a:lnTo>
                    <a:pt x="67" y="187"/>
                  </a:lnTo>
                  <a:lnTo>
                    <a:pt x="67" y="163"/>
                  </a:lnTo>
                  <a:lnTo>
                    <a:pt x="67" y="138"/>
                  </a:lnTo>
                  <a:lnTo>
                    <a:pt x="65" y="133"/>
                  </a:lnTo>
                  <a:lnTo>
                    <a:pt x="65" y="130"/>
                  </a:lnTo>
                  <a:lnTo>
                    <a:pt x="64" y="127"/>
                  </a:lnTo>
                  <a:lnTo>
                    <a:pt x="61" y="125"/>
                  </a:lnTo>
                  <a:lnTo>
                    <a:pt x="57" y="122"/>
                  </a:lnTo>
                  <a:lnTo>
                    <a:pt x="51" y="119"/>
                  </a:lnTo>
                  <a:lnTo>
                    <a:pt x="45" y="117"/>
                  </a:lnTo>
                  <a:lnTo>
                    <a:pt x="41" y="114"/>
                  </a:lnTo>
                  <a:lnTo>
                    <a:pt x="39" y="111"/>
                  </a:lnTo>
                  <a:lnTo>
                    <a:pt x="37" y="109"/>
                  </a:lnTo>
                  <a:lnTo>
                    <a:pt x="36" y="106"/>
                  </a:lnTo>
                  <a:lnTo>
                    <a:pt x="36" y="101"/>
                  </a:lnTo>
                  <a:lnTo>
                    <a:pt x="37" y="94"/>
                  </a:lnTo>
                  <a:lnTo>
                    <a:pt x="43" y="81"/>
                  </a:lnTo>
                  <a:lnTo>
                    <a:pt x="49" y="66"/>
                  </a:lnTo>
                  <a:lnTo>
                    <a:pt x="59" y="49"/>
                  </a:lnTo>
                  <a:lnTo>
                    <a:pt x="67" y="33"/>
                  </a:lnTo>
                  <a:lnTo>
                    <a:pt x="75" y="18"/>
                  </a:lnTo>
                  <a:lnTo>
                    <a:pt x="80" y="9"/>
                  </a:lnTo>
                  <a:lnTo>
                    <a:pt x="84" y="5"/>
                  </a:lnTo>
                  <a:lnTo>
                    <a:pt x="91" y="6"/>
                  </a:lnTo>
                  <a:lnTo>
                    <a:pt x="96" y="10"/>
                  </a:lnTo>
                  <a:lnTo>
                    <a:pt x="101" y="14"/>
                  </a:lnTo>
                  <a:lnTo>
                    <a:pt x="107" y="19"/>
                  </a:lnTo>
                  <a:lnTo>
                    <a:pt x="112" y="26"/>
                  </a:lnTo>
                  <a:lnTo>
                    <a:pt x="117" y="30"/>
                  </a:lnTo>
                  <a:lnTo>
                    <a:pt x="124" y="34"/>
                  </a:lnTo>
                  <a:lnTo>
                    <a:pt x="132" y="35"/>
                  </a:lnTo>
                  <a:lnTo>
                    <a:pt x="139" y="34"/>
                  </a:lnTo>
                  <a:lnTo>
                    <a:pt x="144" y="34"/>
                  </a:lnTo>
                  <a:lnTo>
                    <a:pt x="148" y="31"/>
                  </a:lnTo>
                  <a:lnTo>
                    <a:pt x="151" y="30"/>
                  </a:lnTo>
                  <a:lnTo>
                    <a:pt x="156" y="23"/>
                  </a:lnTo>
                  <a:lnTo>
                    <a:pt x="160" y="17"/>
                  </a:lnTo>
                  <a:lnTo>
                    <a:pt x="163" y="10"/>
                  </a:lnTo>
                  <a:lnTo>
                    <a:pt x="168" y="5"/>
                  </a:lnTo>
                  <a:lnTo>
                    <a:pt x="172" y="2"/>
                  </a:lnTo>
                  <a:lnTo>
                    <a:pt x="176" y="1"/>
                  </a:lnTo>
                  <a:lnTo>
                    <a:pt x="180" y="0"/>
                  </a:lnTo>
                  <a:lnTo>
                    <a:pt x="187" y="0"/>
                  </a:lnTo>
                  <a:lnTo>
                    <a:pt x="195" y="0"/>
                  </a:lnTo>
                  <a:lnTo>
                    <a:pt x="203" y="1"/>
                  </a:lnTo>
                  <a:lnTo>
                    <a:pt x="209" y="4"/>
                  </a:lnTo>
                  <a:lnTo>
                    <a:pt x="216" y="8"/>
                  </a:lnTo>
                  <a:lnTo>
                    <a:pt x="228" y="19"/>
                  </a:lnTo>
                  <a:lnTo>
                    <a:pt x="241" y="35"/>
                  </a:lnTo>
                  <a:lnTo>
                    <a:pt x="243" y="45"/>
                  </a:lnTo>
                  <a:lnTo>
                    <a:pt x="245" y="54"/>
                  </a:lnTo>
                  <a:lnTo>
                    <a:pt x="249" y="63"/>
                  </a:lnTo>
                  <a:lnTo>
                    <a:pt x="256" y="71"/>
                  </a:lnTo>
                  <a:lnTo>
                    <a:pt x="263" y="78"/>
                  </a:lnTo>
                  <a:lnTo>
                    <a:pt x="272" y="85"/>
                  </a:lnTo>
                  <a:lnTo>
                    <a:pt x="280" y="87"/>
                  </a:lnTo>
                  <a:lnTo>
                    <a:pt x="289" y="89"/>
                  </a:lnTo>
                  <a:lnTo>
                    <a:pt x="297" y="89"/>
                  </a:lnTo>
                  <a:lnTo>
                    <a:pt x="304" y="87"/>
                  </a:lnTo>
                  <a:lnTo>
                    <a:pt x="308" y="85"/>
                  </a:lnTo>
                  <a:lnTo>
                    <a:pt x="313" y="82"/>
                  </a:lnTo>
                  <a:lnTo>
                    <a:pt x="323" y="77"/>
                  </a:lnTo>
                  <a:lnTo>
                    <a:pt x="337" y="71"/>
                  </a:lnTo>
                  <a:lnTo>
                    <a:pt x="339" y="82"/>
                  </a:lnTo>
                  <a:lnTo>
                    <a:pt x="341" y="93"/>
                  </a:lnTo>
                  <a:lnTo>
                    <a:pt x="343" y="99"/>
                  </a:lnTo>
                  <a:lnTo>
                    <a:pt x="347" y="106"/>
                  </a:lnTo>
                  <a:lnTo>
                    <a:pt x="349" y="111"/>
                  </a:lnTo>
                  <a:lnTo>
                    <a:pt x="353" y="114"/>
                  </a:lnTo>
                  <a:lnTo>
                    <a:pt x="359" y="117"/>
                  </a:lnTo>
                  <a:lnTo>
                    <a:pt x="364" y="119"/>
                  </a:lnTo>
                  <a:lnTo>
                    <a:pt x="389" y="123"/>
                  </a:lnTo>
                  <a:lnTo>
                    <a:pt x="421" y="131"/>
                  </a:lnTo>
                  <a:lnTo>
                    <a:pt x="428" y="135"/>
                  </a:lnTo>
                  <a:lnTo>
                    <a:pt x="431" y="141"/>
                  </a:lnTo>
                  <a:lnTo>
                    <a:pt x="433" y="145"/>
                  </a:lnTo>
                  <a:lnTo>
                    <a:pt x="435" y="150"/>
                  </a:lnTo>
                  <a:lnTo>
                    <a:pt x="437" y="161"/>
                  </a:lnTo>
                  <a:lnTo>
                    <a:pt x="440" y="174"/>
                  </a:lnTo>
                  <a:lnTo>
                    <a:pt x="445" y="183"/>
                  </a:lnTo>
                  <a:lnTo>
                    <a:pt x="451" y="193"/>
                  </a:lnTo>
                  <a:lnTo>
                    <a:pt x="457" y="201"/>
                  </a:lnTo>
                  <a:lnTo>
                    <a:pt x="465" y="207"/>
                  </a:lnTo>
                  <a:lnTo>
                    <a:pt x="481" y="222"/>
                  </a:lnTo>
                  <a:lnTo>
                    <a:pt x="497" y="234"/>
                  </a:lnTo>
                  <a:lnTo>
                    <a:pt x="505" y="241"/>
                  </a:lnTo>
                  <a:lnTo>
                    <a:pt x="512" y="247"/>
                  </a:lnTo>
                  <a:lnTo>
                    <a:pt x="518" y="255"/>
                  </a:lnTo>
                  <a:lnTo>
                    <a:pt x="524" y="262"/>
                  </a:lnTo>
                  <a:lnTo>
                    <a:pt x="529" y="270"/>
                  </a:lnTo>
                  <a:lnTo>
                    <a:pt x="533" y="279"/>
                  </a:lnTo>
                  <a:lnTo>
                    <a:pt x="536" y="289"/>
                  </a:lnTo>
                  <a:lnTo>
                    <a:pt x="536" y="301"/>
                  </a:lnTo>
                  <a:lnTo>
                    <a:pt x="536" y="313"/>
                  </a:lnTo>
                  <a:lnTo>
                    <a:pt x="533" y="322"/>
                  </a:lnTo>
                  <a:lnTo>
                    <a:pt x="530" y="330"/>
                  </a:lnTo>
                  <a:lnTo>
                    <a:pt x="526" y="338"/>
                  </a:lnTo>
                  <a:lnTo>
                    <a:pt x="524" y="345"/>
                  </a:lnTo>
                  <a:lnTo>
                    <a:pt x="521" y="351"/>
                  </a:lnTo>
                  <a:lnTo>
                    <a:pt x="518" y="358"/>
                  </a:lnTo>
                  <a:lnTo>
                    <a:pt x="518" y="366"/>
                  </a:lnTo>
                  <a:lnTo>
                    <a:pt x="518" y="377"/>
                  </a:lnTo>
                  <a:lnTo>
                    <a:pt x="520" y="387"/>
                  </a:lnTo>
                  <a:lnTo>
                    <a:pt x="521" y="397"/>
                  </a:lnTo>
                  <a:lnTo>
                    <a:pt x="524" y="406"/>
                  </a:lnTo>
                  <a:lnTo>
                    <a:pt x="529" y="425"/>
                  </a:lnTo>
                  <a:lnTo>
                    <a:pt x="537" y="442"/>
                  </a:lnTo>
                  <a:lnTo>
                    <a:pt x="548" y="459"/>
                  </a:lnTo>
                  <a:lnTo>
                    <a:pt x="558" y="475"/>
                  </a:lnTo>
                  <a:lnTo>
                    <a:pt x="569" y="490"/>
                  </a:lnTo>
                  <a:lnTo>
                    <a:pt x="581" y="506"/>
                  </a:lnTo>
                  <a:lnTo>
                    <a:pt x="604" y="535"/>
                  </a:lnTo>
                  <a:lnTo>
                    <a:pt x="625" y="566"/>
                  </a:lnTo>
                  <a:lnTo>
                    <a:pt x="633" y="581"/>
                  </a:lnTo>
                  <a:lnTo>
                    <a:pt x="638" y="597"/>
                  </a:lnTo>
                  <a:lnTo>
                    <a:pt x="641" y="604"/>
                  </a:lnTo>
                  <a:lnTo>
                    <a:pt x="642" y="614"/>
                  </a:lnTo>
                  <a:lnTo>
                    <a:pt x="644" y="622"/>
                  </a:lnTo>
                  <a:lnTo>
                    <a:pt x="644" y="631"/>
                  </a:lnTo>
                  <a:lnTo>
                    <a:pt x="644" y="643"/>
                  </a:lnTo>
                  <a:lnTo>
                    <a:pt x="644" y="652"/>
                  </a:lnTo>
                  <a:lnTo>
                    <a:pt x="644" y="662"/>
                  </a:lnTo>
                  <a:lnTo>
                    <a:pt x="644" y="674"/>
                  </a:lnTo>
                  <a:lnTo>
                    <a:pt x="636" y="679"/>
                  </a:lnTo>
                  <a:lnTo>
                    <a:pt x="628" y="683"/>
                  </a:lnTo>
                  <a:lnTo>
                    <a:pt x="620" y="687"/>
                  </a:lnTo>
                  <a:lnTo>
                    <a:pt x="610" y="691"/>
                  </a:lnTo>
                  <a:lnTo>
                    <a:pt x="592" y="696"/>
                  </a:lnTo>
                  <a:lnTo>
                    <a:pt x="572" y="699"/>
                  </a:lnTo>
                  <a:lnTo>
                    <a:pt x="549" y="702"/>
                  </a:lnTo>
                  <a:lnTo>
                    <a:pt x="526" y="703"/>
                  </a:lnTo>
                  <a:lnTo>
                    <a:pt x="502" y="703"/>
                  </a:lnTo>
                  <a:lnTo>
                    <a:pt x="476" y="703"/>
                  </a:lnTo>
                  <a:lnTo>
                    <a:pt x="506" y="758"/>
                  </a:lnTo>
                  <a:lnTo>
                    <a:pt x="493" y="762"/>
                  </a:lnTo>
                  <a:lnTo>
                    <a:pt x="481" y="766"/>
                  </a:lnTo>
                  <a:lnTo>
                    <a:pt x="476" y="768"/>
                  </a:lnTo>
                  <a:lnTo>
                    <a:pt x="473" y="771"/>
                  </a:lnTo>
                  <a:lnTo>
                    <a:pt x="470" y="776"/>
                  </a:lnTo>
                  <a:lnTo>
                    <a:pt x="469" y="782"/>
                  </a:lnTo>
                  <a:lnTo>
                    <a:pt x="469" y="798"/>
                  </a:lnTo>
                  <a:lnTo>
                    <a:pt x="468" y="808"/>
                  </a:lnTo>
                  <a:lnTo>
                    <a:pt x="465" y="816"/>
                  </a:lnTo>
                  <a:lnTo>
                    <a:pt x="463" y="823"/>
                  </a:lnTo>
                  <a:lnTo>
                    <a:pt x="461" y="830"/>
                  </a:lnTo>
                  <a:lnTo>
                    <a:pt x="463" y="836"/>
                  </a:lnTo>
                  <a:lnTo>
                    <a:pt x="465" y="847"/>
                  </a:lnTo>
                  <a:lnTo>
                    <a:pt x="469" y="860"/>
                  </a:lnTo>
                  <a:lnTo>
                    <a:pt x="457" y="848"/>
                  </a:lnTo>
                  <a:lnTo>
                    <a:pt x="445" y="848"/>
                  </a:lnTo>
                  <a:lnTo>
                    <a:pt x="428" y="848"/>
                  </a:lnTo>
                  <a:lnTo>
                    <a:pt x="424" y="847"/>
                  </a:lnTo>
                  <a:lnTo>
                    <a:pt x="420" y="844"/>
                  </a:lnTo>
                  <a:lnTo>
                    <a:pt x="416" y="840"/>
                  </a:lnTo>
                  <a:lnTo>
                    <a:pt x="411" y="836"/>
                  </a:lnTo>
                  <a:lnTo>
                    <a:pt x="407" y="831"/>
                  </a:lnTo>
                  <a:lnTo>
                    <a:pt x="400" y="827"/>
                  </a:lnTo>
                  <a:lnTo>
                    <a:pt x="393" y="824"/>
                  </a:lnTo>
                  <a:lnTo>
                    <a:pt x="385" y="824"/>
                  </a:lnTo>
                  <a:lnTo>
                    <a:pt x="379" y="824"/>
                  </a:lnTo>
                  <a:lnTo>
                    <a:pt x="368" y="824"/>
                  </a:lnTo>
                  <a:lnTo>
                    <a:pt x="355" y="827"/>
                  </a:lnTo>
                  <a:lnTo>
                    <a:pt x="337" y="830"/>
                  </a:lnTo>
                  <a:lnTo>
                    <a:pt x="332" y="816"/>
                  </a:lnTo>
                  <a:lnTo>
                    <a:pt x="327" y="806"/>
                  </a:lnTo>
                  <a:lnTo>
                    <a:pt x="320" y="795"/>
                  </a:lnTo>
                  <a:lnTo>
                    <a:pt x="313" y="786"/>
                  </a:lnTo>
                  <a:lnTo>
                    <a:pt x="305" y="779"/>
                  </a:lnTo>
                  <a:lnTo>
                    <a:pt x="295" y="774"/>
                  </a:lnTo>
                  <a:lnTo>
                    <a:pt x="284" y="771"/>
                  </a:lnTo>
                  <a:lnTo>
                    <a:pt x="271" y="770"/>
                  </a:lnTo>
                  <a:lnTo>
                    <a:pt x="265" y="758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accent1">
                  <a:lumMod val="20000"/>
                  <a:lumOff val="8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95" b="0" i="0" u="none" strike="noStrike" kern="1200" cap="none" spc="0" normalizeH="0" baseline="0" noProof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3" name="Freeform 39"/>
            <p:cNvSpPr>
              <a:spLocks/>
            </p:cNvSpPr>
            <p:nvPr/>
          </p:nvSpPr>
          <p:spPr bwMode="auto">
            <a:xfrm>
              <a:off x="4826606" y="2225245"/>
              <a:ext cx="73810" cy="66736"/>
            </a:xfrm>
            <a:custGeom>
              <a:avLst/>
              <a:gdLst>
                <a:gd name="T0" fmla="*/ 423 w 1023"/>
                <a:gd name="T1" fmla="*/ 18 h 926"/>
                <a:gd name="T2" fmla="*/ 322 w 1023"/>
                <a:gd name="T3" fmla="*/ 40 h 926"/>
                <a:gd name="T4" fmla="*/ 294 w 1023"/>
                <a:gd name="T5" fmla="*/ 156 h 926"/>
                <a:gd name="T6" fmla="*/ 314 w 1023"/>
                <a:gd name="T7" fmla="*/ 226 h 926"/>
                <a:gd name="T8" fmla="*/ 353 w 1023"/>
                <a:gd name="T9" fmla="*/ 289 h 926"/>
                <a:gd name="T10" fmla="*/ 347 w 1023"/>
                <a:gd name="T11" fmla="*/ 340 h 926"/>
                <a:gd name="T12" fmla="*/ 323 w 1023"/>
                <a:gd name="T13" fmla="*/ 370 h 926"/>
                <a:gd name="T14" fmla="*/ 306 w 1023"/>
                <a:gd name="T15" fmla="*/ 346 h 926"/>
                <a:gd name="T16" fmla="*/ 285 w 1023"/>
                <a:gd name="T17" fmla="*/ 253 h 926"/>
                <a:gd name="T18" fmla="*/ 225 w 1023"/>
                <a:gd name="T19" fmla="*/ 216 h 926"/>
                <a:gd name="T20" fmla="*/ 174 w 1023"/>
                <a:gd name="T21" fmla="*/ 198 h 926"/>
                <a:gd name="T22" fmla="*/ 126 w 1023"/>
                <a:gd name="T23" fmla="*/ 173 h 926"/>
                <a:gd name="T24" fmla="*/ 92 w 1023"/>
                <a:gd name="T25" fmla="*/ 194 h 926"/>
                <a:gd name="T26" fmla="*/ 78 w 1023"/>
                <a:gd name="T27" fmla="*/ 252 h 926"/>
                <a:gd name="T28" fmla="*/ 12 w 1023"/>
                <a:gd name="T29" fmla="*/ 260 h 926"/>
                <a:gd name="T30" fmla="*/ 0 w 1023"/>
                <a:gd name="T31" fmla="*/ 306 h 926"/>
                <a:gd name="T32" fmla="*/ 13 w 1023"/>
                <a:gd name="T33" fmla="*/ 358 h 926"/>
                <a:gd name="T34" fmla="*/ 40 w 1023"/>
                <a:gd name="T35" fmla="*/ 408 h 926"/>
                <a:gd name="T36" fmla="*/ 36 w 1023"/>
                <a:gd name="T37" fmla="*/ 462 h 926"/>
                <a:gd name="T38" fmla="*/ 24 w 1023"/>
                <a:gd name="T39" fmla="*/ 517 h 926"/>
                <a:gd name="T40" fmla="*/ 37 w 1023"/>
                <a:gd name="T41" fmla="*/ 579 h 926"/>
                <a:gd name="T42" fmla="*/ 57 w 1023"/>
                <a:gd name="T43" fmla="*/ 582 h 926"/>
                <a:gd name="T44" fmla="*/ 84 w 1023"/>
                <a:gd name="T45" fmla="*/ 558 h 926"/>
                <a:gd name="T46" fmla="*/ 118 w 1023"/>
                <a:gd name="T47" fmla="*/ 551 h 926"/>
                <a:gd name="T48" fmla="*/ 134 w 1023"/>
                <a:gd name="T49" fmla="*/ 574 h 926"/>
                <a:gd name="T50" fmla="*/ 193 w 1023"/>
                <a:gd name="T51" fmla="*/ 581 h 926"/>
                <a:gd name="T52" fmla="*/ 259 w 1023"/>
                <a:gd name="T53" fmla="*/ 590 h 926"/>
                <a:gd name="T54" fmla="*/ 307 w 1023"/>
                <a:gd name="T55" fmla="*/ 613 h 926"/>
                <a:gd name="T56" fmla="*/ 335 w 1023"/>
                <a:gd name="T57" fmla="*/ 601 h 926"/>
                <a:gd name="T58" fmla="*/ 363 w 1023"/>
                <a:gd name="T59" fmla="*/ 597 h 926"/>
                <a:gd name="T60" fmla="*/ 395 w 1023"/>
                <a:gd name="T61" fmla="*/ 622 h 926"/>
                <a:gd name="T62" fmla="*/ 407 w 1023"/>
                <a:gd name="T63" fmla="*/ 674 h 926"/>
                <a:gd name="T64" fmla="*/ 430 w 1023"/>
                <a:gd name="T65" fmla="*/ 707 h 926"/>
                <a:gd name="T66" fmla="*/ 458 w 1023"/>
                <a:gd name="T67" fmla="*/ 707 h 926"/>
                <a:gd name="T68" fmla="*/ 470 w 1023"/>
                <a:gd name="T69" fmla="*/ 706 h 926"/>
                <a:gd name="T70" fmla="*/ 497 w 1023"/>
                <a:gd name="T71" fmla="*/ 721 h 926"/>
                <a:gd name="T72" fmla="*/ 517 w 1023"/>
                <a:gd name="T73" fmla="*/ 786 h 926"/>
                <a:gd name="T74" fmla="*/ 543 w 1023"/>
                <a:gd name="T75" fmla="*/ 878 h 926"/>
                <a:gd name="T76" fmla="*/ 586 w 1023"/>
                <a:gd name="T77" fmla="*/ 914 h 926"/>
                <a:gd name="T78" fmla="*/ 674 w 1023"/>
                <a:gd name="T79" fmla="*/ 926 h 926"/>
                <a:gd name="T80" fmla="*/ 741 w 1023"/>
                <a:gd name="T81" fmla="*/ 895 h 926"/>
                <a:gd name="T82" fmla="*/ 773 w 1023"/>
                <a:gd name="T83" fmla="*/ 857 h 926"/>
                <a:gd name="T84" fmla="*/ 765 w 1023"/>
                <a:gd name="T85" fmla="*/ 809 h 926"/>
                <a:gd name="T86" fmla="*/ 777 w 1023"/>
                <a:gd name="T87" fmla="*/ 775 h 926"/>
                <a:gd name="T88" fmla="*/ 859 w 1023"/>
                <a:gd name="T89" fmla="*/ 713 h 926"/>
                <a:gd name="T90" fmla="*/ 1023 w 1023"/>
                <a:gd name="T91" fmla="*/ 625 h 926"/>
                <a:gd name="T92" fmla="*/ 959 w 1023"/>
                <a:gd name="T93" fmla="*/ 557 h 926"/>
                <a:gd name="T94" fmla="*/ 873 w 1023"/>
                <a:gd name="T95" fmla="*/ 457 h 926"/>
                <a:gd name="T96" fmla="*/ 841 w 1023"/>
                <a:gd name="T97" fmla="*/ 490 h 926"/>
                <a:gd name="T98" fmla="*/ 831 w 1023"/>
                <a:gd name="T99" fmla="*/ 505 h 926"/>
                <a:gd name="T100" fmla="*/ 714 w 1023"/>
                <a:gd name="T101" fmla="*/ 477 h 926"/>
                <a:gd name="T102" fmla="*/ 661 w 1023"/>
                <a:gd name="T103" fmla="*/ 440 h 926"/>
                <a:gd name="T104" fmla="*/ 637 w 1023"/>
                <a:gd name="T105" fmla="*/ 369 h 926"/>
                <a:gd name="T106" fmla="*/ 614 w 1023"/>
                <a:gd name="T107" fmla="*/ 282 h 926"/>
                <a:gd name="T108" fmla="*/ 554 w 1023"/>
                <a:gd name="T109" fmla="*/ 150 h 926"/>
                <a:gd name="T110" fmla="*/ 531 w 1023"/>
                <a:gd name="T111" fmla="*/ 61 h 92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023"/>
                <a:gd name="T169" fmla="*/ 0 h 926"/>
                <a:gd name="T170" fmla="*/ 1023 w 1023"/>
                <a:gd name="T171" fmla="*/ 926 h 92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023" h="926">
                  <a:moveTo>
                    <a:pt x="523" y="24"/>
                  </a:moveTo>
                  <a:lnTo>
                    <a:pt x="497" y="22"/>
                  </a:lnTo>
                  <a:lnTo>
                    <a:pt x="471" y="22"/>
                  </a:lnTo>
                  <a:lnTo>
                    <a:pt x="447" y="21"/>
                  </a:lnTo>
                  <a:lnTo>
                    <a:pt x="423" y="18"/>
                  </a:lnTo>
                  <a:lnTo>
                    <a:pt x="401" y="14"/>
                  </a:lnTo>
                  <a:lnTo>
                    <a:pt x="379" y="10"/>
                  </a:lnTo>
                  <a:lnTo>
                    <a:pt x="358" y="5"/>
                  </a:lnTo>
                  <a:lnTo>
                    <a:pt x="337" y="0"/>
                  </a:lnTo>
                  <a:lnTo>
                    <a:pt x="322" y="40"/>
                  </a:lnTo>
                  <a:lnTo>
                    <a:pt x="309" y="80"/>
                  </a:lnTo>
                  <a:lnTo>
                    <a:pt x="303" y="100"/>
                  </a:lnTo>
                  <a:lnTo>
                    <a:pt x="299" y="118"/>
                  </a:lnTo>
                  <a:lnTo>
                    <a:pt x="295" y="137"/>
                  </a:lnTo>
                  <a:lnTo>
                    <a:pt x="294" y="156"/>
                  </a:lnTo>
                  <a:lnTo>
                    <a:pt x="293" y="170"/>
                  </a:lnTo>
                  <a:lnTo>
                    <a:pt x="294" y="182"/>
                  </a:lnTo>
                  <a:lnTo>
                    <a:pt x="297" y="194"/>
                  </a:lnTo>
                  <a:lnTo>
                    <a:pt x="301" y="205"/>
                  </a:lnTo>
                  <a:lnTo>
                    <a:pt x="314" y="226"/>
                  </a:lnTo>
                  <a:lnTo>
                    <a:pt x="330" y="245"/>
                  </a:lnTo>
                  <a:lnTo>
                    <a:pt x="338" y="256"/>
                  </a:lnTo>
                  <a:lnTo>
                    <a:pt x="343" y="266"/>
                  </a:lnTo>
                  <a:lnTo>
                    <a:pt x="350" y="277"/>
                  </a:lnTo>
                  <a:lnTo>
                    <a:pt x="353" y="289"/>
                  </a:lnTo>
                  <a:lnTo>
                    <a:pt x="355" y="302"/>
                  </a:lnTo>
                  <a:lnTo>
                    <a:pt x="354" y="316"/>
                  </a:lnTo>
                  <a:lnTo>
                    <a:pt x="353" y="324"/>
                  </a:lnTo>
                  <a:lnTo>
                    <a:pt x="350" y="332"/>
                  </a:lnTo>
                  <a:lnTo>
                    <a:pt x="347" y="340"/>
                  </a:lnTo>
                  <a:lnTo>
                    <a:pt x="343" y="349"/>
                  </a:lnTo>
                  <a:lnTo>
                    <a:pt x="335" y="361"/>
                  </a:lnTo>
                  <a:lnTo>
                    <a:pt x="329" y="368"/>
                  </a:lnTo>
                  <a:lnTo>
                    <a:pt x="326" y="369"/>
                  </a:lnTo>
                  <a:lnTo>
                    <a:pt x="323" y="370"/>
                  </a:lnTo>
                  <a:lnTo>
                    <a:pt x="321" y="370"/>
                  </a:lnTo>
                  <a:lnTo>
                    <a:pt x="318" y="369"/>
                  </a:lnTo>
                  <a:lnTo>
                    <a:pt x="314" y="364"/>
                  </a:lnTo>
                  <a:lnTo>
                    <a:pt x="310" y="356"/>
                  </a:lnTo>
                  <a:lnTo>
                    <a:pt x="306" y="346"/>
                  </a:lnTo>
                  <a:lnTo>
                    <a:pt x="303" y="334"/>
                  </a:lnTo>
                  <a:lnTo>
                    <a:pt x="297" y="306"/>
                  </a:lnTo>
                  <a:lnTo>
                    <a:pt x="291" y="278"/>
                  </a:lnTo>
                  <a:lnTo>
                    <a:pt x="287" y="265"/>
                  </a:lnTo>
                  <a:lnTo>
                    <a:pt x="285" y="253"/>
                  </a:lnTo>
                  <a:lnTo>
                    <a:pt x="281" y="242"/>
                  </a:lnTo>
                  <a:lnTo>
                    <a:pt x="277" y="234"/>
                  </a:lnTo>
                  <a:lnTo>
                    <a:pt x="257" y="226"/>
                  </a:lnTo>
                  <a:lnTo>
                    <a:pt x="241" y="220"/>
                  </a:lnTo>
                  <a:lnTo>
                    <a:pt x="225" y="216"/>
                  </a:lnTo>
                  <a:lnTo>
                    <a:pt x="211" y="212"/>
                  </a:lnTo>
                  <a:lnTo>
                    <a:pt x="201" y="208"/>
                  </a:lnTo>
                  <a:lnTo>
                    <a:pt x="190" y="205"/>
                  </a:lnTo>
                  <a:lnTo>
                    <a:pt x="182" y="202"/>
                  </a:lnTo>
                  <a:lnTo>
                    <a:pt x="174" y="198"/>
                  </a:lnTo>
                  <a:lnTo>
                    <a:pt x="162" y="188"/>
                  </a:lnTo>
                  <a:lnTo>
                    <a:pt x="152" y="181"/>
                  </a:lnTo>
                  <a:lnTo>
                    <a:pt x="142" y="177"/>
                  </a:lnTo>
                  <a:lnTo>
                    <a:pt x="134" y="174"/>
                  </a:lnTo>
                  <a:lnTo>
                    <a:pt x="126" y="173"/>
                  </a:lnTo>
                  <a:lnTo>
                    <a:pt x="120" y="174"/>
                  </a:lnTo>
                  <a:lnTo>
                    <a:pt x="113" y="177"/>
                  </a:lnTo>
                  <a:lnTo>
                    <a:pt x="108" y="180"/>
                  </a:lnTo>
                  <a:lnTo>
                    <a:pt x="100" y="188"/>
                  </a:lnTo>
                  <a:lnTo>
                    <a:pt x="92" y="194"/>
                  </a:lnTo>
                  <a:lnTo>
                    <a:pt x="88" y="197"/>
                  </a:lnTo>
                  <a:lnTo>
                    <a:pt x="85" y="198"/>
                  </a:lnTo>
                  <a:lnTo>
                    <a:pt x="81" y="200"/>
                  </a:lnTo>
                  <a:lnTo>
                    <a:pt x="78" y="198"/>
                  </a:lnTo>
                  <a:lnTo>
                    <a:pt x="78" y="252"/>
                  </a:lnTo>
                  <a:lnTo>
                    <a:pt x="57" y="252"/>
                  </a:lnTo>
                  <a:lnTo>
                    <a:pt x="41" y="252"/>
                  </a:lnTo>
                  <a:lnTo>
                    <a:pt x="26" y="253"/>
                  </a:lnTo>
                  <a:lnTo>
                    <a:pt x="17" y="257"/>
                  </a:lnTo>
                  <a:lnTo>
                    <a:pt x="12" y="260"/>
                  </a:lnTo>
                  <a:lnTo>
                    <a:pt x="9" y="262"/>
                  </a:lnTo>
                  <a:lnTo>
                    <a:pt x="6" y="268"/>
                  </a:lnTo>
                  <a:lnTo>
                    <a:pt x="4" y="273"/>
                  </a:lnTo>
                  <a:lnTo>
                    <a:pt x="1" y="286"/>
                  </a:lnTo>
                  <a:lnTo>
                    <a:pt x="0" y="306"/>
                  </a:lnTo>
                  <a:lnTo>
                    <a:pt x="0" y="318"/>
                  </a:lnTo>
                  <a:lnTo>
                    <a:pt x="1" y="328"/>
                  </a:lnTo>
                  <a:lnTo>
                    <a:pt x="4" y="337"/>
                  </a:lnTo>
                  <a:lnTo>
                    <a:pt x="6" y="345"/>
                  </a:lnTo>
                  <a:lnTo>
                    <a:pt x="13" y="358"/>
                  </a:lnTo>
                  <a:lnTo>
                    <a:pt x="21" y="369"/>
                  </a:lnTo>
                  <a:lnTo>
                    <a:pt x="29" y="380"/>
                  </a:lnTo>
                  <a:lnTo>
                    <a:pt x="36" y="392"/>
                  </a:lnTo>
                  <a:lnTo>
                    <a:pt x="38" y="400"/>
                  </a:lnTo>
                  <a:lnTo>
                    <a:pt x="40" y="408"/>
                  </a:lnTo>
                  <a:lnTo>
                    <a:pt x="41" y="416"/>
                  </a:lnTo>
                  <a:lnTo>
                    <a:pt x="42" y="426"/>
                  </a:lnTo>
                  <a:lnTo>
                    <a:pt x="41" y="440"/>
                  </a:lnTo>
                  <a:lnTo>
                    <a:pt x="40" y="452"/>
                  </a:lnTo>
                  <a:lnTo>
                    <a:pt x="36" y="462"/>
                  </a:lnTo>
                  <a:lnTo>
                    <a:pt x="33" y="472"/>
                  </a:lnTo>
                  <a:lnTo>
                    <a:pt x="29" y="482"/>
                  </a:lnTo>
                  <a:lnTo>
                    <a:pt x="26" y="493"/>
                  </a:lnTo>
                  <a:lnTo>
                    <a:pt x="25" y="505"/>
                  </a:lnTo>
                  <a:lnTo>
                    <a:pt x="24" y="517"/>
                  </a:lnTo>
                  <a:lnTo>
                    <a:pt x="24" y="539"/>
                  </a:lnTo>
                  <a:lnTo>
                    <a:pt x="26" y="561"/>
                  </a:lnTo>
                  <a:lnTo>
                    <a:pt x="30" y="570"/>
                  </a:lnTo>
                  <a:lnTo>
                    <a:pt x="34" y="577"/>
                  </a:lnTo>
                  <a:lnTo>
                    <a:pt x="37" y="579"/>
                  </a:lnTo>
                  <a:lnTo>
                    <a:pt x="40" y="582"/>
                  </a:lnTo>
                  <a:lnTo>
                    <a:pt x="44" y="583"/>
                  </a:lnTo>
                  <a:lnTo>
                    <a:pt x="48" y="583"/>
                  </a:lnTo>
                  <a:lnTo>
                    <a:pt x="53" y="583"/>
                  </a:lnTo>
                  <a:lnTo>
                    <a:pt x="57" y="582"/>
                  </a:lnTo>
                  <a:lnTo>
                    <a:pt x="61" y="579"/>
                  </a:lnTo>
                  <a:lnTo>
                    <a:pt x="64" y="578"/>
                  </a:lnTo>
                  <a:lnTo>
                    <a:pt x="70" y="571"/>
                  </a:lnTo>
                  <a:lnTo>
                    <a:pt x="77" y="565"/>
                  </a:lnTo>
                  <a:lnTo>
                    <a:pt x="84" y="558"/>
                  </a:lnTo>
                  <a:lnTo>
                    <a:pt x="89" y="553"/>
                  </a:lnTo>
                  <a:lnTo>
                    <a:pt x="96" y="549"/>
                  </a:lnTo>
                  <a:lnTo>
                    <a:pt x="102" y="547"/>
                  </a:lnTo>
                  <a:lnTo>
                    <a:pt x="112" y="549"/>
                  </a:lnTo>
                  <a:lnTo>
                    <a:pt x="118" y="551"/>
                  </a:lnTo>
                  <a:lnTo>
                    <a:pt x="124" y="555"/>
                  </a:lnTo>
                  <a:lnTo>
                    <a:pt x="128" y="559"/>
                  </a:lnTo>
                  <a:lnTo>
                    <a:pt x="129" y="565"/>
                  </a:lnTo>
                  <a:lnTo>
                    <a:pt x="132" y="570"/>
                  </a:lnTo>
                  <a:lnTo>
                    <a:pt x="134" y="574"/>
                  </a:lnTo>
                  <a:lnTo>
                    <a:pt x="138" y="577"/>
                  </a:lnTo>
                  <a:lnTo>
                    <a:pt x="152" y="581"/>
                  </a:lnTo>
                  <a:lnTo>
                    <a:pt x="165" y="582"/>
                  </a:lnTo>
                  <a:lnTo>
                    <a:pt x="178" y="581"/>
                  </a:lnTo>
                  <a:lnTo>
                    <a:pt x="193" y="581"/>
                  </a:lnTo>
                  <a:lnTo>
                    <a:pt x="206" y="579"/>
                  </a:lnTo>
                  <a:lnTo>
                    <a:pt x="219" y="579"/>
                  </a:lnTo>
                  <a:lnTo>
                    <a:pt x="233" y="579"/>
                  </a:lnTo>
                  <a:lnTo>
                    <a:pt x="246" y="583"/>
                  </a:lnTo>
                  <a:lnTo>
                    <a:pt x="259" y="590"/>
                  </a:lnTo>
                  <a:lnTo>
                    <a:pt x="273" y="601"/>
                  </a:lnTo>
                  <a:lnTo>
                    <a:pt x="279" y="605"/>
                  </a:lnTo>
                  <a:lnTo>
                    <a:pt x="287" y="610"/>
                  </a:lnTo>
                  <a:lnTo>
                    <a:pt x="297" y="613"/>
                  </a:lnTo>
                  <a:lnTo>
                    <a:pt x="307" y="613"/>
                  </a:lnTo>
                  <a:lnTo>
                    <a:pt x="313" y="613"/>
                  </a:lnTo>
                  <a:lnTo>
                    <a:pt x="319" y="610"/>
                  </a:lnTo>
                  <a:lnTo>
                    <a:pt x="325" y="607"/>
                  </a:lnTo>
                  <a:lnTo>
                    <a:pt x="330" y="605"/>
                  </a:lnTo>
                  <a:lnTo>
                    <a:pt x="335" y="601"/>
                  </a:lnTo>
                  <a:lnTo>
                    <a:pt x="339" y="598"/>
                  </a:lnTo>
                  <a:lnTo>
                    <a:pt x="345" y="595"/>
                  </a:lnTo>
                  <a:lnTo>
                    <a:pt x="349" y="595"/>
                  </a:lnTo>
                  <a:lnTo>
                    <a:pt x="357" y="595"/>
                  </a:lnTo>
                  <a:lnTo>
                    <a:pt x="363" y="597"/>
                  </a:lnTo>
                  <a:lnTo>
                    <a:pt x="369" y="598"/>
                  </a:lnTo>
                  <a:lnTo>
                    <a:pt x="374" y="601"/>
                  </a:lnTo>
                  <a:lnTo>
                    <a:pt x="383" y="606"/>
                  </a:lnTo>
                  <a:lnTo>
                    <a:pt x="390" y="613"/>
                  </a:lnTo>
                  <a:lnTo>
                    <a:pt x="395" y="622"/>
                  </a:lnTo>
                  <a:lnTo>
                    <a:pt x="399" y="631"/>
                  </a:lnTo>
                  <a:lnTo>
                    <a:pt x="402" y="642"/>
                  </a:lnTo>
                  <a:lnTo>
                    <a:pt x="403" y="653"/>
                  </a:lnTo>
                  <a:lnTo>
                    <a:pt x="406" y="663"/>
                  </a:lnTo>
                  <a:lnTo>
                    <a:pt x="407" y="674"/>
                  </a:lnTo>
                  <a:lnTo>
                    <a:pt x="410" y="683"/>
                  </a:lnTo>
                  <a:lnTo>
                    <a:pt x="414" y="691"/>
                  </a:lnTo>
                  <a:lnTo>
                    <a:pt x="419" y="699"/>
                  </a:lnTo>
                  <a:lnTo>
                    <a:pt x="426" y="705"/>
                  </a:lnTo>
                  <a:lnTo>
                    <a:pt x="430" y="707"/>
                  </a:lnTo>
                  <a:lnTo>
                    <a:pt x="434" y="709"/>
                  </a:lnTo>
                  <a:lnTo>
                    <a:pt x="439" y="709"/>
                  </a:lnTo>
                  <a:lnTo>
                    <a:pt x="445" y="710"/>
                  </a:lnTo>
                  <a:lnTo>
                    <a:pt x="453" y="709"/>
                  </a:lnTo>
                  <a:lnTo>
                    <a:pt x="458" y="707"/>
                  </a:lnTo>
                  <a:lnTo>
                    <a:pt x="461" y="706"/>
                  </a:lnTo>
                  <a:lnTo>
                    <a:pt x="462" y="705"/>
                  </a:lnTo>
                  <a:lnTo>
                    <a:pt x="465" y="705"/>
                  </a:lnTo>
                  <a:lnTo>
                    <a:pt x="466" y="705"/>
                  </a:lnTo>
                  <a:lnTo>
                    <a:pt x="470" y="706"/>
                  </a:lnTo>
                  <a:lnTo>
                    <a:pt x="475" y="710"/>
                  </a:lnTo>
                  <a:lnTo>
                    <a:pt x="482" y="710"/>
                  </a:lnTo>
                  <a:lnTo>
                    <a:pt x="487" y="713"/>
                  </a:lnTo>
                  <a:lnTo>
                    <a:pt x="493" y="717"/>
                  </a:lnTo>
                  <a:lnTo>
                    <a:pt x="497" y="721"/>
                  </a:lnTo>
                  <a:lnTo>
                    <a:pt x="501" y="726"/>
                  </a:lnTo>
                  <a:lnTo>
                    <a:pt x="503" y="733"/>
                  </a:lnTo>
                  <a:lnTo>
                    <a:pt x="506" y="741"/>
                  </a:lnTo>
                  <a:lnTo>
                    <a:pt x="509" y="749"/>
                  </a:lnTo>
                  <a:lnTo>
                    <a:pt x="517" y="786"/>
                  </a:lnTo>
                  <a:lnTo>
                    <a:pt x="523" y="825"/>
                  </a:lnTo>
                  <a:lnTo>
                    <a:pt x="527" y="841"/>
                  </a:lnTo>
                  <a:lnTo>
                    <a:pt x="531" y="854"/>
                  </a:lnTo>
                  <a:lnTo>
                    <a:pt x="538" y="867"/>
                  </a:lnTo>
                  <a:lnTo>
                    <a:pt x="543" y="878"/>
                  </a:lnTo>
                  <a:lnTo>
                    <a:pt x="551" y="887"/>
                  </a:lnTo>
                  <a:lnTo>
                    <a:pt x="558" y="897"/>
                  </a:lnTo>
                  <a:lnTo>
                    <a:pt x="567" y="903"/>
                  </a:lnTo>
                  <a:lnTo>
                    <a:pt x="577" y="909"/>
                  </a:lnTo>
                  <a:lnTo>
                    <a:pt x="586" y="914"/>
                  </a:lnTo>
                  <a:lnTo>
                    <a:pt x="597" y="918"/>
                  </a:lnTo>
                  <a:lnTo>
                    <a:pt x="609" y="921"/>
                  </a:lnTo>
                  <a:lnTo>
                    <a:pt x="621" y="923"/>
                  </a:lnTo>
                  <a:lnTo>
                    <a:pt x="646" y="926"/>
                  </a:lnTo>
                  <a:lnTo>
                    <a:pt x="674" y="926"/>
                  </a:lnTo>
                  <a:lnTo>
                    <a:pt x="682" y="925"/>
                  </a:lnTo>
                  <a:lnTo>
                    <a:pt x="694" y="919"/>
                  </a:lnTo>
                  <a:lnTo>
                    <a:pt x="709" y="913"/>
                  </a:lnTo>
                  <a:lnTo>
                    <a:pt x="725" y="903"/>
                  </a:lnTo>
                  <a:lnTo>
                    <a:pt x="741" y="895"/>
                  </a:lnTo>
                  <a:lnTo>
                    <a:pt x="754" y="886"/>
                  </a:lnTo>
                  <a:lnTo>
                    <a:pt x="765" y="878"/>
                  </a:lnTo>
                  <a:lnTo>
                    <a:pt x="770" y="873"/>
                  </a:lnTo>
                  <a:lnTo>
                    <a:pt x="773" y="865"/>
                  </a:lnTo>
                  <a:lnTo>
                    <a:pt x="773" y="857"/>
                  </a:lnTo>
                  <a:lnTo>
                    <a:pt x="773" y="850"/>
                  </a:lnTo>
                  <a:lnTo>
                    <a:pt x="773" y="843"/>
                  </a:lnTo>
                  <a:lnTo>
                    <a:pt x="770" y="831"/>
                  </a:lnTo>
                  <a:lnTo>
                    <a:pt x="767" y="819"/>
                  </a:lnTo>
                  <a:lnTo>
                    <a:pt x="765" y="809"/>
                  </a:lnTo>
                  <a:lnTo>
                    <a:pt x="765" y="798"/>
                  </a:lnTo>
                  <a:lnTo>
                    <a:pt x="766" y="793"/>
                  </a:lnTo>
                  <a:lnTo>
                    <a:pt x="769" y="787"/>
                  </a:lnTo>
                  <a:lnTo>
                    <a:pt x="771" y="782"/>
                  </a:lnTo>
                  <a:lnTo>
                    <a:pt x="777" y="775"/>
                  </a:lnTo>
                  <a:lnTo>
                    <a:pt x="787" y="766"/>
                  </a:lnTo>
                  <a:lnTo>
                    <a:pt x="799" y="755"/>
                  </a:lnTo>
                  <a:lnTo>
                    <a:pt x="813" y="745"/>
                  </a:lnTo>
                  <a:lnTo>
                    <a:pt x="827" y="734"/>
                  </a:lnTo>
                  <a:lnTo>
                    <a:pt x="859" y="713"/>
                  </a:lnTo>
                  <a:lnTo>
                    <a:pt x="893" y="691"/>
                  </a:lnTo>
                  <a:lnTo>
                    <a:pt x="927" y="671"/>
                  </a:lnTo>
                  <a:lnTo>
                    <a:pt x="962" y="654"/>
                  </a:lnTo>
                  <a:lnTo>
                    <a:pt x="994" y="638"/>
                  </a:lnTo>
                  <a:lnTo>
                    <a:pt x="1023" y="625"/>
                  </a:lnTo>
                  <a:lnTo>
                    <a:pt x="1012" y="615"/>
                  </a:lnTo>
                  <a:lnTo>
                    <a:pt x="1002" y="605"/>
                  </a:lnTo>
                  <a:lnTo>
                    <a:pt x="991" y="594"/>
                  </a:lnTo>
                  <a:lnTo>
                    <a:pt x="980" y="582"/>
                  </a:lnTo>
                  <a:lnTo>
                    <a:pt x="959" y="557"/>
                  </a:lnTo>
                  <a:lnTo>
                    <a:pt x="938" y="530"/>
                  </a:lnTo>
                  <a:lnTo>
                    <a:pt x="918" y="504"/>
                  </a:lnTo>
                  <a:lnTo>
                    <a:pt x="895" y="480"/>
                  </a:lnTo>
                  <a:lnTo>
                    <a:pt x="885" y="468"/>
                  </a:lnTo>
                  <a:lnTo>
                    <a:pt x="873" y="457"/>
                  </a:lnTo>
                  <a:lnTo>
                    <a:pt x="861" y="448"/>
                  </a:lnTo>
                  <a:lnTo>
                    <a:pt x="849" y="438"/>
                  </a:lnTo>
                  <a:lnTo>
                    <a:pt x="845" y="460"/>
                  </a:lnTo>
                  <a:lnTo>
                    <a:pt x="842" y="481"/>
                  </a:lnTo>
                  <a:lnTo>
                    <a:pt x="841" y="490"/>
                  </a:lnTo>
                  <a:lnTo>
                    <a:pt x="838" y="498"/>
                  </a:lnTo>
                  <a:lnTo>
                    <a:pt x="837" y="501"/>
                  </a:lnTo>
                  <a:lnTo>
                    <a:pt x="835" y="504"/>
                  </a:lnTo>
                  <a:lnTo>
                    <a:pt x="833" y="505"/>
                  </a:lnTo>
                  <a:lnTo>
                    <a:pt x="831" y="505"/>
                  </a:lnTo>
                  <a:lnTo>
                    <a:pt x="809" y="504"/>
                  </a:lnTo>
                  <a:lnTo>
                    <a:pt x="782" y="500"/>
                  </a:lnTo>
                  <a:lnTo>
                    <a:pt x="754" y="493"/>
                  </a:lnTo>
                  <a:lnTo>
                    <a:pt x="727" y="484"/>
                  </a:lnTo>
                  <a:lnTo>
                    <a:pt x="714" y="477"/>
                  </a:lnTo>
                  <a:lnTo>
                    <a:pt x="701" y="472"/>
                  </a:lnTo>
                  <a:lnTo>
                    <a:pt x="689" y="465"/>
                  </a:lnTo>
                  <a:lnTo>
                    <a:pt x="678" y="457"/>
                  </a:lnTo>
                  <a:lnTo>
                    <a:pt x="669" y="449"/>
                  </a:lnTo>
                  <a:lnTo>
                    <a:pt x="661" y="440"/>
                  </a:lnTo>
                  <a:lnTo>
                    <a:pt x="654" y="430"/>
                  </a:lnTo>
                  <a:lnTo>
                    <a:pt x="650" y="421"/>
                  </a:lnTo>
                  <a:lnTo>
                    <a:pt x="645" y="404"/>
                  </a:lnTo>
                  <a:lnTo>
                    <a:pt x="641" y="385"/>
                  </a:lnTo>
                  <a:lnTo>
                    <a:pt x="637" y="369"/>
                  </a:lnTo>
                  <a:lnTo>
                    <a:pt x="634" y="352"/>
                  </a:lnTo>
                  <a:lnTo>
                    <a:pt x="631" y="334"/>
                  </a:lnTo>
                  <a:lnTo>
                    <a:pt x="627" y="317"/>
                  </a:lnTo>
                  <a:lnTo>
                    <a:pt x="622" y="300"/>
                  </a:lnTo>
                  <a:lnTo>
                    <a:pt x="614" y="282"/>
                  </a:lnTo>
                  <a:lnTo>
                    <a:pt x="602" y="256"/>
                  </a:lnTo>
                  <a:lnTo>
                    <a:pt x="589" y="228"/>
                  </a:lnTo>
                  <a:lnTo>
                    <a:pt x="574" y="198"/>
                  </a:lnTo>
                  <a:lnTo>
                    <a:pt x="561" y="166"/>
                  </a:lnTo>
                  <a:lnTo>
                    <a:pt x="554" y="150"/>
                  </a:lnTo>
                  <a:lnTo>
                    <a:pt x="549" y="133"/>
                  </a:lnTo>
                  <a:lnTo>
                    <a:pt x="543" y="116"/>
                  </a:lnTo>
                  <a:lnTo>
                    <a:pt x="538" y="97"/>
                  </a:lnTo>
                  <a:lnTo>
                    <a:pt x="535" y="80"/>
                  </a:lnTo>
                  <a:lnTo>
                    <a:pt x="531" y="61"/>
                  </a:lnTo>
                  <a:lnTo>
                    <a:pt x="530" y="42"/>
                  </a:lnTo>
                  <a:lnTo>
                    <a:pt x="530" y="24"/>
                  </a:lnTo>
                  <a:lnTo>
                    <a:pt x="523" y="24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accent1">
                  <a:lumMod val="20000"/>
                  <a:lumOff val="8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95" b="0" i="0" u="none" strike="noStrike" kern="1200" cap="none" spc="0" normalizeH="0" baseline="0" noProof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4" name="Freeform 41"/>
            <p:cNvSpPr>
              <a:spLocks/>
            </p:cNvSpPr>
            <p:nvPr/>
          </p:nvSpPr>
          <p:spPr bwMode="auto">
            <a:xfrm>
              <a:off x="4816938" y="2264625"/>
              <a:ext cx="55888" cy="43861"/>
            </a:xfrm>
            <a:custGeom>
              <a:avLst/>
              <a:gdLst>
                <a:gd name="T0" fmla="*/ 776 w 776"/>
                <a:gd name="T1" fmla="*/ 534 h 608"/>
                <a:gd name="T2" fmla="*/ 769 w 776"/>
                <a:gd name="T3" fmla="*/ 495 h 608"/>
                <a:gd name="T4" fmla="*/ 724 w 776"/>
                <a:gd name="T5" fmla="*/ 474 h 608"/>
                <a:gd name="T6" fmla="*/ 705 w 776"/>
                <a:gd name="T7" fmla="*/ 462 h 608"/>
                <a:gd name="T8" fmla="*/ 712 w 776"/>
                <a:gd name="T9" fmla="*/ 427 h 608"/>
                <a:gd name="T10" fmla="*/ 728 w 776"/>
                <a:gd name="T11" fmla="*/ 378 h 608"/>
                <a:gd name="T12" fmla="*/ 696 w 776"/>
                <a:gd name="T13" fmla="*/ 336 h 608"/>
                <a:gd name="T14" fmla="*/ 668 w 776"/>
                <a:gd name="T15" fmla="*/ 291 h 608"/>
                <a:gd name="T16" fmla="*/ 641 w 776"/>
                <a:gd name="T17" fmla="*/ 186 h 608"/>
                <a:gd name="T18" fmla="*/ 621 w 776"/>
                <a:gd name="T19" fmla="*/ 163 h 608"/>
                <a:gd name="T20" fmla="*/ 604 w 776"/>
                <a:gd name="T21" fmla="*/ 158 h 608"/>
                <a:gd name="T22" fmla="*/ 592 w 776"/>
                <a:gd name="T23" fmla="*/ 162 h 608"/>
                <a:gd name="T24" fmla="*/ 569 w 776"/>
                <a:gd name="T25" fmla="*/ 160 h 608"/>
                <a:gd name="T26" fmla="*/ 549 w 776"/>
                <a:gd name="T27" fmla="*/ 136 h 608"/>
                <a:gd name="T28" fmla="*/ 541 w 776"/>
                <a:gd name="T29" fmla="*/ 95 h 608"/>
                <a:gd name="T30" fmla="*/ 522 w 776"/>
                <a:gd name="T31" fmla="*/ 59 h 608"/>
                <a:gd name="T32" fmla="*/ 496 w 776"/>
                <a:gd name="T33" fmla="*/ 48 h 608"/>
                <a:gd name="T34" fmla="*/ 474 w 776"/>
                <a:gd name="T35" fmla="*/ 54 h 608"/>
                <a:gd name="T36" fmla="*/ 452 w 776"/>
                <a:gd name="T37" fmla="*/ 66 h 608"/>
                <a:gd name="T38" fmla="*/ 418 w 776"/>
                <a:gd name="T39" fmla="*/ 58 h 608"/>
                <a:gd name="T40" fmla="*/ 372 w 776"/>
                <a:gd name="T41" fmla="*/ 32 h 608"/>
                <a:gd name="T42" fmla="*/ 317 w 776"/>
                <a:gd name="T43" fmla="*/ 34 h 608"/>
                <a:gd name="T44" fmla="*/ 273 w 776"/>
                <a:gd name="T45" fmla="*/ 27 h 608"/>
                <a:gd name="T46" fmla="*/ 263 w 776"/>
                <a:gd name="T47" fmla="*/ 8 h 608"/>
                <a:gd name="T48" fmla="*/ 235 w 776"/>
                <a:gd name="T49" fmla="*/ 2 h 608"/>
                <a:gd name="T50" fmla="*/ 215 w 776"/>
                <a:gd name="T51" fmla="*/ 24 h 608"/>
                <a:gd name="T52" fmla="*/ 197 w 776"/>
                <a:gd name="T53" fmla="*/ 36 h 608"/>
                <a:gd name="T54" fmla="*/ 175 w 776"/>
                <a:gd name="T55" fmla="*/ 28 h 608"/>
                <a:gd name="T56" fmla="*/ 136 w 776"/>
                <a:gd name="T57" fmla="*/ 30 h 608"/>
                <a:gd name="T58" fmla="*/ 120 w 776"/>
                <a:gd name="T59" fmla="*/ 44 h 608"/>
                <a:gd name="T60" fmla="*/ 109 w 776"/>
                <a:gd name="T61" fmla="*/ 78 h 608"/>
                <a:gd name="T62" fmla="*/ 116 w 776"/>
                <a:gd name="T63" fmla="*/ 124 h 608"/>
                <a:gd name="T64" fmla="*/ 132 w 776"/>
                <a:gd name="T65" fmla="*/ 154 h 608"/>
                <a:gd name="T66" fmla="*/ 120 w 776"/>
                <a:gd name="T67" fmla="*/ 196 h 608"/>
                <a:gd name="T68" fmla="*/ 43 w 776"/>
                <a:gd name="T69" fmla="*/ 274 h 608"/>
                <a:gd name="T70" fmla="*/ 1 w 776"/>
                <a:gd name="T71" fmla="*/ 327 h 608"/>
                <a:gd name="T72" fmla="*/ 7 w 776"/>
                <a:gd name="T73" fmla="*/ 375 h 608"/>
                <a:gd name="T74" fmla="*/ 27 w 776"/>
                <a:gd name="T75" fmla="*/ 394 h 608"/>
                <a:gd name="T76" fmla="*/ 44 w 776"/>
                <a:gd name="T77" fmla="*/ 427 h 608"/>
                <a:gd name="T78" fmla="*/ 88 w 776"/>
                <a:gd name="T79" fmla="*/ 443 h 608"/>
                <a:gd name="T80" fmla="*/ 181 w 776"/>
                <a:gd name="T81" fmla="*/ 454 h 608"/>
                <a:gd name="T82" fmla="*/ 239 w 776"/>
                <a:gd name="T83" fmla="*/ 464 h 608"/>
                <a:gd name="T84" fmla="*/ 275 w 776"/>
                <a:gd name="T85" fmla="*/ 488 h 608"/>
                <a:gd name="T86" fmla="*/ 299 w 776"/>
                <a:gd name="T87" fmla="*/ 511 h 608"/>
                <a:gd name="T88" fmla="*/ 343 w 776"/>
                <a:gd name="T89" fmla="*/ 507 h 608"/>
                <a:gd name="T90" fmla="*/ 413 w 776"/>
                <a:gd name="T91" fmla="*/ 471 h 608"/>
                <a:gd name="T92" fmla="*/ 456 w 776"/>
                <a:gd name="T93" fmla="*/ 452 h 608"/>
                <a:gd name="T94" fmla="*/ 496 w 776"/>
                <a:gd name="T95" fmla="*/ 460 h 608"/>
                <a:gd name="T96" fmla="*/ 517 w 776"/>
                <a:gd name="T97" fmla="*/ 488 h 608"/>
                <a:gd name="T98" fmla="*/ 533 w 776"/>
                <a:gd name="T99" fmla="*/ 534 h 608"/>
                <a:gd name="T100" fmla="*/ 553 w 776"/>
                <a:gd name="T101" fmla="*/ 542 h 608"/>
                <a:gd name="T102" fmla="*/ 580 w 776"/>
                <a:gd name="T103" fmla="*/ 527 h 608"/>
                <a:gd name="T104" fmla="*/ 600 w 776"/>
                <a:gd name="T105" fmla="*/ 548 h 608"/>
                <a:gd name="T106" fmla="*/ 620 w 776"/>
                <a:gd name="T107" fmla="*/ 565 h 608"/>
                <a:gd name="T108" fmla="*/ 662 w 776"/>
                <a:gd name="T109" fmla="*/ 548 h 608"/>
                <a:gd name="T110" fmla="*/ 689 w 776"/>
                <a:gd name="T111" fmla="*/ 563 h 608"/>
                <a:gd name="T112" fmla="*/ 734 w 776"/>
                <a:gd name="T113" fmla="*/ 592 h 608"/>
                <a:gd name="T114" fmla="*/ 765 w 776"/>
                <a:gd name="T115" fmla="*/ 608 h 60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776"/>
                <a:gd name="T175" fmla="*/ 0 h 608"/>
                <a:gd name="T176" fmla="*/ 776 w 776"/>
                <a:gd name="T177" fmla="*/ 608 h 608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776" h="608">
                  <a:moveTo>
                    <a:pt x="765" y="608"/>
                  </a:moveTo>
                  <a:lnTo>
                    <a:pt x="769" y="581"/>
                  </a:lnTo>
                  <a:lnTo>
                    <a:pt x="774" y="551"/>
                  </a:lnTo>
                  <a:lnTo>
                    <a:pt x="776" y="534"/>
                  </a:lnTo>
                  <a:lnTo>
                    <a:pt x="776" y="518"/>
                  </a:lnTo>
                  <a:lnTo>
                    <a:pt x="774" y="510"/>
                  </a:lnTo>
                  <a:lnTo>
                    <a:pt x="772" y="502"/>
                  </a:lnTo>
                  <a:lnTo>
                    <a:pt x="769" y="495"/>
                  </a:lnTo>
                  <a:lnTo>
                    <a:pt x="765" y="488"/>
                  </a:lnTo>
                  <a:lnTo>
                    <a:pt x="756" y="483"/>
                  </a:lnTo>
                  <a:lnTo>
                    <a:pt x="734" y="478"/>
                  </a:lnTo>
                  <a:lnTo>
                    <a:pt x="724" y="474"/>
                  </a:lnTo>
                  <a:lnTo>
                    <a:pt x="714" y="470"/>
                  </a:lnTo>
                  <a:lnTo>
                    <a:pt x="710" y="467"/>
                  </a:lnTo>
                  <a:lnTo>
                    <a:pt x="708" y="464"/>
                  </a:lnTo>
                  <a:lnTo>
                    <a:pt x="705" y="462"/>
                  </a:lnTo>
                  <a:lnTo>
                    <a:pt x="705" y="458"/>
                  </a:lnTo>
                  <a:lnTo>
                    <a:pt x="706" y="447"/>
                  </a:lnTo>
                  <a:lnTo>
                    <a:pt x="709" y="436"/>
                  </a:lnTo>
                  <a:lnTo>
                    <a:pt x="712" y="427"/>
                  </a:lnTo>
                  <a:lnTo>
                    <a:pt x="717" y="416"/>
                  </a:lnTo>
                  <a:lnTo>
                    <a:pt x="721" y="406"/>
                  </a:lnTo>
                  <a:lnTo>
                    <a:pt x="725" y="392"/>
                  </a:lnTo>
                  <a:lnTo>
                    <a:pt x="728" y="378"/>
                  </a:lnTo>
                  <a:lnTo>
                    <a:pt x="729" y="362"/>
                  </a:lnTo>
                  <a:lnTo>
                    <a:pt x="716" y="354"/>
                  </a:lnTo>
                  <a:lnTo>
                    <a:pt x="705" y="346"/>
                  </a:lnTo>
                  <a:lnTo>
                    <a:pt x="696" y="336"/>
                  </a:lnTo>
                  <a:lnTo>
                    <a:pt x="686" y="326"/>
                  </a:lnTo>
                  <a:lnTo>
                    <a:pt x="680" y="315"/>
                  </a:lnTo>
                  <a:lnTo>
                    <a:pt x="673" y="303"/>
                  </a:lnTo>
                  <a:lnTo>
                    <a:pt x="668" y="291"/>
                  </a:lnTo>
                  <a:lnTo>
                    <a:pt x="662" y="278"/>
                  </a:lnTo>
                  <a:lnTo>
                    <a:pt x="653" y="239"/>
                  </a:lnTo>
                  <a:lnTo>
                    <a:pt x="645" y="202"/>
                  </a:lnTo>
                  <a:lnTo>
                    <a:pt x="641" y="186"/>
                  </a:lnTo>
                  <a:lnTo>
                    <a:pt x="634" y="174"/>
                  </a:lnTo>
                  <a:lnTo>
                    <a:pt x="630" y="170"/>
                  </a:lnTo>
                  <a:lnTo>
                    <a:pt x="626" y="166"/>
                  </a:lnTo>
                  <a:lnTo>
                    <a:pt x="621" y="163"/>
                  </a:lnTo>
                  <a:lnTo>
                    <a:pt x="614" y="163"/>
                  </a:lnTo>
                  <a:lnTo>
                    <a:pt x="609" y="159"/>
                  </a:lnTo>
                  <a:lnTo>
                    <a:pt x="605" y="158"/>
                  </a:lnTo>
                  <a:lnTo>
                    <a:pt x="604" y="158"/>
                  </a:lnTo>
                  <a:lnTo>
                    <a:pt x="601" y="158"/>
                  </a:lnTo>
                  <a:lnTo>
                    <a:pt x="600" y="159"/>
                  </a:lnTo>
                  <a:lnTo>
                    <a:pt x="597" y="160"/>
                  </a:lnTo>
                  <a:lnTo>
                    <a:pt x="592" y="162"/>
                  </a:lnTo>
                  <a:lnTo>
                    <a:pt x="584" y="163"/>
                  </a:lnTo>
                  <a:lnTo>
                    <a:pt x="578" y="162"/>
                  </a:lnTo>
                  <a:lnTo>
                    <a:pt x="573" y="162"/>
                  </a:lnTo>
                  <a:lnTo>
                    <a:pt x="569" y="160"/>
                  </a:lnTo>
                  <a:lnTo>
                    <a:pt x="565" y="158"/>
                  </a:lnTo>
                  <a:lnTo>
                    <a:pt x="558" y="152"/>
                  </a:lnTo>
                  <a:lnTo>
                    <a:pt x="553" y="144"/>
                  </a:lnTo>
                  <a:lnTo>
                    <a:pt x="549" y="136"/>
                  </a:lnTo>
                  <a:lnTo>
                    <a:pt x="546" y="127"/>
                  </a:lnTo>
                  <a:lnTo>
                    <a:pt x="545" y="116"/>
                  </a:lnTo>
                  <a:lnTo>
                    <a:pt x="542" y="106"/>
                  </a:lnTo>
                  <a:lnTo>
                    <a:pt x="541" y="95"/>
                  </a:lnTo>
                  <a:lnTo>
                    <a:pt x="538" y="84"/>
                  </a:lnTo>
                  <a:lnTo>
                    <a:pt x="534" y="75"/>
                  </a:lnTo>
                  <a:lnTo>
                    <a:pt x="529" y="66"/>
                  </a:lnTo>
                  <a:lnTo>
                    <a:pt x="522" y="59"/>
                  </a:lnTo>
                  <a:lnTo>
                    <a:pt x="513" y="54"/>
                  </a:lnTo>
                  <a:lnTo>
                    <a:pt x="508" y="51"/>
                  </a:lnTo>
                  <a:lnTo>
                    <a:pt x="502" y="50"/>
                  </a:lnTo>
                  <a:lnTo>
                    <a:pt x="496" y="48"/>
                  </a:lnTo>
                  <a:lnTo>
                    <a:pt x="488" y="48"/>
                  </a:lnTo>
                  <a:lnTo>
                    <a:pt x="484" y="48"/>
                  </a:lnTo>
                  <a:lnTo>
                    <a:pt x="478" y="51"/>
                  </a:lnTo>
                  <a:lnTo>
                    <a:pt x="474" y="54"/>
                  </a:lnTo>
                  <a:lnTo>
                    <a:pt x="469" y="58"/>
                  </a:lnTo>
                  <a:lnTo>
                    <a:pt x="464" y="60"/>
                  </a:lnTo>
                  <a:lnTo>
                    <a:pt x="458" y="63"/>
                  </a:lnTo>
                  <a:lnTo>
                    <a:pt x="452" y="66"/>
                  </a:lnTo>
                  <a:lnTo>
                    <a:pt x="446" y="66"/>
                  </a:lnTo>
                  <a:lnTo>
                    <a:pt x="436" y="66"/>
                  </a:lnTo>
                  <a:lnTo>
                    <a:pt x="426" y="63"/>
                  </a:lnTo>
                  <a:lnTo>
                    <a:pt x="418" y="58"/>
                  </a:lnTo>
                  <a:lnTo>
                    <a:pt x="412" y="54"/>
                  </a:lnTo>
                  <a:lnTo>
                    <a:pt x="398" y="43"/>
                  </a:lnTo>
                  <a:lnTo>
                    <a:pt x="385" y="36"/>
                  </a:lnTo>
                  <a:lnTo>
                    <a:pt x="372" y="32"/>
                  </a:lnTo>
                  <a:lnTo>
                    <a:pt x="358" y="32"/>
                  </a:lnTo>
                  <a:lnTo>
                    <a:pt x="345" y="32"/>
                  </a:lnTo>
                  <a:lnTo>
                    <a:pt x="332" y="34"/>
                  </a:lnTo>
                  <a:lnTo>
                    <a:pt x="317" y="34"/>
                  </a:lnTo>
                  <a:lnTo>
                    <a:pt x="304" y="35"/>
                  </a:lnTo>
                  <a:lnTo>
                    <a:pt x="291" y="34"/>
                  </a:lnTo>
                  <a:lnTo>
                    <a:pt x="277" y="30"/>
                  </a:lnTo>
                  <a:lnTo>
                    <a:pt x="273" y="27"/>
                  </a:lnTo>
                  <a:lnTo>
                    <a:pt x="271" y="23"/>
                  </a:lnTo>
                  <a:lnTo>
                    <a:pt x="268" y="18"/>
                  </a:lnTo>
                  <a:lnTo>
                    <a:pt x="267" y="12"/>
                  </a:lnTo>
                  <a:lnTo>
                    <a:pt x="263" y="8"/>
                  </a:lnTo>
                  <a:lnTo>
                    <a:pt x="257" y="4"/>
                  </a:lnTo>
                  <a:lnTo>
                    <a:pt x="251" y="2"/>
                  </a:lnTo>
                  <a:lnTo>
                    <a:pt x="241" y="0"/>
                  </a:lnTo>
                  <a:lnTo>
                    <a:pt x="235" y="2"/>
                  </a:lnTo>
                  <a:lnTo>
                    <a:pt x="229" y="6"/>
                  </a:lnTo>
                  <a:lnTo>
                    <a:pt x="224" y="11"/>
                  </a:lnTo>
                  <a:lnTo>
                    <a:pt x="220" y="18"/>
                  </a:lnTo>
                  <a:lnTo>
                    <a:pt x="215" y="24"/>
                  </a:lnTo>
                  <a:lnTo>
                    <a:pt x="208" y="31"/>
                  </a:lnTo>
                  <a:lnTo>
                    <a:pt x="205" y="32"/>
                  </a:lnTo>
                  <a:lnTo>
                    <a:pt x="201" y="35"/>
                  </a:lnTo>
                  <a:lnTo>
                    <a:pt x="197" y="36"/>
                  </a:lnTo>
                  <a:lnTo>
                    <a:pt x="193" y="36"/>
                  </a:lnTo>
                  <a:lnTo>
                    <a:pt x="188" y="35"/>
                  </a:lnTo>
                  <a:lnTo>
                    <a:pt x="181" y="32"/>
                  </a:lnTo>
                  <a:lnTo>
                    <a:pt x="175" y="28"/>
                  </a:lnTo>
                  <a:lnTo>
                    <a:pt x="169" y="24"/>
                  </a:lnTo>
                  <a:lnTo>
                    <a:pt x="155" y="24"/>
                  </a:lnTo>
                  <a:lnTo>
                    <a:pt x="141" y="28"/>
                  </a:lnTo>
                  <a:lnTo>
                    <a:pt x="136" y="30"/>
                  </a:lnTo>
                  <a:lnTo>
                    <a:pt x="131" y="32"/>
                  </a:lnTo>
                  <a:lnTo>
                    <a:pt x="127" y="36"/>
                  </a:lnTo>
                  <a:lnTo>
                    <a:pt x="123" y="40"/>
                  </a:lnTo>
                  <a:lnTo>
                    <a:pt x="120" y="44"/>
                  </a:lnTo>
                  <a:lnTo>
                    <a:pt x="116" y="50"/>
                  </a:lnTo>
                  <a:lnTo>
                    <a:pt x="115" y="55"/>
                  </a:lnTo>
                  <a:lnTo>
                    <a:pt x="112" y="62"/>
                  </a:lnTo>
                  <a:lnTo>
                    <a:pt x="109" y="78"/>
                  </a:lnTo>
                  <a:lnTo>
                    <a:pt x="108" y="96"/>
                  </a:lnTo>
                  <a:lnTo>
                    <a:pt x="109" y="107"/>
                  </a:lnTo>
                  <a:lnTo>
                    <a:pt x="112" y="116"/>
                  </a:lnTo>
                  <a:lnTo>
                    <a:pt x="116" y="124"/>
                  </a:lnTo>
                  <a:lnTo>
                    <a:pt x="121" y="132"/>
                  </a:lnTo>
                  <a:lnTo>
                    <a:pt x="125" y="139"/>
                  </a:lnTo>
                  <a:lnTo>
                    <a:pt x="129" y="147"/>
                  </a:lnTo>
                  <a:lnTo>
                    <a:pt x="132" y="154"/>
                  </a:lnTo>
                  <a:lnTo>
                    <a:pt x="133" y="163"/>
                  </a:lnTo>
                  <a:lnTo>
                    <a:pt x="131" y="174"/>
                  </a:lnTo>
                  <a:lnTo>
                    <a:pt x="127" y="186"/>
                  </a:lnTo>
                  <a:lnTo>
                    <a:pt x="120" y="196"/>
                  </a:lnTo>
                  <a:lnTo>
                    <a:pt x="112" y="208"/>
                  </a:lnTo>
                  <a:lnTo>
                    <a:pt x="91" y="230"/>
                  </a:lnTo>
                  <a:lnTo>
                    <a:pt x="67" y="252"/>
                  </a:lnTo>
                  <a:lnTo>
                    <a:pt x="43" y="274"/>
                  </a:lnTo>
                  <a:lnTo>
                    <a:pt x="21" y="295"/>
                  </a:lnTo>
                  <a:lnTo>
                    <a:pt x="12" y="306"/>
                  </a:lnTo>
                  <a:lnTo>
                    <a:pt x="5" y="316"/>
                  </a:lnTo>
                  <a:lnTo>
                    <a:pt x="1" y="327"/>
                  </a:lnTo>
                  <a:lnTo>
                    <a:pt x="0" y="338"/>
                  </a:lnTo>
                  <a:lnTo>
                    <a:pt x="0" y="348"/>
                  </a:lnTo>
                  <a:lnTo>
                    <a:pt x="0" y="374"/>
                  </a:lnTo>
                  <a:lnTo>
                    <a:pt x="7" y="375"/>
                  </a:lnTo>
                  <a:lnTo>
                    <a:pt x="12" y="378"/>
                  </a:lnTo>
                  <a:lnTo>
                    <a:pt x="16" y="380"/>
                  </a:lnTo>
                  <a:lnTo>
                    <a:pt x="20" y="384"/>
                  </a:lnTo>
                  <a:lnTo>
                    <a:pt x="27" y="394"/>
                  </a:lnTo>
                  <a:lnTo>
                    <a:pt x="32" y="403"/>
                  </a:lnTo>
                  <a:lnTo>
                    <a:pt x="36" y="414"/>
                  </a:lnTo>
                  <a:lnTo>
                    <a:pt x="41" y="423"/>
                  </a:lnTo>
                  <a:lnTo>
                    <a:pt x="44" y="427"/>
                  </a:lnTo>
                  <a:lnTo>
                    <a:pt x="47" y="430"/>
                  </a:lnTo>
                  <a:lnTo>
                    <a:pt x="51" y="432"/>
                  </a:lnTo>
                  <a:lnTo>
                    <a:pt x="55" y="434"/>
                  </a:lnTo>
                  <a:lnTo>
                    <a:pt x="88" y="443"/>
                  </a:lnTo>
                  <a:lnTo>
                    <a:pt x="115" y="448"/>
                  </a:lnTo>
                  <a:lnTo>
                    <a:pt x="139" y="451"/>
                  </a:lnTo>
                  <a:lnTo>
                    <a:pt x="160" y="452"/>
                  </a:lnTo>
                  <a:lnTo>
                    <a:pt x="181" y="454"/>
                  </a:lnTo>
                  <a:lnTo>
                    <a:pt x="203" y="456"/>
                  </a:lnTo>
                  <a:lnTo>
                    <a:pt x="215" y="458"/>
                  </a:lnTo>
                  <a:lnTo>
                    <a:pt x="227" y="460"/>
                  </a:lnTo>
                  <a:lnTo>
                    <a:pt x="239" y="464"/>
                  </a:lnTo>
                  <a:lnTo>
                    <a:pt x="253" y="470"/>
                  </a:lnTo>
                  <a:lnTo>
                    <a:pt x="261" y="475"/>
                  </a:lnTo>
                  <a:lnTo>
                    <a:pt x="268" y="482"/>
                  </a:lnTo>
                  <a:lnTo>
                    <a:pt x="275" y="488"/>
                  </a:lnTo>
                  <a:lnTo>
                    <a:pt x="280" y="495"/>
                  </a:lnTo>
                  <a:lnTo>
                    <a:pt x="287" y="502"/>
                  </a:lnTo>
                  <a:lnTo>
                    <a:pt x="292" y="507"/>
                  </a:lnTo>
                  <a:lnTo>
                    <a:pt x="299" y="511"/>
                  </a:lnTo>
                  <a:lnTo>
                    <a:pt x="308" y="512"/>
                  </a:lnTo>
                  <a:lnTo>
                    <a:pt x="320" y="511"/>
                  </a:lnTo>
                  <a:lnTo>
                    <a:pt x="332" y="510"/>
                  </a:lnTo>
                  <a:lnTo>
                    <a:pt x="343" y="507"/>
                  </a:lnTo>
                  <a:lnTo>
                    <a:pt x="353" y="503"/>
                  </a:lnTo>
                  <a:lnTo>
                    <a:pt x="374" y="492"/>
                  </a:lnTo>
                  <a:lnTo>
                    <a:pt x="394" y="482"/>
                  </a:lnTo>
                  <a:lnTo>
                    <a:pt x="413" y="471"/>
                  </a:lnTo>
                  <a:lnTo>
                    <a:pt x="430" y="462"/>
                  </a:lnTo>
                  <a:lnTo>
                    <a:pt x="440" y="458"/>
                  </a:lnTo>
                  <a:lnTo>
                    <a:pt x="448" y="455"/>
                  </a:lnTo>
                  <a:lnTo>
                    <a:pt x="456" y="452"/>
                  </a:lnTo>
                  <a:lnTo>
                    <a:pt x="464" y="452"/>
                  </a:lnTo>
                  <a:lnTo>
                    <a:pt x="476" y="452"/>
                  </a:lnTo>
                  <a:lnTo>
                    <a:pt x="486" y="456"/>
                  </a:lnTo>
                  <a:lnTo>
                    <a:pt x="496" y="460"/>
                  </a:lnTo>
                  <a:lnTo>
                    <a:pt x="502" y="466"/>
                  </a:lnTo>
                  <a:lnTo>
                    <a:pt x="508" y="472"/>
                  </a:lnTo>
                  <a:lnTo>
                    <a:pt x="513" y="480"/>
                  </a:lnTo>
                  <a:lnTo>
                    <a:pt x="517" y="488"/>
                  </a:lnTo>
                  <a:lnTo>
                    <a:pt x="520" y="496"/>
                  </a:lnTo>
                  <a:lnTo>
                    <a:pt x="525" y="514"/>
                  </a:lnTo>
                  <a:lnTo>
                    <a:pt x="530" y="528"/>
                  </a:lnTo>
                  <a:lnTo>
                    <a:pt x="533" y="534"/>
                  </a:lnTo>
                  <a:lnTo>
                    <a:pt x="537" y="538"/>
                  </a:lnTo>
                  <a:lnTo>
                    <a:pt x="542" y="542"/>
                  </a:lnTo>
                  <a:lnTo>
                    <a:pt x="548" y="542"/>
                  </a:lnTo>
                  <a:lnTo>
                    <a:pt x="553" y="542"/>
                  </a:lnTo>
                  <a:lnTo>
                    <a:pt x="558" y="539"/>
                  </a:lnTo>
                  <a:lnTo>
                    <a:pt x="564" y="536"/>
                  </a:lnTo>
                  <a:lnTo>
                    <a:pt x="569" y="534"/>
                  </a:lnTo>
                  <a:lnTo>
                    <a:pt x="580" y="527"/>
                  </a:lnTo>
                  <a:lnTo>
                    <a:pt x="590" y="524"/>
                  </a:lnTo>
                  <a:lnTo>
                    <a:pt x="593" y="532"/>
                  </a:lnTo>
                  <a:lnTo>
                    <a:pt x="596" y="540"/>
                  </a:lnTo>
                  <a:lnTo>
                    <a:pt x="600" y="548"/>
                  </a:lnTo>
                  <a:lnTo>
                    <a:pt x="604" y="553"/>
                  </a:lnTo>
                  <a:lnTo>
                    <a:pt x="609" y="559"/>
                  </a:lnTo>
                  <a:lnTo>
                    <a:pt x="614" y="563"/>
                  </a:lnTo>
                  <a:lnTo>
                    <a:pt x="620" y="565"/>
                  </a:lnTo>
                  <a:lnTo>
                    <a:pt x="626" y="565"/>
                  </a:lnTo>
                  <a:lnTo>
                    <a:pt x="641" y="557"/>
                  </a:lnTo>
                  <a:lnTo>
                    <a:pt x="657" y="548"/>
                  </a:lnTo>
                  <a:lnTo>
                    <a:pt x="662" y="548"/>
                  </a:lnTo>
                  <a:lnTo>
                    <a:pt x="668" y="549"/>
                  </a:lnTo>
                  <a:lnTo>
                    <a:pt x="673" y="552"/>
                  </a:lnTo>
                  <a:lnTo>
                    <a:pt x="678" y="556"/>
                  </a:lnTo>
                  <a:lnTo>
                    <a:pt x="689" y="563"/>
                  </a:lnTo>
                  <a:lnTo>
                    <a:pt x="701" y="572"/>
                  </a:lnTo>
                  <a:lnTo>
                    <a:pt x="713" y="581"/>
                  </a:lnTo>
                  <a:lnTo>
                    <a:pt x="726" y="588"/>
                  </a:lnTo>
                  <a:lnTo>
                    <a:pt x="734" y="592"/>
                  </a:lnTo>
                  <a:lnTo>
                    <a:pt x="742" y="593"/>
                  </a:lnTo>
                  <a:lnTo>
                    <a:pt x="750" y="596"/>
                  </a:lnTo>
                  <a:lnTo>
                    <a:pt x="758" y="596"/>
                  </a:lnTo>
                  <a:lnTo>
                    <a:pt x="765" y="608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accent1">
                  <a:lumMod val="20000"/>
                  <a:lumOff val="8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95" b="0" i="0" u="none" strike="noStrike" kern="1200" cap="none" spc="0" normalizeH="0" baseline="0" noProof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5" name="Freeform 57"/>
            <p:cNvSpPr>
              <a:spLocks/>
            </p:cNvSpPr>
            <p:nvPr/>
          </p:nvSpPr>
          <p:spPr bwMode="auto">
            <a:xfrm>
              <a:off x="4823304" y="2330653"/>
              <a:ext cx="41739" cy="49757"/>
            </a:xfrm>
            <a:custGeom>
              <a:avLst/>
              <a:gdLst>
                <a:gd name="T0" fmla="*/ 550 w 578"/>
                <a:gd name="T1" fmla="*/ 142 h 693"/>
                <a:gd name="T2" fmla="*/ 523 w 578"/>
                <a:gd name="T3" fmla="*/ 114 h 693"/>
                <a:gd name="T4" fmla="*/ 487 w 578"/>
                <a:gd name="T5" fmla="*/ 104 h 693"/>
                <a:gd name="T6" fmla="*/ 450 w 578"/>
                <a:gd name="T7" fmla="*/ 110 h 693"/>
                <a:gd name="T8" fmla="*/ 422 w 578"/>
                <a:gd name="T9" fmla="*/ 126 h 693"/>
                <a:gd name="T10" fmla="*/ 395 w 578"/>
                <a:gd name="T11" fmla="*/ 118 h 693"/>
                <a:gd name="T12" fmla="*/ 379 w 578"/>
                <a:gd name="T13" fmla="*/ 96 h 693"/>
                <a:gd name="T14" fmla="*/ 339 w 578"/>
                <a:gd name="T15" fmla="*/ 78 h 693"/>
                <a:gd name="T16" fmla="*/ 294 w 578"/>
                <a:gd name="T17" fmla="*/ 68 h 693"/>
                <a:gd name="T18" fmla="*/ 273 w 578"/>
                <a:gd name="T19" fmla="*/ 44 h 693"/>
                <a:gd name="T20" fmla="*/ 250 w 578"/>
                <a:gd name="T21" fmla="*/ 4 h 693"/>
                <a:gd name="T22" fmla="*/ 228 w 578"/>
                <a:gd name="T23" fmla="*/ 26 h 693"/>
                <a:gd name="T24" fmla="*/ 197 w 578"/>
                <a:gd name="T25" fmla="*/ 37 h 693"/>
                <a:gd name="T26" fmla="*/ 148 w 578"/>
                <a:gd name="T27" fmla="*/ 36 h 693"/>
                <a:gd name="T28" fmla="*/ 106 w 578"/>
                <a:gd name="T29" fmla="*/ 49 h 693"/>
                <a:gd name="T30" fmla="*/ 50 w 578"/>
                <a:gd name="T31" fmla="*/ 137 h 693"/>
                <a:gd name="T32" fmla="*/ 10 w 578"/>
                <a:gd name="T33" fmla="*/ 180 h 693"/>
                <a:gd name="T34" fmla="*/ 46 w 578"/>
                <a:gd name="T35" fmla="*/ 202 h 693"/>
                <a:gd name="T36" fmla="*/ 73 w 578"/>
                <a:gd name="T37" fmla="*/ 225 h 693"/>
                <a:gd name="T38" fmla="*/ 100 w 578"/>
                <a:gd name="T39" fmla="*/ 271 h 693"/>
                <a:gd name="T40" fmla="*/ 133 w 578"/>
                <a:gd name="T41" fmla="*/ 294 h 693"/>
                <a:gd name="T42" fmla="*/ 169 w 578"/>
                <a:gd name="T43" fmla="*/ 321 h 693"/>
                <a:gd name="T44" fmla="*/ 185 w 578"/>
                <a:gd name="T45" fmla="*/ 363 h 693"/>
                <a:gd name="T46" fmla="*/ 178 w 578"/>
                <a:gd name="T47" fmla="*/ 405 h 693"/>
                <a:gd name="T48" fmla="*/ 164 w 578"/>
                <a:gd name="T49" fmla="*/ 441 h 693"/>
                <a:gd name="T50" fmla="*/ 169 w 578"/>
                <a:gd name="T51" fmla="*/ 490 h 693"/>
                <a:gd name="T52" fmla="*/ 194 w 578"/>
                <a:gd name="T53" fmla="*/ 523 h 693"/>
                <a:gd name="T54" fmla="*/ 222 w 578"/>
                <a:gd name="T55" fmla="*/ 551 h 693"/>
                <a:gd name="T56" fmla="*/ 240 w 578"/>
                <a:gd name="T57" fmla="*/ 594 h 693"/>
                <a:gd name="T58" fmla="*/ 237 w 578"/>
                <a:gd name="T59" fmla="*/ 621 h 693"/>
                <a:gd name="T60" fmla="*/ 216 w 578"/>
                <a:gd name="T61" fmla="*/ 643 h 693"/>
                <a:gd name="T62" fmla="*/ 205 w 578"/>
                <a:gd name="T63" fmla="*/ 663 h 693"/>
                <a:gd name="T64" fmla="*/ 209 w 578"/>
                <a:gd name="T65" fmla="*/ 685 h 693"/>
                <a:gd name="T66" fmla="*/ 224 w 578"/>
                <a:gd name="T67" fmla="*/ 693 h 693"/>
                <a:gd name="T68" fmla="*/ 245 w 578"/>
                <a:gd name="T69" fmla="*/ 683 h 693"/>
                <a:gd name="T70" fmla="*/ 265 w 578"/>
                <a:gd name="T71" fmla="*/ 663 h 693"/>
                <a:gd name="T72" fmla="*/ 317 w 578"/>
                <a:gd name="T73" fmla="*/ 662 h 693"/>
                <a:gd name="T74" fmla="*/ 353 w 578"/>
                <a:gd name="T75" fmla="*/ 657 h 693"/>
                <a:gd name="T76" fmla="*/ 395 w 578"/>
                <a:gd name="T77" fmla="*/ 646 h 693"/>
                <a:gd name="T78" fmla="*/ 438 w 578"/>
                <a:gd name="T79" fmla="*/ 650 h 693"/>
                <a:gd name="T80" fmla="*/ 475 w 578"/>
                <a:gd name="T81" fmla="*/ 662 h 693"/>
                <a:gd name="T82" fmla="*/ 521 w 578"/>
                <a:gd name="T83" fmla="*/ 659 h 693"/>
                <a:gd name="T84" fmla="*/ 551 w 578"/>
                <a:gd name="T85" fmla="*/ 642 h 693"/>
                <a:gd name="T86" fmla="*/ 570 w 578"/>
                <a:gd name="T87" fmla="*/ 614 h 693"/>
                <a:gd name="T88" fmla="*/ 577 w 578"/>
                <a:gd name="T89" fmla="*/ 573 h 693"/>
                <a:gd name="T90" fmla="*/ 569 w 578"/>
                <a:gd name="T91" fmla="*/ 519 h 693"/>
                <a:gd name="T92" fmla="*/ 521 w 578"/>
                <a:gd name="T93" fmla="*/ 447 h 693"/>
                <a:gd name="T94" fmla="*/ 490 w 578"/>
                <a:gd name="T95" fmla="*/ 395 h 693"/>
                <a:gd name="T96" fmla="*/ 482 w 578"/>
                <a:gd name="T97" fmla="*/ 337 h 693"/>
                <a:gd name="T98" fmla="*/ 495 w 578"/>
                <a:gd name="T99" fmla="*/ 295 h 693"/>
                <a:gd name="T100" fmla="*/ 529 w 578"/>
                <a:gd name="T101" fmla="*/ 255 h 693"/>
                <a:gd name="T102" fmla="*/ 561 w 578"/>
                <a:gd name="T103" fmla="*/ 214 h 693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78"/>
                <a:gd name="T157" fmla="*/ 0 h 693"/>
                <a:gd name="T158" fmla="*/ 578 w 578"/>
                <a:gd name="T159" fmla="*/ 693 h 693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78" h="693">
                  <a:moveTo>
                    <a:pt x="571" y="188"/>
                  </a:moveTo>
                  <a:lnTo>
                    <a:pt x="565" y="172"/>
                  </a:lnTo>
                  <a:lnTo>
                    <a:pt x="558" y="156"/>
                  </a:lnTo>
                  <a:lnTo>
                    <a:pt x="550" y="142"/>
                  </a:lnTo>
                  <a:lnTo>
                    <a:pt x="542" y="129"/>
                  </a:lnTo>
                  <a:lnTo>
                    <a:pt x="537" y="124"/>
                  </a:lnTo>
                  <a:lnTo>
                    <a:pt x="530" y="118"/>
                  </a:lnTo>
                  <a:lnTo>
                    <a:pt x="523" y="114"/>
                  </a:lnTo>
                  <a:lnTo>
                    <a:pt x="515" y="110"/>
                  </a:lnTo>
                  <a:lnTo>
                    <a:pt x="507" y="106"/>
                  </a:lnTo>
                  <a:lnTo>
                    <a:pt x="498" y="105"/>
                  </a:lnTo>
                  <a:lnTo>
                    <a:pt x="487" y="104"/>
                  </a:lnTo>
                  <a:lnTo>
                    <a:pt x="475" y="102"/>
                  </a:lnTo>
                  <a:lnTo>
                    <a:pt x="466" y="104"/>
                  </a:lnTo>
                  <a:lnTo>
                    <a:pt x="458" y="106"/>
                  </a:lnTo>
                  <a:lnTo>
                    <a:pt x="450" y="110"/>
                  </a:lnTo>
                  <a:lnTo>
                    <a:pt x="443" y="114"/>
                  </a:lnTo>
                  <a:lnTo>
                    <a:pt x="435" y="120"/>
                  </a:lnTo>
                  <a:lnTo>
                    <a:pt x="429" y="124"/>
                  </a:lnTo>
                  <a:lnTo>
                    <a:pt x="422" y="126"/>
                  </a:lnTo>
                  <a:lnTo>
                    <a:pt x="415" y="126"/>
                  </a:lnTo>
                  <a:lnTo>
                    <a:pt x="407" y="126"/>
                  </a:lnTo>
                  <a:lnTo>
                    <a:pt x="401" y="122"/>
                  </a:lnTo>
                  <a:lnTo>
                    <a:pt x="395" y="118"/>
                  </a:lnTo>
                  <a:lnTo>
                    <a:pt x="391" y="113"/>
                  </a:lnTo>
                  <a:lnTo>
                    <a:pt x="387" y="108"/>
                  </a:lnTo>
                  <a:lnTo>
                    <a:pt x="383" y="101"/>
                  </a:lnTo>
                  <a:lnTo>
                    <a:pt x="379" y="96"/>
                  </a:lnTo>
                  <a:lnTo>
                    <a:pt x="373" y="90"/>
                  </a:lnTo>
                  <a:lnTo>
                    <a:pt x="361" y="85"/>
                  </a:lnTo>
                  <a:lnTo>
                    <a:pt x="350" y="81"/>
                  </a:lnTo>
                  <a:lnTo>
                    <a:pt x="339" y="78"/>
                  </a:lnTo>
                  <a:lnTo>
                    <a:pt x="330" y="76"/>
                  </a:lnTo>
                  <a:lnTo>
                    <a:pt x="314" y="73"/>
                  </a:lnTo>
                  <a:lnTo>
                    <a:pt x="299" y="70"/>
                  </a:lnTo>
                  <a:lnTo>
                    <a:pt x="294" y="68"/>
                  </a:lnTo>
                  <a:lnTo>
                    <a:pt x="287" y="65"/>
                  </a:lnTo>
                  <a:lnTo>
                    <a:pt x="282" y="60"/>
                  </a:lnTo>
                  <a:lnTo>
                    <a:pt x="277" y="53"/>
                  </a:lnTo>
                  <a:lnTo>
                    <a:pt x="273" y="44"/>
                  </a:lnTo>
                  <a:lnTo>
                    <a:pt x="267" y="32"/>
                  </a:lnTo>
                  <a:lnTo>
                    <a:pt x="263" y="18"/>
                  </a:lnTo>
                  <a:lnTo>
                    <a:pt x="258" y="0"/>
                  </a:lnTo>
                  <a:lnTo>
                    <a:pt x="250" y="4"/>
                  </a:lnTo>
                  <a:lnTo>
                    <a:pt x="244" y="9"/>
                  </a:lnTo>
                  <a:lnTo>
                    <a:pt x="237" y="14"/>
                  </a:lnTo>
                  <a:lnTo>
                    <a:pt x="232" y="21"/>
                  </a:lnTo>
                  <a:lnTo>
                    <a:pt x="228" y="26"/>
                  </a:lnTo>
                  <a:lnTo>
                    <a:pt x="222" y="32"/>
                  </a:lnTo>
                  <a:lnTo>
                    <a:pt x="217" y="36"/>
                  </a:lnTo>
                  <a:lnTo>
                    <a:pt x="210" y="37"/>
                  </a:lnTo>
                  <a:lnTo>
                    <a:pt x="197" y="37"/>
                  </a:lnTo>
                  <a:lnTo>
                    <a:pt x="184" y="37"/>
                  </a:lnTo>
                  <a:lnTo>
                    <a:pt x="170" y="37"/>
                  </a:lnTo>
                  <a:lnTo>
                    <a:pt x="156" y="37"/>
                  </a:lnTo>
                  <a:lnTo>
                    <a:pt x="148" y="36"/>
                  </a:lnTo>
                  <a:lnTo>
                    <a:pt x="138" y="33"/>
                  </a:lnTo>
                  <a:lnTo>
                    <a:pt x="132" y="29"/>
                  </a:lnTo>
                  <a:lnTo>
                    <a:pt x="126" y="25"/>
                  </a:lnTo>
                  <a:lnTo>
                    <a:pt x="106" y="49"/>
                  </a:lnTo>
                  <a:lnTo>
                    <a:pt x="89" y="73"/>
                  </a:lnTo>
                  <a:lnTo>
                    <a:pt x="76" y="96"/>
                  </a:lnTo>
                  <a:lnTo>
                    <a:pt x="62" y="117"/>
                  </a:lnTo>
                  <a:lnTo>
                    <a:pt x="50" y="137"/>
                  </a:lnTo>
                  <a:lnTo>
                    <a:pt x="36" y="156"/>
                  </a:lnTo>
                  <a:lnTo>
                    <a:pt x="29" y="165"/>
                  </a:lnTo>
                  <a:lnTo>
                    <a:pt x="20" y="173"/>
                  </a:lnTo>
                  <a:lnTo>
                    <a:pt x="10" y="180"/>
                  </a:lnTo>
                  <a:lnTo>
                    <a:pt x="0" y="188"/>
                  </a:lnTo>
                  <a:lnTo>
                    <a:pt x="22" y="192"/>
                  </a:lnTo>
                  <a:lnTo>
                    <a:pt x="40" y="198"/>
                  </a:lnTo>
                  <a:lnTo>
                    <a:pt x="46" y="202"/>
                  </a:lnTo>
                  <a:lnTo>
                    <a:pt x="53" y="206"/>
                  </a:lnTo>
                  <a:lnTo>
                    <a:pt x="58" y="210"/>
                  </a:lnTo>
                  <a:lnTo>
                    <a:pt x="64" y="214"/>
                  </a:lnTo>
                  <a:lnTo>
                    <a:pt x="73" y="225"/>
                  </a:lnTo>
                  <a:lnTo>
                    <a:pt x="80" y="237"/>
                  </a:lnTo>
                  <a:lnTo>
                    <a:pt x="88" y="250"/>
                  </a:lnTo>
                  <a:lnTo>
                    <a:pt x="96" y="265"/>
                  </a:lnTo>
                  <a:lnTo>
                    <a:pt x="100" y="271"/>
                  </a:lnTo>
                  <a:lnTo>
                    <a:pt x="105" y="277"/>
                  </a:lnTo>
                  <a:lnTo>
                    <a:pt x="112" y="281"/>
                  </a:lnTo>
                  <a:lnTo>
                    <a:pt x="118" y="286"/>
                  </a:lnTo>
                  <a:lnTo>
                    <a:pt x="133" y="294"/>
                  </a:lnTo>
                  <a:lnTo>
                    <a:pt x="148" y="302"/>
                  </a:lnTo>
                  <a:lnTo>
                    <a:pt x="156" y="307"/>
                  </a:lnTo>
                  <a:lnTo>
                    <a:pt x="162" y="313"/>
                  </a:lnTo>
                  <a:lnTo>
                    <a:pt x="169" y="321"/>
                  </a:lnTo>
                  <a:lnTo>
                    <a:pt x="174" y="329"/>
                  </a:lnTo>
                  <a:lnTo>
                    <a:pt x="180" y="338"/>
                  </a:lnTo>
                  <a:lnTo>
                    <a:pt x="184" y="350"/>
                  </a:lnTo>
                  <a:lnTo>
                    <a:pt x="185" y="363"/>
                  </a:lnTo>
                  <a:lnTo>
                    <a:pt x="186" y="379"/>
                  </a:lnTo>
                  <a:lnTo>
                    <a:pt x="185" y="389"/>
                  </a:lnTo>
                  <a:lnTo>
                    <a:pt x="182" y="397"/>
                  </a:lnTo>
                  <a:lnTo>
                    <a:pt x="178" y="405"/>
                  </a:lnTo>
                  <a:lnTo>
                    <a:pt x="174" y="414"/>
                  </a:lnTo>
                  <a:lnTo>
                    <a:pt x="170" y="422"/>
                  </a:lnTo>
                  <a:lnTo>
                    <a:pt x="166" y="431"/>
                  </a:lnTo>
                  <a:lnTo>
                    <a:pt x="164" y="441"/>
                  </a:lnTo>
                  <a:lnTo>
                    <a:pt x="162" y="451"/>
                  </a:lnTo>
                  <a:lnTo>
                    <a:pt x="164" y="466"/>
                  </a:lnTo>
                  <a:lnTo>
                    <a:pt x="165" y="479"/>
                  </a:lnTo>
                  <a:lnTo>
                    <a:pt x="169" y="490"/>
                  </a:lnTo>
                  <a:lnTo>
                    <a:pt x="174" y="501"/>
                  </a:lnTo>
                  <a:lnTo>
                    <a:pt x="181" y="509"/>
                  </a:lnTo>
                  <a:lnTo>
                    <a:pt x="188" y="517"/>
                  </a:lnTo>
                  <a:lnTo>
                    <a:pt x="194" y="523"/>
                  </a:lnTo>
                  <a:lnTo>
                    <a:pt x="201" y="530"/>
                  </a:lnTo>
                  <a:lnTo>
                    <a:pt x="209" y="537"/>
                  </a:lnTo>
                  <a:lnTo>
                    <a:pt x="216" y="545"/>
                  </a:lnTo>
                  <a:lnTo>
                    <a:pt x="222" y="551"/>
                  </a:lnTo>
                  <a:lnTo>
                    <a:pt x="228" y="561"/>
                  </a:lnTo>
                  <a:lnTo>
                    <a:pt x="233" y="570"/>
                  </a:lnTo>
                  <a:lnTo>
                    <a:pt x="237" y="581"/>
                  </a:lnTo>
                  <a:lnTo>
                    <a:pt x="240" y="594"/>
                  </a:lnTo>
                  <a:lnTo>
                    <a:pt x="241" y="609"/>
                  </a:lnTo>
                  <a:lnTo>
                    <a:pt x="240" y="613"/>
                  </a:lnTo>
                  <a:lnTo>
                    <a:pt x="238" y="617"/>
                  </a:lnTo>
                  <a:lnTo>
                    <a:pt x="237" y="621"/>
                  </a:lnTo>
                  <a:lnTo>
                    <a:pt x="234" y="623"/>
                  </a:lnTo>
                  <a:lnTo>
                    <a:pt x="229" y="630"/>
                  </a:lnTo>
                  <a:lnTo>
                    <a:pt x="222" y="637"/>
                  </a:lnTo>
                  <a:lnTo>
                    <a:pt x="216" y="643"/>
                  </a:lnTo>
                  <a:lnTo>
                    <a:pt x="210" y="650"/>
                  </a:lnTo>
                  <a:lnTo>
                    <a:pt x="208" y="654"/>
                  </a:lnTo>
                  <a:lnTo>
                    <a:pt x="206" y="658"/>
                  </a:lnTo>
                  <a:lnTo>
                    <a:pt x="205" y="663"/>
                  </a:lnTo>
                  <a:lnTo>
                    <a:pt x="205" y="669"/>
                  </a:lnTo>
                  <a:lnTo>
                    <a:pt x="205" y="675"/>
                  </a:lnTo>
                  <a:lnTo>
                    <a:pt x="206" y="681"/>
                  </a:lnTo>
                  <a:lnTo>
                    <a:pt x="209" y="685"/>
                  </a:lnTo>
                  <a:lnTo>
                    <a:pt x="212" y="687"/>
                  </a:lnTo>
                  <a:lnTo>
                    <a:pt x="216" y="690"/>
                  </a:lnTo>
                  <a:lnTo>
                    <a:pt x="220" y="691"/>
                  </a:lnTo>
                  <a:lnTo>
                    <a:pt x="224" y="693"/>
                  </a:lnTo>
                  <a:lnTo>
                    <a:pt x="229" y="693"/>
                  </a:lnTo>
                  <a:lnTo>
                    <a:pt x="234" y="691"/>
                  </a:lnTo>
                  <a:lnTo>
                    <a:pt x="240" y="689"/>
                  </a:lnTo>
                  <a:lnTo>
                    <a:pt x="245" y="683"/>
                  </a:lnTo>
                  <a:lnTo>
                    <a:pt x="249" y="678"/>
                  </a:lnTo>
                  <a:lnTo>
                    <a:pt x="254" y="673"/>
                  </a:lnTo>
                  <a:lnTo>
                    <a:pt x="258" y="667"/>
                  </a:lnTo>
                  <a:lnTo>
                    <a:pt x="265" y="663"/>
                  </a:lnTo>
                  <a:lnTo>
                    <a:pt x="270" y="662"/>
                  </a:lnTo>
                  <a:lnTo>
                    <a:pt x="293" y="662"/>
                  </a:lnTo>
                  <a:lnTo>
                    <a:pt x="306" y="662"/>
                  </a:lnTo>
                  <a:lnTo>
                    <a:pt x="317" y="662"/>
                  </a:lnTo>
                  <a:lnTo>
                    <a:pt x="325" y="662"/>
                  </a:lnTo>
                  <a:lnTo>
                    <a:pt x="334" y="662"/>
                  </a:lnTo>
                  <a:lnTo>
                    <a:pt x="343" y="659"/>
                  </a:lnTo>
                  <a:lnTo>
                    <a:pt x="353" y="657"/>
                  </a:lnTo>
                  <a:lnTo>
                    <a:pt x="362" y="654"/>
                  </a:lnTo>
                  <a:lnTo>
                    <a:pt x="373" y="650"/>
                  </a:lnTo>
                  <a:lnTo>
                    <a:pt x="383" y="647"/>
                  </a:lnTo>
                  <a:lnTo>
                    <a:pt x="395" y="646"/>
                  </a:lnTo>
                  <a:lnTo>
                    <a:pt x="409" y="645"/>
                  </a:lnTo>
                  <a:lnTo>
                    <a:pt x="419" y="646"/>
                  </a:lnTo>
                  <a:lnTo>
                    <a:pt x="429" y="647"/>
                  </a:lnTo>
                  <a:lnTo>
                    <a:pt x="438" y="650"/>
                  </a:lnTo>
                  <a:lnTo>
                    <a:pt x="446" y="654"/>
                  </a:lnTo>
                  <a:lnTo>
                    <a:pt x="454" y="657"/>
                  </a:lnTo>
                  <a:lnTo>
                    <a:pt x="463" y="659"/>
                  </a:lnTo>
                  <a:lnTo>
                    <a:pt x="475" y="662"/>
                  </a:lnTo>
                  <a:lnTo>
                    <a:pt x="487" y="662"/>
                  </a:lnTo>
                  <a:lnTo>
                    <a:pt x="499" y="662"/>
                  </a:lnTo>
                  <a:lnTo>
                    <a:pt x="510" y="661"/>
                  </a:lnTo>
                  <a:lnTo>
                    <a:pt x="521" y="659"/>
                  </a:lnTo>
                  <a:lnTo>
                    <a:pt x="529" y="655"/>
                  </a:lnTo>
                  <a:lnTo>
                    <a:pt x="538" y="653"/>
                  </a:lnTo>
                  <a:lnTo>
                    <a:pt x="545" y="647"/>
                  </a:lnTo>
                  <a:lnTo>
                    <a:pt x="551" y="642"/>
                  </a:lnTo>
                  <a:lnTo>
                    <a:pt x="557" y="637"/>
                  </a:lnTo>
                  <a:lnTo>
                    <a:pt x="562" y="630"/>
                  </a:lnTo>
                  <a:lnTo>
                    <a:pt x="566" y="622"/>
                  </a:lnTo>
                  <a:lnTo>
                    <a:pt x="570" y="614"/>
                  </a:lnTo>
                  <a:lnTo>
                    <a:pt x="573" y="605"/>
                  </a:lnTo>
                  <a:lnTo>
                    <a:pt x="575" y="594"/>
                  </a:lnTo>
                  <a:lnTo>
                    <a:pt x="577" y="583"/>
                  </a:lnTo>
                  <a:lnTo>
                    <a:pt x="577" y="573"/>
                  </a:lnTo>
                  <a:lnTo>
                    <a:pt x="578" y="561"/>
                  </a:lnTo>
                  <a:lnTo>
                    <a:pt x="577" y="546"/>
                  </a:lnTo>
                  <a:lnTo>
                    <a:pt x="574" y="533"/>
                  </a:lnTo>
                  <a:lnTo>
                    <a:pt x="569" y="519"/>
                  </a:lnTo>
                  <a:lnTo>
                    <a:pt x="562" y="507"/>
                  </a:lnTo>
                  <a:lnTo>
                    <a:pt x="547" y="483"/>
                  </a:lnTo>
                  <a:lnTo>
                    <a:pt x="530" y="459"/>
                  </a:lnTo>
                  <a:lnTo>
                    <a:pt x="521" y="447"/>
                  </a:lnTo>
                  <a:lnTo>
                    <a:pt x="511" y="435"/>
                  </a:lnTo>
                  <a:lnTo>
                    <a:pt x="503" y="422"/>
                  </a:lnTo>
                  <a:lnTo>
                    <a:pt x="497" y="410"/>
                  </a:lnTo>
                  <a:lnTo>
                    <a:pt x="490" y="395"/>
                  </a:lnTo>
                  <a:lnTo>
                    <a:pt x="485" y="381"/>
                  </a:lnTo>
                  <a:lnTo>
                    <a:pt x="482" y="366"/>
                  </a:lnTo>
                  <a:lnTo>
                    <a:pt x="481" y="350"/>
                  </a:lnTo>
                  <a:lnTo>
                    <a:pt x="482" y="337"/>
                  </a:lnTo>
                  <a:lnTo>
                    <a:pt x="483" y="325"/>
                  </a:lnTo>
                  <a:lnTo>
                    <a:pt x="487" y="314"/>
                  </a:lnTo>
                  <a:lnTo>
                    <a:pt x="491" y="303"/>
                  </a:lnTo>
                  <a:lnTo>
                    <a:pt x="495" y="295"/>
                  </a:lnTo>
                  <a:lnTo>
                    <a:pt x="502" y="286"/>
                  </a:lnTo>
                  <a:lnTo>
                    <a:pt x="507" y="278"/>
                  </a:lnTo>
                  <a:lnTo>
                    <a:pt x="514" y="270"/>
                  </a:lnTo>
                  <a:lnTo>
                    <a:pt x="529" y="255"/>
                  </a:lnTo>
                  <a:lnTo>
                    <a:pt x="542" y="241"/>
                  </a:lnTo>
                  <a:lnTo>
                    <a:pt x="549" y="233"/>
                  </a:lnTo>
                  <a:lnTo>
                    <a:pt x="555" y="223"/>
                  </a:lnTo>
                  <a:lnTo>
                    <a:pt x="561" y="214"/>
                  </a:lnTo>
                  <a:lnTo>
                    <a:pt x="566" y="205"/>
                  </a:lnTo>
                  <a:lnTo>
                    <a:pt x="571" y="188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accent1">
                  <a:lumMod val="20000"/>
                  <a:lumOff val="8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95" b="0" i="0" u="none" strike="noStrike" kern="1200" cap="none" spc="0" normalizeH="0" baseline="0" noProof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6" name="Freeform 63"/>
            <p:cNvSpPr>
              <a:spLocks/>
            </p:cNvSpPr>
            <p:nvPr/>
          </p:nvSpPr>
          <p:spPr bwMode="auto">
            <a:xfrm>
              <a:off x="4797365" y="2341030"/>
              <a:ext cx="39381" cy="28062"/>
            </a:xfrm>
            <a:custGeom>
              <a:avLst/>
              <a:gdLst>
                <a:gd name="T0" fmla="*/ 495 w 548"/>
                <a:gd name="T1" fmla="*/ 324 h 392"/>
                <a:gd name="T2" fmla="*/ 471 w 548"/>
                <a:gd name="T3" fmla="*/ 336 h 392"/>
                <a:gd name="T4" fmla="*/ 428 w 548"/>
                <a:gd name="T5" fmla="*/ 318 h 392"/>
                <a:gd name="T6" fmla="*/ 418 w 548"/>
                <a:gd name="T7" fmla="*/ 322 h 392"/>
                <a:gd name="T8" fmla="*/ 406 w 548"/>
                <a:gd name="T9" fmla="*/ 340 h 392"/>
                <a:gd name="T10" fmla="*/ 394 w 548"/>
                <a:gd name="T11" fmla="*/ 357 h 392"/>
                <a:gd name="T12" fmla="*/ 379 w 548"/>
                <a:gd name="T13" fmla="*/ 361 h 392"/>
                <a:gd name="T14" fmla="*/ 362 w 548"/>
                <a:gd name="T15" fmla="*/ 357 h 392"/>
                <a:gd name="T16" fmla="*/ 340 w 548"/>
                <a:gd name="T17" fmla="*/ 337 h 392"/>
                <a:gd name="T18" fmla="*/ 315 w 548"/>
                <a:gd name="T19" fmla="*/ 317 h 392"/>
                <a:gd name="T20" fmla="*/ 295 w 548"/>
                <a:gd name="T21" fmla="*/ 313 h 392"/>
                <a:gd name="T22" fmla="*/ 264 w 548"/>
                <a:gd name="T23" fmla="*/ 320 h 392"/>
                <a:gd name="T24" fmla="*/ 228 w 548"/>
                <a:gd name="T25" fmla="*/ 352 h 392"/>
                <a:gd name="T26" fmla="*/ 191 w 548"/>
                <a:gd name="T27" fmla="*/ 384 h 392"/>
                <a:gd name="T28" fmla="*/ 156 w 548"/>
                <a:gd name="T29" fmla="*/ 392 h 392"/>
                <a:gd name="T30" fmla="*/ 112 w 548"/>
                <a:gd name="T31" fmla="*/ 388 h 392"/>
                <a:gd name="T32" fmla="*/ 76 w 548"/>
                <a:gd name="T33" fmla="*/ 377 h 392"/>
                <a:gd name="T34" fmla="*/ 47 w 548"/>
                <a:gd name="T35" fmla="*/ 358 h 392"/>
                <a:gd name="T36" fmla="*/ 28 w 548"/>
                <a:gd name="T37" fmla="*/ 330 h 392"/>
                <a:gd name="T38" fmla="*/ 19 w 548"/>
                <a:gd name="T39" fmla="*/ 292 h 392"/>
                <a:gd name="T40" fmla="*/ 23 w 548"/>
                <a:gd name="T41" fmla="*/ 256 h 392"/>
                <a:gd name="T42" fmla="*/ 39 w 548"/>
                <a:gd name="T43" fmla="*/ 229 h 392"/>
                <a:gd name="T44" fmla="*/ 48 w 548"/>
                <a:gd name="T45" fmla="*/ 198 h 392"/>
                <a:gd name="T46" fmla="*/ 44 w 548"/>
                <a:gd name="T47" fmla="*/ 184 h 392"/>
                <a:gd name="T48" fmla="*/ 24 w 548"/>
                <a:gd name="T49" fmla="*/ 165 h 392"/>
                <a:gd name="T50" fmla="*/ 4 w 548"/>
                <a:gd name="T51" fmla="*/ 146 h 392"/>
                <a:gd name="T52" fmla="*/ 0 w 548"/>
                <a:gd name="T53" fmla="*/ 132 h 392"/>
                <a:gd name="T54" fmla="*/ 14 w 548"/>
                <a:gd name="T55" fmla="*/ 94 h 392"/>
                <a:gd name="T56" fmla="*/ 8 w 548"/>
                <a:gd name="T57" fmla="*/ 73 h 392"/>
                <a:gd name="T58" fmla="*/ 34 w 548"/>
                <a:gd name="T59" fmla="*/ 43 h 392"/>
                <a:gd name="T60" fmla="*/ 120 w 548"/>
                <a:gd name="T61" fmla="*/ 0 h 392"/>
                <a:gd name="T62" fmla="*/ 148 w 548"/>
                <a:gd name="T63" fmla="*/ 53 h 392"/>
                <a:gd name="T64" fmla="*/ 168 w 548"/>
                <a:gd name="T65" fmla="*/ 78 h 392"/>
                <a:gd name="T66" fmla="*/ 188 w 548"/>
                <a:gd name="T67" fmla="*/ 65 h 392"/>
                <a:gd name="T68" fmla="*/ 208 w 548"/>
                <a:gd name="T69" fmla="*/ 71 h 392"/>
                <a:gd name="T70" fmla="*/ 224 w 548"/>
                <a:gd name="T71" fmla="*/ 88 h 392"/>
                <a:gd name="T72" fmla="*/ 242 w 548"/>
                <a:gd name="T73" fmla="*/ 96 h 392"/>
                <a:gd name="T74" fmla="*/ 262 w 548"/>
                <a:gd name="T75" fmla="*/ 88 h 392"/>
                <a:gd name="T76" fmla="*/ 271 w 548"/>
                <a:gd name="T77" fmla="*/ 73 h 392"/>
                <a:gd name="T78" fmla="*/ 307 w 548"/>
                <a:gd name="T79" fmla="*/ 61 h 392"/>
                <a:gd name="T80" fmla="*/ 362 w 548"/>
                <a:gd name="T81" fmla="*/ 43 h 392"/>
                <a:gd name="T82" fmla="*/ 408 w 548"/>
                <a:gd name="T83" fmla="*/ 57 h 392"/>
                <a:gd name="T84" fmla="*/ 426 w 548"/>
                <a:gd name="T85" fmla="*/ 69 h 392"/>
                <a:gd name="T86" fmla="*/ 450 w 548"/>
                <a:gd name="T87" fmla="*/ 105 h 392"/>
                <a:gd name="T88" fmla="*/ 467 w 548"/>
                <a:gd name="T89" fmla="*/ 132 h 392"/>
                <a:gd name="T90" fmla="*/ 495 w 548"/>
                <a:gd name="T91" fmla="*/ 149 h 392"/>
                <a:gd name="T92" fmla="*/ 524 w 548"/>
                <a:gd name="T93" fmla="*/ 168 h 392"/>
                <a:gd name="T94" fmla="*/ 542 w 548"/>
                <a:gd name="T95" fmla="*/ 193 h 392"/>
                <a:gd name="T96" fmla="*/ 548 w 548"/>
                <a:gd name="T97" fmla="*/ 234 h 392"/>
                <a:gd name="T98" fmla="*/ 540 w 548"/>
                <a:gd name="T99" fmla="*/ 260 h 392"/>
                <a:gd name="T100" fmla="*/ 528 w 548"/>
                <a:gd name="T101" fmla="*/ 286 h 392"/>
                <a:gd name="T102" fmla="*/ 518 w 548"/>
                <a:gd name="T103" fmla="*/ 306 h 39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48"/>
                <a:gd name="T157" fmla="*/ 0 h 392"/>
                <a:gd name="T158" fmla="*/ 548 w 548"/>
                <a:gd name="T159" fmla="*/ 392 h 39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48" h="392">
                  <a:moveTo>
                    <a:pt x="518" y="306"/>
                  </a:moveTo>
                  <a:lnTo>
                    <a:pt x="510" y="314"/>
                  </a:lnTo>
                  <a:lnTo>
                    <a:pt x="495" y="324"/>
                  </a:lnTo>
                  <a:lnTo>
                    <a:pt x="487" y="329"/>
                  </a:lnTo>
                  <a:lnTo>
                    <a:pt x="479" y="333"/>
                  </a:lnTo>
                  <a:lnTo>
                    <a:pt x="471" y="336"/>
                  </a:lnTo>
                  <a:lnTo>
                    <a:pt x="464" y="337"/>
                  </a:lnTo>
                  <a:lnTo>
                    <a:pt x="446" y="328"/>
                  </a:lnTo>
                  <a:lnTo>
                    <a:pt x="428" y="318"/>
                  </a:lnTo>
                  <a:lnTo>
                    <a:pt x="424" y="320"/>
                  </a:lnTo>
                  <a:lnTo>
                    <a:pt x="420" y="321"/>
                  </a:lnTo>
                  <a:lnTo>
                    <a:pt x="418" y="322"/>
                  </a:lnTo>
                  <a:lnTo>
                    <a:pt x="415" y="325"/>
                  </a:lnTo>
                  <a:lnTo>
                    <a:pt x="410" y="332"/>
                  </a:lnTo>
                  <a:lnTo>
                    <a:pt x="406" y="340"/>
                  </a:lnTo>
                  <a:lnTo>
                    <a:pt x="402" y="348"/>
                  </a:lnTo>
                  <a:lnTo>
                    <a:pt x="396" y="354"/>
                  </a:lnTo>
                  <a:lnTo>
                    <a:pt x="394" y="357"/>
                  </a:lnTo>
                  <a:lnTo>
                    <a:pt x="390" y="360"/>
                  </a:lnTo>
                  <a:lnTo>
                    <a:pt x="384" y="361"/>
                  </a:lnTo>
                  <a:lnTo>
                    <a:pt x="379" y="361"/>
                  </a:lnTo>
                  <a:lnTo>
                    <a:pt x="374" y="361"/>
                  </a:lnTo>
                  <a:lnTo>
                    <a:pt x="367" y="358"/>
                  </a:lnTo>
                  <a:lnTo>
                    <a:pt x="362" y="357"/>
                  </a:lnTo>
                  <a:lnTo>
                    <a:pt x="358" y="353"/>
                  </a:lnTo>
                  <a:lnTo>
                    <a:pt x="348" y="346"/>
                  </a:lnTo>
                  <a:lnTo>
                    <a:pt x="340" y="337"/>
                  </a:lnTo>
                  <a:lnTo>
                    <a:pt x="331" y="328"/>
                  </a:lnTo>
                  <a:lnTo>
                    <a:pt x="322" y="321"/>
                  </a:lnTo>
                  <a:lnTo>
                    <a:pt x="315" y="317"/>
                  </a:lnTo>
                  <a:lnTo>
                    <a:pt x="310" y="314"/>
                  </a:lnTo>
                  <a:lnTo>
                    <a:pt x="303" y="313"/>
                  </a:lnTo>
                  <a:lnTo>
                    <a:pt x="295" y="313"/>
                  </a:lnTo>
                  <a:lnTo>
                    <a:pt x="283" y="314"/>
                  </a:lnTo>
                  <a:lnTo>
                    <a:pt x="274" y="316"/>
                  </a:lnTo>
                  <a:lnTo>
                    <a:pt x="264" y="320"/>
                  </a:lnTo>
                  <a:lnTo>
                    <a:pt x="256" y="325"/>
                  </a:lnTo>
                  <a:lnTo>
                    <a:pt x="242" y="337"/>
                  </a:lnTo>
                  <a:lnTo>
                    <a:pt x="228" y="352"/>
                  </a:lnTo>
                  <a:lnTo>
                    <a:pt x="215" y="366"/>
                  </a:lnTo>
                  <a:lnTo>
                    <a:pt x="199" y="378"/>
                  </a:lnTo>
                  <a:lnTo>
                    <a:pt x="191" y="384"/>
                  </a:lnTo>
                  <a:lnTo>
                    <a:pt x="180" y="388"/>
                  </a:lnTo>
                  <a:lnTo>
                    <a:pt x="170" y="390"/>
                  </a:lnTo>
                  <a:lnTo>
                    <a:pt x="156" y="392"/>
                  </a:lnTo>
                  <a:lnTo>
                    <a:pt x="142" y="390"/>
                  </a:lnTo>
                  <a:lnTo>
                    <a:pt x="127" y="390"/>
                  </a:lnTo>
                  <a:lnTo>
                    <a:pt x="112" y="388"/>
                  </a:lnTo>
                  <a:lnTo>
                    <a:pt x="99" y="385"/>
                  </a:lnTo>
                  <a:lnTo>
                    <a:pt x="87" y="381"/>
                  </a:lnTo>
                  <a:lnTo>
                    <a:pt x="76" y="377"/>
                  </a:lnTo>
                  <a:lnTo>
                    <a:pt x="66" y="372"/>
                  </a:lnTo>
                  <a:lnTo>
                    <a:pt x="56" y="365"/>
                  </a:lnTo>
                  <a:lnTo>
                    <a:pt x="47" y="358"/>
                  </a:lnTo>
                  <a:lnTo>
                    <a:pt x="40" y="350"/>
                  </a:lnTo>
                  <a:lnTo>
                    <a:pt x="34" y="341"/>
                  </a:lnTo>
                  <a:lnTo>
                    <a:pt x="28" y="330"/>
                  </a:lnTo>
                  <a:lnTo>
                    <a:pt x="24" y="318"/>
                  </a:lnTo>
                  <a:lnTo>
                    <a:pt x="20" y="306"/>
                  </a:lnTo>
                  <a:lnTo>
                    <a:pt x="19" y="292"/>
                  </a:lnTo>
                  <a:lnTo>
                    <a:pt x="18" y="277"/>
                  </a:lnTo>
                  <a:lnTo>
                    <a:pt x="19" y="266"/>
                  </a:lnTo>
                  <a:lnTo>
                    <a:pt x="23" y="256"/>
                  </a:lnTo>
                  <a:lnTo>
                    <a:pt x="28" y="246"/>
                  </a:lnTo>
                  <a:lnTo>
                    <a:pt x="34" y="237"/>
                  </a:lnTo>
                  <a:lnTo>
                    <a:pt x="39" y="229"/>
                  </a:lnTo>
                  <a:lnTo>
                    <a:pt x="43" y="220"/>
                  </a:lnTo>
                  <a:lnTo>
                    <a:pt x="47" y="209"/>
                  </a:lnTo>
                  <a:lnTo>
                    <a:pt x="48" y="198"/>
                  </a:lnTo>
                  <a:lnTo>
                    <a:pt x="48" y="193"/>
                  </a:lnTo>
                  <a:lnTo>
                    <a:pt x="46" y="188"/>
                  </a:lnTo>
                  <a:lnTo>
                    <a:pt x="44" y="184"/>
                  </a:lnTo>
                  <a:lnTo>
                    <a:pt x="40" y="180"/>
                  </a:lnTo>
                  <a:lnTo>
                    <a:pt x="34" y="172"/>
                  </a:lnTo>
                  <a:lnTo>
                    <a:pt x="24" y="165"/>
                  </a:lnTo>
                  <a:lnTo>
                    <a:pt x="15" y="158"/>
                  </a:lnTo>
                  <a:lnTo>
                    <a:pt x="8" y="150"/>
                  </a:lnTo>
                  <a:lnTo>
                    <a:pt x="4" y="146"/>
                  </a:lnTo>
                  <a:lnTo>
                    <a:pt x="2" y="142"/>
                  </a:lnTo>
                  <a:lnTo>
                    <a:pt x="0" y="137"/>
                  </a:lnTo>
                  <a:lnTo>
                    <a:pt x="0" y="132"/>
                  </a:lnTo>
                  <a:lnTo>
                    <a:pt x="4" y="118"/>
                  </a:lnTo>
                  <a:lnTo>
                    <a:pt x="11" y="102"/>
                  </a:lnTo>
                  <a:lnTo>
                    <a:pt x="14" y="94"/>
                  </a:lnTo>
                  <a:lnTo>
                    <a:pt x="12" y="84"/>
                  </a:lnTo>
                  <a:lnTo>
                    <a:pt x="11" y="78"/>
                  </a:lnTo>
                  <a:lnTo>
                    <a:pt x="8" y="73"/>
                  </a:lnTo>
                  <a:lnTo>
                    <a:pt x="6" y="67"/>
                  </a:lnTo>
                  <a:lnTo>
                    <a:pt x="0" y="60"/>
                  </a:lnTo>
                  <a:lnTo>
                    <a:pt x="34" y="43"/>
                  </a:lnTo>
                  <a:lnTo>
                    <a:pt x="64" y="25"/>
                  </a:lnTo>
                  <a:lnTo>
                    <a:pt x="94" y="11"/>
                  </a:lnTo>
                  <a:lnTo>
                    <a:pt x="120" y="0"/>
                  </a:lnTo>
                  <a:lnTo>
                    <a:pt x="132" y="23"/>
                  </a:lnTo>
                  <a:lnTo>
                    <a:pt x="143" y="44"/>
                  </a:lnTo>
                  <a:lnTo>
                    <a:pt x="148" y="53"/>
                  </a:lnTo>
                  <a:lnTo>
                    <a:pt x="154" y="63"/>
                  </a:lnTo>
                  <a:lnTo>
                    <a:pt x="160" y="71"/>
                  </a:lnTo>
                  <a:lnTo>
                    <a:pt x="168" y="78"/>
                  </a:lnTo>
                  <a:lnTo>
                    <a:pt x="176" y="73"/>
                  </a:lnTo>
                  <a:lnTo>
                    <a:pt x="183" y="69"/>
                  </a:lnTo>
                  <a:lnTo>
                    <a:pt x="188" y="65"/>
                  </a:lnTo>
                  <a:lnTo>
                    <a:pt x="192" y="60"/>
                  </a:lnTo>
                  <a:lnTo>
                    <a:pt x="202" y="65"/>
                  </a:lnTo>
                  <a:lnTo>
                    <a:pt x="208" y="71"/>
                  </a:lnTo>
                  <a:lnTo>
                    <a:pt x="214" y="77"/>
                  </a:lnTo>
                  <a:lnTo>
                    <a:pt x="219" y="82"/>
                  </a:lnTo>
                  <a:lnTo>
                    <a:pt x="224" y="88"/>
                  </a:lnTo>
                  <a:lnTo>
                    <a:pt x="230" y="92"/>
                  </a:lnTo>
                  <a:lnTo>
                    <a:pt x="235" y="94"/>
                  </a:lnTo>
                  <a:lnTo>
                    <a:pt x="242" y="96"/>
                  </a:lnTo>
                  <a:lnTo>
                    <a:pt x="251" y="94"/>
                  </a:lnTo>
                  <a:lnTo>
                    <a:pt x="258" y="92"/>
                  </a:lnTo>
                  <a:lnTo>
                    <a:pt x="262" y="88"/>
                  </a:lnTo>
                  <a:lnTo>
                    <a:pt x="264" y="84"/>
                  </a:lnTo>
                  <a:lnTo>
                    <a:pt x="267" y="78"/>
                  </a:lnTo>
                  <a:lnTo>
                    <a:pt x="271" y="73"/>
                  </a:lnTo>
                  <a:lnTo>
                    <a:pt x="276" y="69"/>
                  </a:lnTo>
                  <a:lnTo>
                    <a:pt x="283" y="67"/>
                  </a:lnTo>
                  <a:lnTo>
                    <a:pt x="307" y="61"/>
                  </a:lnTo>
                  <a:lnTo>
                    <a:pt x="327" y="56"/>
                  </a:lnTo>
                  <a:lnTo>
                    <a:pt x="344" y="51"/>
                  </a:lnTo>
                  <a:lnTo>
                    <a:pt x="362" y="43"/>
                  </a:lnTo>
                  <a:lnTo>
                    <a:pt x="384" y="47"/>
                  </a:lnTo>
                  <a:lnTo>
                    <a:pt x="402" y="53"/>
                  </a:lnTo>
                  <a:lnTo>
                    <a:pt x="408" y="57"/>
                  </a:lnTo>
                  <a:lnTo>
                    <a:pt x="415" y="61"/>
                  </a:lnTo>
                  <a:lnTo>
                    <a:pt x="420" y="65"/>
                  </a:lnTo>
                  <a:lnTo>
                    <a:pt x="426" y="69"/>
                  </a:lnTo>
                  <a:lnTo>
                    <a:pt x="435" y="80"/>
                  </a:lnTo>
                  <a:lnTo>
                    <a:pt x="442" y="92"/>
                  </a:lnTo>
                  <a:lnTo>
                    <a:pt x="450" y="105"/>
                  </a:lnTo>
                  <a:lnTo>
                    <a:pt x="458" y="120"/>
                  </a:lnTo>
                  <a:lnTo>
                    <a:pt x="462" y="126"/>
                  </a:lnTo>
                  <a:lnTo>
                    <a:pt x="467" y="132"/>
                  </a:lnTo>
                  <a:lnTo>
                    <a:pt x="474" y="136"/>
                  </a:lnTo>
                  <a:lnTo>
                    <a:pt x="480" y="141"/>
                  </a:lnTo>
                  <a:lnTo>
                    <a:pt x="495" y="149"/>
                  </a:lnTo>
                  <a:lnTo>
                    <a:pt x="510" y="157"/>
                  </a:lnTo>
                  <a:lnTo>
                    <a:pt x="518" y="162"/>
                  </a:lnTo>
                  <a:lnTo>
                    <a:pt x="524" y="168"/>
                  </a:lnTo>
                  <a:lnTo>
                    <a:pt x="531" y="176"/>
                  </a:lnTo>
                  <a:lnTo>
                    <a:pt x="536" y="184"/>
                  </a:lnTo>
                  <a:lnTo>
                    <a:pt x="542" y="193"/>
                  </a:lnTo>
                  <a:lnTo>
                    <a:pt x="546" y="205"/>
                  </a:lnTo>
                  <a:lnTo>
                    <a:pt x="547" y="218"/>
                  </a:lnTo>
                  <a:lnTo>
                    <a:pt x="548" y="234"/>
                  </a:lnTo>
                  <a:lnTo>
                    <a:pt x="547" y="244"/>
                  </a:lnTo>
                  <a:lnTo>
                    <a:pt x="544" y="252"/>
                  </a:lnTo>
                  <a:lnTo>
                    <a:pt x="540" y="260"/>
                  </a:lnTo>
                  <a:lnTo>
                    <a:pt x="536" y="269"/>
                  </a:lnTo>
                  <a:lnTo>
                    <a:pt x="532" y="277"/>
                  </a:lnTo>
                  <a:lnTo>
                    <a:pt x="528" y="286"/>
                  </a:lnTo>
                  <a:lnTo>
                    <a:pt x="526" y="296"/>
                  </a:lnTo>
                  <a:lnTo>
                    <a:pt x="524" y="306"/>
                  </a:lnTo>
                  <a:lnTo>
                    <a:pt x="518" y="306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accent1">
                  <a:lumMod val="20000"/>
                  <a:lumOff val="8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95" b="0" i="0" u="none" strike="noStrike" kern="1200" cap="none" spc="0" normalizeH="0" baseline="0" noProof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7" name="Freeform 69"/>
            <p:cNvSpPr>
              <a:spLocks/>
            </p:cNvSpPr>
            <p:nvPr/>
          </p:nvSpPr>
          <p:spPr bwMode="auto">
            <a:xfrm>
              <a:off x="4901359" y="2450683"/>
              <a:ext cx="50464" cy="43861"/>
            </a:xfrm>
            <a:custGeom>
              <a:avLst/>
              <a:gdLst>
                <a:gd name="T0" fmla="*/ 201 w 698"/>
                <a:gd name="T1" fmla="*/ 601 h 608"/>
                <a:gd name="T2" fmla="*/ 237 w 698"/>
                <a:gd name="T3" fmla="*/ 590 h 608"/>
                <a:gd name="T4" fmla="*/ 293 w 698"/>
                <a:gd name="T5" fmla="*/ 580 h 608"/>
                <a:gd name="T6" fmla="*/ 319 w 698"/>
                <a:gd name="T7" fmla="*/ 570 h 608"/>
                <a:gd name="T8" fmla="*/ 380 w 698"/>
                <a:gd name="T9" fmla="*/ 502 h 608"/>
                <a:gd name="T10" fmla="*/ 407 w 698"/>
                <a:gd name="T11" fmla="*/ 478 h 608"/>
                <a:gd name="T12" fmla="*/ 436 w 698"/>
                <a:gd name="T13" fmla="*/ 461 h 608"/>
                <a:gd name="T14" fmla="*/ 471 w 698"/>
                <a:gd name="T15" fmla="*/ 457 h 608"/>
                <a:gd name="T16" fmla="*/ 503 w 698"/>
                <a:gd name="T17" fmla="*/ 445 h 608"/>
                <a:gd name="T18" fmla="*/ 525 w 698"/>
                <a:gd name="T19" fmla="*/ 422 h 608"/>
                <a:gd name="T20" fmla="*/ 555 w 698"/>
                <a:gd name="T21" fmla="*/ 376 h 608"/>
                <a:gd name="T22" fmla="*/ 583 w 698"/>
                <a:gd name="T23" fmla="*/ 338 h 608"/>
                <a:gd name="T24" fmla="*/ 595 w 698"/>
                <a:gd name="T25" fmla="*/ 326 h 608"/>
                <a:gd name="T26" fmla="*/ 627 w 698"/>
                <a:gd name="T27" fmla="*/ 310 h 608"/>
                <a:gd name="T28" fmla="*/ 647 w 698"/>
                <a:gd name="T29" fmla="*/ 295 h 608"/>
                <a:gd name="T30" fmla="*/ 660 w 698"/>
                <a:gd name="T31" fmla="*/ 279 h 608"/>
                <a:gd name="T32" fmla="*/ 664 w 698"/>
                <a:gd name="T33" fmla="*/ 259 h 608"/>
                <a:gd name="T34" fmla="*/ 668 w 698"/>
                <a:gd name="T35" fmla="*/ 221 h 608"/>
                <a:gd name="T36" fmla="*/ 675 w 698"/>
                <a:gd name="T37" fmla="*/ 204 h 608"/>
                <a:gd name="T38" fmla="*/ 691 w 698"/>
                <a:gd name="T39" fmla="*/ 193 h 608"/>
                <a:gd name="T40" fmla="*/ 676 w 698"/>
                <a:gd name="T41" fmla="*/ 157 h 608"/>
                <a:gd name="T42" fmla="*/ 631 w 698"/>
                <a:gd name="T43" fmla="*/ 69 h 608"/>
                <a:gd name="T44" fmla="*/ 593 w 698"/>
                <a:gd name="T45" fmla="*/ 29 h 608"/>
                <a:gd name="T46" fmla="*/ 581 w 698"/>
                <a:gd name="T47" fmla="*/ 44 h 608"/>
                <a:gd name="T48" fmla="*/ 579 w 698"/>
                <a:gd name="T49" fmla="*/ 67 h 608"/>
                <a:gd name="T50" fmla="*/ 549 w 698"/>
                <a:gd name="T51" fmla="*/ 67 h 608"/>
                <a:gd name="T52" fmla="*/ 513 w 698"/>
                <a:gd name="T53" fmla="*/ 61 h 608"/>
                <a:gd name="T54" fmla="*/ 477 w 698"/>
                <a:gd name="T55" fmla="*/ 40 h 608"/>
                <a:gd name="T56" fmla="*/ 447 w 698"/>
                <a:gd name="T57" fmla="*/ 0 h 608"/>
                <a:gd name="T58" fmla="*/ 440 w 698"/>
                <a:gd name="T59" fmla="*/ 29 h 608"/>
                <a:gd name="T60" fmla="*/ 427 w 698"/>
                <a:gd name="T61" fmla="*/ 56 h 608"/>
                <a:gd name="T62" fmla="*/ 409 w 698"/>
                <a:gd name="T63" fmla="*/ 79 h 608"/>
                <a:gd name="T64" fmla="*/ 387 w 698"/>
                <a:gd name="T65" fmla="*/ 95 h 608"/>
                <a:gd name="T66" fmla="*/ 360 w 698"/>
                <a:gd name="T67" fmla="*/ 101 h 608"/>
                <a:gd name="T68" fmla="*/ 331 w 698"/>
                <a:gd name="T69" fmla="*/ 99 h 608"/>
                <a:gd name="T70" fmla="*/ 281 w 698"/>
                <a:gd name="T71" fmla="*/ 73 h 608"/>
                <a:gd name="T72" fmla="*/ 193 w 698"/>
                <a:gd name="T73" fmla="*/ 27 h 608"/>
                <a:gd name="T74" fmla="*/ 152 w 698"/>
                <a:gd name="T75" fmla="*/ 13 h 608"/>
                <a:gd name="T76" fmla="*/ 127 w 698"/>
                <a:gd name="T77" fmla="*/ 16 h 608"/>
                <a:gd name="T78" fmla="*/ 113 w 698"/>
                <a:gd name="T79" fmla="*/ 33 h 608"/>
                <a:gd name="T80" fmla="*/ 109 w 698"/>
                <a:gd name="T81" fmla="*/ 55 h 608"/>
                <a:gd name="T82" fmla="*/ 64 w 698"/>
                <a:gd name="T83" fmla="*/ 47 h 608"/>
                <a:gd name="T84" fmla="*/ 37 w 698"/>
                <a:gd name="T85" fmla="*/ 65 h 608"/>
                <a:gd name="T86" fmla="*/ 31 w 698"/>
                <a:gd name="T87" fmla="*/ 92 h 608"/>
                <a:gd name="T88" fmla="*/ 32 w 698"/>
                <a:gd name="T89" fmla="*/ 123 h 608"/>
                <a:gd name="T90" fmla="*/ 40 w 698"/>
                <a:gd name="T91" fmla="*/ 152 h 608"/>
                <a:gd name="T92" fmla="*/ 40 w 698"/>
                <a:gd name="T93" fmla="*/ 184 h 608"/>
                <a:gd name="T94" fmla="*/ 29 w 698"/>
                <a:gd name="T95" fmla="*/ 203 h 608"/>
                <a:gd name="T96" fmla="*/ 7 w 698"/>
                <a:gd name="T97" fmla="*/ 221 h 608"/>
                <a:gd name="T98" fmla="*/ 1 w 698"/>
                <a:gd name="T99" fmla="*/ 235 h 608"/>
                <a:gd name="T100" fmla="*/ 4 w 698"/>
                <a:gd name="T101" fmla="*/ 263 h 608"/>
                <a:gd name="T102" fmla="*/ 17 w 698"/>
                <a:gd name="T103" fmla="*/ 291 h 608"/>
                <a:gd name="T104" fmla="*/ 40 w 698"/>
                <a:gd name="T105" fmla="*/ 316 h 608"/>
                <a:gd name="T106" fmla="*/ 104 w 698"/>
                <a:gd name="T107" fmla="*/ 380 h 608"/>
                <a:gd name="T108" fmla="*/ 124 w 698"/>
                <a:gd name="T109" fmla="*/ 420 h 608"/>
                <a:gd name="T110" fmla="*/ 155 w 698"/>
                <a:gd name="T111" fmla="*/ 513 h 608"/>
                <a:gd name="T112" fmla="*/ 179 w 698"/>
                <a:gd name="T113" fmla="*/ 572 h 608"/>
                <a:gd name="T114" fmla="*/ 187 w 698"/>
                <a:gd name="T115" fmla="*/ 608 h 60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98"/>
                <a:gd name="T175" fmla="*/ 0 h 608"/>
                <a:gd name="T176" fmla="*/ 698 w 698"/>
                <a:gd name="T177" fmla="*/ 608 h 608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98" h="608">
                  <a:moveTo>
                    <a:pt x="187" y="608"/>
                  </a:moveTo>
                  <a:lnTo>
                    <a:pt x="195" y="604"/>
                  </a:lnTo>
                  <a:lnTo>
                    <a:pt x="201" y="601"/>
                  </a:lnTo>
                  <a:lnTo>
                    <a:pt x="211" y="597"/>
                  </a:lnTo>
                  <a:lnTo>
                    <a:pt x="219" y="594"/>
                  </a:lnTo>
                  <a:lnTo>
                    <a:pt x="237" y="590"/>
                  </a:lnTo>
                  <a:lnTo>
                    <a:pt x="256" y="588"/>
                  </a:lnTo>
                  <a:lnTo>
                    <a:pt x="276" y="584"/>
                  </a:lnTo>
                  <a:lnTo>
                    <a:pt x="293" y="580"/>
                  </a:lnTo>
                  <a:lnTo>
                    <a:pt x="303" y="577"/>
                  </a:lnTo>
                  <a:lnTo>
                    <a:pt x="311" y="574"/>
                  </a:lnTo>
                  <a:lnTo>
                    <a:pt x="319" y="570"/>
                  </a:lnTo>
                  <a:lnTo>
                    <a:pt x="325" y="566"/>
                  </a:lnTo>
                  <a:lnTo>
                    <a:pt x="351" y="538"/>
                  </a:lnTo>
                  <a:lnTo>
                    <a:pt x="380" y="502"/>
                  </a:lnTo>
                  <a:lnTo>
                    <a:pt x="389" y="494"/>
                  </a:lnTo>
                  <a:lnTo>
                    <a:pt x="397" y="485"/>
                  </a:lnTo>
                  <a:lnTo>
                    <a:pt x="407" y="478"/>
                  </a:lnTo>
                  <a:lnTo>
                    <a:pt x="416" y="472"/>
                  </a:lnTo>
                  <a:lnTo>
                    <a:pt x="427" y="465"/>
                  </a:lnTo>
                  <a:lnTo>
                    <a:pt x="436" y="461"/>
                  </a:lnTo>
                  <a:lnTo>
                    <a:pt x="447" y="458"/>
                  </a:lnTo>
                  <a:lnTo>
                    <a:pt x="459" y="457"/>
                  </a:lnTo>
                  <a:lnTo>
                    <a:pt x="471" y="457"/>
                  </a:lnTo>
                  <a:lnTo>
                    <a:pt x="483" y="454"/>
                  </a:lnTo>
                  <a:lnTo>
                    <a:pt x="493" y="450"/>
                  </a:lnTo>
                  <a:lnTo>
                    <a:pt x="503" y="445"/>
                  </a:lnTo>
                  <a:lnTo>
                    <a:pt x="511" y="438"/>
                  </a:lnTo>
                  <a:lnTo>
                    <a:pt x="519" y="430"/>
                  </a:lnTo>
                  <a:lnTo>
                    <a:pt x="525" y="422"/>
                  </a:lnTo>
                  <a:lnTo>
                    <a:pt x="532" y="414"/>
                  </a:lnTo>
                  <a:lnTo>
                    <a:pt x="544" y="396"/>
                  </a:lnTo>
                  <a:lnTo>
                    <a:pt x="555" y="376"/>
                  </a:lnTo>
                  <a:lnTo>
                    <a:pt x="565" y="358"/>
                  </a:lnTo>
                  <a:lnTo>
                    <a:pt x="579" y="344"/>
                  </a:lnTo>
                  <a:lnTo>
                    <a:pt x="583" y="338"/>
                  </a:lnTo>
                  <a:lnTo>
                    <a:pt x="587" y="333"/>
                  </a:lnTo>
                  <a:lnTo>
                    <a:pt x="591" y="329"/>
                  </a:lnTo>
                  <a:lnTo>
                    <a:pt x="595" y="326"/>
                  </a:lnTo>
                  <a:lnTo>
                    <a:pt x="605" y="320"/>
                  </a:lnTo>
                  <a:lnTo>
                    <a:pt x="616" y="316"/>
                  </a:lnTo>
                  <a:lnTo>
                    <a:pt x="627" y="310"/>
                  </a:lnTo>
                  <a:lnTo>
                    <a:pt x="637" y="304"/>
                  </a:lnTo>
                  <a:lnTo>
                    <a:pt x="643" y="300"/>
                  </a:lnTo>
                  <a:lnTo>
                    <a:pt x="647" y="295"/>
                  </a:lnTo>
                  <a:lnTo>
                    <a:pt x="652" y="289"/>
                  </a:lnTo>
                  <a:lnTo>
                    <a:pt x="657" y="283"/>
                  </a:lnTo>
                  <a:lnTo>
                    <a:pt x="660" y="279"/>
                  </a:lnTo>
                  <a:lnTo>
                    <a:pt x="661" y="272"/>
                  </a:lnTo>
                  <a:lnTo>
                    <a:pt x="664" y="265"/>
                  </a:lnTo>
                  <a:lnTo>
                    <a:pt x="664" y="259"/>
                  </a:lnTo>
                  <a:lnTo>
                    <a:pt x="665" y="244"/>
                  </a:lnTo>
                  <a:lnTo>
                    <a:pt x="667" y="229"/>
                  </a:lnTo>
                  <a:lnTo>
                    <a:pt x="668" y="221"/>
                  </a:lnTo>
                  <a:lnTo>
                    <a:pt x="669" y="215"/>
                  </a:lnTo>
                  <a:lnTo>
                    <a:pt x="672" y="209"/>
                  </a:lnTo>
                  <a:lnTo>
                    <a:pt x="675" y="204"/>
                  </a:lnTo>
                  <a:lnTo>
                    <a:pt x="679" y="199"/>
                  </a:lnTo>
                  <a:lnTo>
                    <a:pt x="684" y="196"/>
                  </a:lnTo>
                  <a:lnTo>
                    <a:pt x="691" y="193"/>
                  </a:lnTo>
                  <a:lnTo>
                    <a:pt x="698" y="193"/>
                  </a:lnTo>
                  <a:lnTo>
                    <a:pt x="688" y="176"/>
                  </a:lnTo>
                  <a:lnTo>
                    <a:pt x="676" y="157"/>
                  </a:lnTo>
                  <a:lnTo>
                    <a:pt x="665" y="137"/>
                  </a:lnTo>
                  <a:lnTo>
                    <a:pt x="653" y="115"/>
                  </a:lnTo>
                  <a:lnTo>
                    <a:pt x="631" y="69"/>
                  </a:lnTo>
                  <a:lnTo>
                    <a:pt x="609" y="24"/>
                  </a:lnTo>
                  <a:lnTo>
                    <a:pt x="600" y="27"/>
                  </a:lnTo>
                  <a:lnTo>
                    <a:pt x="593" y="29"/>
                  </a:lnTo>
                  <a:lnTo>
                    <a:pt x="588" y="33"/>
                  </a:lnTo>
                  <a:lnTo>
                    <a:pt x="584" y="39"/>
                  </a:lnTo>
                  <a:lnTo>
                    <a:pt x="581" y="44"/>
                  </a:lnTo>
                  <a:lnTo>
                    <a:pt x="580" y="51"/>
                  </a:lnTo>
                  <a:lnTo>
                    <a:pt x="579" y="57"/>
                  </a:lnTo>
                  <a:lnTo>
                    <a:pt x="579" y="67"/>
                  </a:lnTo>
                  <a:lnTo>
                    <a:pt x="569" y="67"/>
                  </a:lnTo>
                  <a:lnTo>
                    <a:pt x="560" y="67"/>
                  </a:lnTo>
                  <a:lnTo>
                    <a:pt x="549" y="67"/>
                  </a:lnTo>
                  <a:lnTo>
                    <a:pt x="536" y="67"/>
                  </a:lnTo>
                  <a:lnTo>
                    <a:pt x="525" y="65"/>
                  </a:lnTo>
                  <a:lnTo>
                    <a:pt x="513" y="61"/>
                  </a:lnTo>
                  <a:lnTo>
                    <a:pt x="501" y="56"/>
                  </a:lnTo>
                  <a:lnTo>
                    <a:pt x="489" y="49"/>
                  </a:lnTo>
                  <a:lnTo>
                    <a:pt x="477" y="40"/>
                  </a:lnTo>
                  <a:lnTo>
                    <a:pt x="467" y="28"/>
                  </a:lnTo>
                  <a:lnTo>
                    <a:pt x="456" y="15"/>
                  </a:lnTo>
                  <a:lnTo>
                    <a:pt x="447" y="0"/>
                  </a:lnTo>
                  <a:lnTo>
                    <a:pt x="444" y="11"/>
                  </a:lnTo>
                  <a:lnTo>
                    <a:pt x="443" y="20"/>
                  </a:lnTo>
                  <a:lnTo>
                    <a:pt x="440" y="29"/>
                  </a:lnTo>
                  <a:lnTo>
                    <a:pt x="436" y="39"/>
                  </a:lnTo>
                  <a:lnTo>
                    <a:pt x="432" y="48"/>
                  </a:lnTo>
                  <a:lnTo>
                    <a:pt x="427" y="56"/>
                  </a:lnTo>
                  <a:lnTo>
                    <a:pt x="421" y="64"/>
                  </a:lnTo>
                  <a:lnTo>
                    <a:pt x="416" y="72"/>
                  </a:lnTo>
                  <a:lnTo>
                    <a:pt x="409" y="79"/>
                  </a:lnTo>
                  <a:lnTo>
                    <a:pt x="403" y="84"/>
                  </a:lnTo>
                  <a:lnTo>
                    <a:pt x="395" y="89"/>
                  </a:lnTo>
                  <a:lnTo>
                    <a:pt x="387" y="95"/>
                  </a:lnTo>
                  <a:lnTo>
                    <a:pt x="379" y="97"/>
                  </a:lnTo>
                  <a:lnTo>
                    <a:pt x="369" y="100"/>
                  </a:lnTo>
                  <a:lnTo>
                    <a:pt x="360" y="101"/>
                  </a:lnTo>
                  <a:lnTo>
                    <a:pt x="349" y="103"/>
                  </a:lnTo>
                  <a:lnTo>
                    <a:pt x="341" y="101"/>
                  </a:lnTo>
                  <a:lnTo>
                    <a:pt x="331" y="99"/>
                  </a:lnTo>
                  <a:lnTo>
                    <a:pt x="320" y="95"/>
                  </a:lnTo>
                  <a:lnTo>
                    <a:pt x="308" y="88"/>
                  </a:lnTo>
                  <a:lnTo>
                    <a:pt x="281" y="73"/>
                  </a:lnTo>
                  <a:lnTo>
                    <a:pt x="253" y="57"/>
                  </a:lnTo>
                  <a:lnTo>
                    <a:pt x="224" y="41"/>
                  </a:lnTo>
                  <a:lnTo>
                    <a:pt x="193" y="27"/>
                  </a:lnTo>
                  <a:lnTo>
                    <a:pt x="179" y="20"/>
                  </a:lnTo>
                  <a:lnTo>
                    <a:pt x="165" y="16"/>
                  </a:lnTo>
                  <a:lnTo>
                    <a:pt x="152" y="13"/>
                  </a:lnTo>
                  <a:lnTo>
                    <a:pt x="139" y="12"/>
                  </a:lnTo>
                  <a:lnTo>
                    <a:pt x="132" y="13"/>
                  </a:lnTo>
                  <a:lnTo>
                    <a:pt x="127" y="16"/>
                  </a:lnTo>
                  <a:lnTo>
                    <a:pt x="121" y="20"/>
                  </a:lnTo>
                  <a:lnTo>
                    <a:pt x="117" y="27"/>
                  </a:lnTo>
                  <a:lnTo>
                    <a:pt x="113" y="33"/>
                  </a:lnTo>
                  <a:lnTo>
                    <a:pt x="111" y="40"/>
                  </a:lnTo>
                  <a:lnTo>
                    <a:pt x="109" y="47"/>
                  </a:lnTo>
                  <a:lnTo>
                    <a:pt x="109" y="55"/>
                  </a:lnTo>
                  <a:lnTo>
                    <a:pt x="92" y="53"/>
                  </a:lnTo>
                  <a:lnTo>
                    <a:pt x="77" y="51"/>
                  </a:lnTo>
                  <a:lnTo>
                    <a:pt x="64" y="47"/>
                  </a:lnTo>
                  <a:lnTo>
                    <a:pt x="55" y="43"/>
                  </a:lnTo>
                  <a:lnTo>
                    <a:pt x="45" y="52"/>
                  </a:lnTo>
                  <a:lnTo>
                    <a:pt x="37" y="65"/>
                  </a:lnTo>
                  <a:lnTo>
                    <a:pt x="35" y="73"/>
                  </a:lnTo>
                  <a:lnTo>
                    <a:pt x="32" y="83"/>
                  </a:lnTo>
                  <a:lnTo>
                    <a:pt x="31" y="92"/>
                  </a:lnTo>
                  <a:lnTo>
                    <a:pt x="31" y="103"/>
                  </a:lnTo>
                  <a:lnTo>
                    <a:pt x="31" y="113"/>
                  </a:lnTo>
                  <a:lnTo>
                    <a:pt x="32" y="123"/>
                  </a:lnTo>
                  <a:lnTo>
                    <a:pt x="35" y="131"/>
                  </a:lnTo>
                  <a:lnTo>
                    <a:pt x="36" y="137"/>
                  </a:lnTo>
                  <a:lnTo>
                    <a:pt x="40" y="152"/>
                  </a:lnTo>
                  <a:lnTo>
                    <a:pt x="43" y="169"/>
                  </a:lnTo>
                  <a:lnTo>
                    <a:pt x="41" y="177"/>
                  </a:lnTo>
                  <a:lnTo>
                    <a:pt x="40" y="184"/>
                  </a:lnTo>
                  <a:lnTo>
                    <a:pt x="39" y="191"/>
                  </a:lnTo>
                  <a:lnTo>
                    <a:pt x="36" y="195"/>
                  </a:lnTo>
                  <a:lnTo>
                    <a:pt x="29" y="203"/>
                  </a:lnTo>
                  <a:lnTo>
                    <a:pt x="21" y="209"/>
                  </a:lnTo>
                  <a:lnTo>
                    <a:pt x="13" y="215"/>
                  </a:lnTo>
                  <a:lnTo>
                    <a:pt x="7" y="221"/>
                  </a:lnTo>
                  <a:lnTo>
                    <a:pt x="4" y="225"/>
                  </a:lnTo>
                  <a:lnTo>
                    <a:pt x="3" y="229"/>
                  </a:lnTo>
                  <a:lnTo>
                    <a:pt x="1" y="235"/>
                  </a:lnTo>
                  <a:lnTo>
                    <a:pt x="0" y="241"/>
                  </a:lnTo>
                  <a:lnTo>
                    <a:pt x="1" y="252"/>
                  </a:lnTo>
                  <a:lnTo>
                    <a:pt x="4" y="263"/>
                  </a:lnTo>
                  <a:lnTo>
                    <a:pt x="7" y="272"/>
                  </a:lnTo>
                  <a:lnTo>
                    <a:pt x="12" y="281"/>
                  </a:lnTo>
                  <a:lnTo>
                    <a:pt x="17" y="291"/>
                  </a:lnTo>
                  <a:lnTo>
                    <a:pt x="24" y="300"/>
                  </a:lnTo>
                  <a:lnTo>
                    <a:pt x="32" y="308"/>
                  </a:lnTo>
                  <a:lnTo>
                    <a:pt x="40" y="316"/>
                  </a:lnTo>
                  <a:lnTo>
                    <a:pt x="72" y="344"/>
                  </a:lnTo>
                  <a:lnTo>
                    <a:pt x="96" y="368"/>
                  </a:lnTo>
                  <a:lnTo>
                    <a:pt x="104" y="380"/>
                  </a:lnTo>
                  <a:lnTo>
                    <a:pt x="111" y="392"/>
                  </a:lnTo>
                  <a:lnTo>
                    <a:pt x="117" y="405"/>
                  </a:lnTo>
                  <a:lnTo>
                    <a:pt x="124" y="420"/>
                  </a:lnTo>
                  <a:lnTo>
                    <a:pt x="135" y="450"/>
                  </a:lnTo>
                  <a:lnTo>
                    <a:pt x="145" y="481"/>
                  </a:lnTo>
                  <a:lnTo>
                    <a:pt x="155" y="513"/>
                  </a:lnTo>
                  <a:lnTo>
                    <a:pt x="167" y="544"/>
                  </a:lnTo>
                  <a:lnTo>
                    <a:pt x="172" y="558"/>
                  </a:lnTo>
                  <a:lnTo>
                    <a:pt x="179" y="572"/>
                  </a:lnTo>
                  <a:lnTo>
                    <a:pt x="185" y="584"/>
                  </a:lnTo>
                  <a:lnTo>
                    <a:pt x="193" y="596"/>
                  </a:lnTo>
                  <a:lnTo>
                    <a:pt x="187" y="608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accent1">
                  <a:lumMod val="20000"/>
                  <a:lumOff val="8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95" b="0" i="0" u="none" strike="noStrike" kern="1200" cap="none" spc="0" normalizeH="0" baseline="0" noProof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8" name="Freeform 70"/>
            <p:cNvSpPr>
              <a:spLocks/>
            </p:cNvSpPr>
            <p:nvPr/>
          </p:nvSpPr>
          <p:spPr bwMode="auto">
            <a:xfrm>
              <a:off x="4887210" y="2424979"/>
              <a:ext cx="46455" cy="39617"/>
            </a:xfrm>
            <a:custGeom>
              <a:avLst/>
              <a:gdLst>
                <a:gd name="T0" fmla="*/ 143 w 645"/>
                <a:gd name="T1" fmla="*/ 533 h 549"/>
                <a:gd name="T2" fmla="*/ 46 w 645"/>
                <a:gd name="T3" fmla="*/ 503 h 549"/>
                <a:gd name="T4" fmla="*/ 5 w 645"/>
                <a:gd name="T5" fmla="*/ 476 h 549"/>
                <a:gd name="T6" fmla="*/ 1 w 645"/>
                <a:gd name="T7" fmla="*/ 455 h 549"/>
                <a:gd name="T8" fmla="*/ 34 w 645"/>
                <a:gd name="T9" fmla="*/ 412 h 549"/>
                <a:gd name="T10" fmla="*/ 84 w 645"/>
                <a:gd name="T11" fmla="*/ 372 h 549"/>
                <a:gd name="T12" fmla="*/ 108 w 645"/>
                <a:gd name="T13" fmla="*/ 332 h 549"/>
                <a:gd name="T14" fmla="*/ 105 w 645"/>
                <a:gd name="T15" fmla="*/ 307 h 549"/>
                <a:gd name="T16" fmla="*/ 88 w 645"/>
                <a:gd name="T17" fmla="*/ 288 h 549"/>
                <a:gd name="T18" fmla="*/ 78 w 645"/>
                <a:gd name="T19" fmla="*/ 271 h 549"/>
                <a:gd name="T20" fmla="*/ 88 w 645"/>
                <a:gd name="T21" fmla="*/ 233 h 549"/>
                <a:gd name="T22" fmla="*/ 106 w 645"/>
                <a:gd name="T23" fmla="*/ 192 h 549"/>
                <a:gd name="T24" fmla="*/ 105 w 645"/>
                <a:gd name="T25" fmla="*/ 140 h 549"/>
                <a:gd name="T26" fmla="*/ 86 w 645"/>
                <a:gd name="T27" fmla="*/ 112 h 549"/>
                <a:gd name="T28" fmla="*/ 108 w 645"/>
                <a:gd name="T29" fmla="*/ 74 h 549"/>
                <a:gd name="T30" fmla="*/ 151 w 645"/>
                <a:gd name="T31" fmla="*/ 88 h 549"/>
                <a:gd name="T32" fmla="*/ 198 w 645"/>
                <a:gd name="T33" fmla="*/ 103 h 549"/>
                <a:gd name="T34" fmla="*/ 222 w 645"/>
                <a:gd name="T35" fmla="*/ 93 h 549"/>
                <a:gd name="T36" fmla="*/ 235 w 645"/>
                <a:gd name="T37" fmla="*/ 68 h 549"/>
                <a:gd name="T38" fmla="*/ 241 w 645"/>
                <a:gd name="T39" fmla="*/ 0 h 549"/>
                <a:gd name="T40" fmla="*/ 262 w 645"/>
                <a:gd name="T41" fmla="*/ 36 h 549"/>
                <a:gd name="T42" fmla="*/ 329 w 645"/>
                <a:gd name="T43" fmla="*/ 107 h 549"/>
                <a:gd name="T44" fmla="*/ 373 w 645"/>
                <a:gd name="T45" fmla="*/ 123 h 549"/>
                <a:gd name="T46" fmla="*/ 422 w 645"/>
                <a:gd name="T47" fmla="*/ 123 h 549"/>
                <a:gd name="T48" fmla="*/ 453 w 645"/>
                <a:gd name="T49" fmla="*/ 136 h 549"/>
                <a:gd name="T50" fmla="*/ 466 w 645"/>
                <a:gd name="T51" fmla="*/ 171 h 549"/>
                <a:gd name="T52" fmla="*/ 479 w 645"/>
                <a:gd name="T53" fmla="*/ 193 h 549"/>
                <a:gd name="T54" fmla="*/ 506 w 645"/>
                <a:gd name="T55" fmla="*/ 205 h 549"/>
                <a:gd name="T56" fmla="*/ 578 w 645"/>
                <a:gd name="T57" fmla="*/ 200 h 549"/>
                <a:gd name="T58" fmla="*/ 595 w 645"/>
                <a:gd name="T59" fmla="*/ 204 h 549"/>
                <a:gd name="T60" fmla="*/ 601 w 645"/>
                <a:gd name="T61" fmla="*/ 219 h 549"/>
                <a:gd name="T62" fmla="*/ 605 w 645"/>
                <a:gd name="T63" fmla="*/ 280 h 549"/>
                <a:gd name="T64" fmla="*/ 627 w 645"/>
                <a:gd name="T65" fmla="*/ 332 h 549"/>
                <a:gd name="T66" fmla="*/ 641 w 645"/>
                <a:gd name="T67" fmla="*/ 376 h 549"/>
                <a:gd name="T68" fmla="*/ 625 w 645"/>
                <a:gd name="T69" fmla="*/ 412 h 549"/>
                <a:gd name="T70" fmla="*/ 601 w 645"/>
                <a:gd name="T71" fmla="*/ 440 h 549"/>
                <a:gd name="T72" fmla="*/ 567 w 645"/>
                <a:gd name="T73" fmla="*/ 456 h 549"/>
                <a:gd name="T74" fmla="*/ 529 w 645"/>
                <a:gd name="T75" fmla="*/ 455 h 549"/>
                <a:gd name="T76" fmla="*/ 451 w 645"/>
                <a:gd name="T77" fmla="*/ 413 h 549"/>
                <a:gd name="T78" fmla="*/ 363 w 645"/>
                <a:gd name="T79" fmla="*/ 372 h 549"/>
                <a:gd name="T80" fmla="*/ 325 w 645"/>
                <a:gd name="T81" fmla="*/ 372 h 549"/>
                <a:gd name="T82" fmla="*/ 309 w 645"/>
                <a:gd name="T83" fmla="*/ 396 h 549"/>
                <a:gd name="T84" fmla="*/ 275 w 645"/>
                <a:gd name="T85" fmla="*/ 407 h 549"/>
                <a:gd name="T86" fmla="*/ 235 w 645"/>
                <a:gd name="T87" fmla="*/ 421 h 549"/>
                <a:gd name="T88" fmla="*/ 229 w 645"/>
                <a:gd name="T89" fmla="*/ 459 h 549"/>
                <a:gd name="T90" fmla="*/ 234 w 645"/>
                <a:gd name="T91" fmla="*/ 493 h 549"/>
                <a:gd name="T92" fmla="*/ 245 w 645"/>
                <a:gd name="T93" fmla="*/ 541 h 549"/>
                <a:gd name="T94" fmla="*/ 241 w 645"/>
                <a:gd name="T95" fmla="*/ 549 h 549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645"/>
                <a:gd name="T145" fmla="*/ 0 h 549"/>
                <a:gd name="T146" fmla="*/ 645 w 645"/>
                <a:gd name="T147" fmla="*/ 549 h 549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645" h="549">
                  <a:moveTo>
                    <a:pt x="241" y="549"/>
                  </a:moveTo>
                  <a:lnTo>
                    <a:pt x="217" y="547"/>
                  </a:lnTo>
                  <a:lnTo>
                    <a:pt x="182" y="541"/>
                  </a:lnTo>
                  <a:lnTo>
                    <a:pt x="143" y="533"/>
                  </a:lnTo>
                  <a:lnTo>
                    <a:pt x="102" y="523"/>
                  </a:lnTo>
                  <a:lnTo>
                    <a:pt x="82" y="516"/>
                  </a:lnTo>
                  <a:lnTo>
                    <a:pt x="64" y="509"/>
                  </a:lnTo>
                  <a:lnTo>
                    <a:pt x="46" y="503"/>
                  </a:lnTo>
                  <a:lnTo>
                    <a:pt x="30" y="496"/>
                  </a:lnTo>
                  <a:lnTo>
                    <a:pt x="18" y="488"/>
                  </a:lnTo>
                  <a:lnTo>
                    <a:pt x="8" y="480"/>
                  </a:lnTo>
                  <a:lnTo>
                    <a:pt x="5" y="476"/>
                  </a:lnTo>
                  <a:lnTo>
                    <a:pt x="2" y="472"/>
                  </a:lnTo>
                  <a:lnTo>
                    <a:pt x="1" y="468"/>
                  </a:lnTo>
                  <a:lnTo>
                    <a:pt x="0" y="464"/>
                  </a:lnTo>
                  <a:lnTo>
                    <a:pt x="1" y="455"/>
                  </a:lnTo>
                  <a:lnTo>
                    <a:pt x="5" y="445"/>
                  </a:lnTo>
                  <a:lnTo>
                    <a:pt x="10" y="437"/>
                  </a:lnTo>
                  <a:lnTo>
                    <a:pt x="17" y="428"/>
                  </a:lnTo>
                  <a:lnTo>
                    <a:pt x="34" y="412"/>
                  </a:lnTo>
                  <a:lnTo>
                    <a:pt x="54" y="397"/>
                  </a:lnTo>
                  <a:lnTo>
                    <a:pt x="64" y="389"/>
                  </a:lnTo>
                  <a:lnTo>
                    <a:pt x="74" y="380"/>
                  </a:lnTo>
                  <a:lnTo>
                    <a:pt x="84" y="372"/>
                  </a:lnTo>
                  <a:lnTo>
                    <a:pt x="92" y="363"/>
                  </a:lnTo>
                  <a:lnTo>
                    <a:pt x="98" y="353"/>
                  </a:lnTo>
                  <a:lnTo>
                    <a:pt x="104" y="343"/>
                  </a:lnTo>
                  <a:lnTo>
                    <a:pt x="108" y="332"/>
                  </a:lnTo>
                  <a:lnTo>
                    <a:pt x="108" y="320"/>
                  </a:lnTo>
                  <a:lnTo>
                    <a:pt x="108" y="315"/>
                  </a:lnTo>
                  <a:lnTo>
                    <a:pt x="106" y="311"/>
                  </a:lnTo>
                  <a:lnTo>
                    <a:pt x="105" y="307"/>
                  </a:lnTo>
                  <a:lnTo>
                    <a:pt x="104" y="303"/>
                  </a:lnTo>
                  <a:lnTo>
                    <a:pt x="98" y="297"/>
                  </a:lnTo>
                  <a:lnTo>
                    <a:pt x="93" y="293"/>
                  </a:lnTo>
                  <a:lnTo>
                    <a:pt x="88" y="288"/>
                  </a:lnTo>
                  <a:lnTo>
                    <a:pt x="82" y="283"/>
                  </a:lnTo>
                  <a:lnTo>
                    <a:pt x="81" y="279"/>
                  </a:lnTo>
                  <a:lnTo>
                    <a:pt x="80" y="276"/>
                  </a:lnTo>
                  <a:lnTo>
                    <a:pt x="78" y="271"/>
                  </a:lnTo>
                  <a:lnTo>
                    <a:pt x="78" y="265"/>
                  </a:lnTo>
                  <a:lnTo>
                    <a:pt x="80" y="253"/>
                  </a:lnTo>
                  <a:lnTo>
                    <a:pt x="82" y="243"/>
                  </a:lnTo>
                  <a:lnTo>
                    <a:pt x="88" y="233"/>
                  </a:lnTo>
                  <a:lnTo>
                    <a:pt x="93" y="225"/>
                  </a:lnTo>
                  <a:lnTo>
                    <a:pt x="98" y="216"/>
                  </a:lnTo>
                  <a:lnTo>
                    <a:pt x="104" y="205"/>
                  </a:lnTo>
                  <a:lnTo>
                    <a:pt x="106" y="192"/>
                  </a:lnTo>
                  <a:lnTo>
                    <a:pt x="108" y="175"/>
                  </a:lnTo>
                  <a:lnTo>
                    <a:pt x="108" y="163"/>
                  </a:lnTo>
                  <a:lnTo>
                    <a:pt x="106" y="151"/>
                  </a:lnTo>
                  <a:lnTo>
                    <a:pt x="105" y="140"/>
                  </a:lnTo>
                  <a:lnTo>
                    <a:pt x="102" y="131"/>
                  </a:lnTo>
                  <a:lnTo>
                    <a:pt x="98" y="123"/>
                  </a:lnTo>
                  <a:lnTo>
                    <a:pt x="93" y="117"/>
                  </a:lnTo>
                  <a:lnTo>
                    <a:pt x="86" y="112"/>
                  </a:lnTo>
                  <a:lnTo>
                    <a:pt x="78" y="109"/>
                  </a:lnTo>
                  <a:lnTo>
                    <a:pt x="78" y="74"/>
                  </a:lnTo>
                  <a:lnTo>
                    <a:pt x="90" y="74"/>
                  </a:lnTo>
                  <a:lnTo>
                    <a:pt x="108" y="74"/>
                  </a:lnTo>
                  <a:lnTo>
                    <a:pt x="121" y="75"/>
                  </a:lnTo>
                  <a:lnTo>
                    <a:pt x="131" y="77"/>
                  </a:lnTo>
                  <a:lnTo>
                    <a:pt x="141" y="83"/>
                  </a:lnTo>
                  <a:lnTo>
                    <a:pt x="151" y="88"/>
                  </a:lnTo>
                  <a:lnTo>
                    <a:pt x="161" y="93"/>
                  </a:lnTo>
                  <a:lnTo>
                    <a:pt x="171" y="99"/>
                  </a:lnTo>
                  <a:lnTo>
                    <a:pt x="183" y="101"/>
                  </a:lnTo>
                  <a:lnTo>
                    <a:pt x="198" y="103"/>
                  </a:lnTo>
                  <a:lnTo>
                    <a:pt x="206" y="103"/>
                  </a:lnTo>
                  <a:lnTo>
                    <a:pt x="213" y="100"/>
                  </a:lnTo>
                  <a:lnTo>
                    <a:pt x="218" y="97"/>
                  </a:lnTo>
                  <a:lnTo>
                    <a:pt x="222" y="93"/>
                  </a:lnTo>
                  <a:lnTo>
                    <a:pt x="227" y="88"/>
                  </a:lnTo>
                  <a:lnTo>
                    <a:pt x="230" y="81"/>
                  </a:lnTo>
                  <a:lnTo>
                    <a:pt x="233" y="75"/>
                  </a:lnTo>
                  <a:lnTo>
                    <a:pt x="235" y="68"/>
                  </a:lnTo>
                  <a:lnTo>
                    <a:pt x="238" y="52"/>
                  </a:lnTo>
                  <a:lnTo>
                    <a:pt x="239" y="35"/>
                  </a:lnTo>
                  <a:lnTo>
                    <a:pt x="241" y="18"/>
                  </a:lnTo>
                  <a:lnTo>
                    <a:pt x="241" y="0"/>
                  </a:lnTo>
                  <a:lnTo>
                    <a:pt x="242" y="7"/>
                  </a:lnTo>
                  <a:lnTo>
                    <a:pt x="246" y="15"/>
                  </a:lnTo>
                  <a:lnTo>
                    <a:pt x="254" y="24"/>
                  </a:lnTo>
                  <a:lnTo>
                    <a:pt x="262" y="36"/>
                  </a:lnTo>
                  <a:lnTo>
                    <a:pt x="283" y="62"/>
                  </a:lnTo>
                  <a:lnTo>
                    <a:pt x="307" y="85"/>
                  </a:lnTo>
                  <a:lnTo>
                    <a:pt x="319" y="97"/>
                  </a:lnTo>
                  <a:lnTo>
                    <a:pt x="329" y="107"/>
                  </a:lnTo>
                  <a:lnTo>
                    <a:pt x="337" y="113"/>
                  </a:lnTo>
                  <a:lnTo>
                    <a:pt x="343" y="115"/>
                  </a:lnTo>
                  <a:lnTo>
                    <a:pt x="358" y="120"/>
                  </a:lnTo>
                  <a:lnTo>
                    <a:pt x="373" y="123"/>
                  </a:lnTo>
                  <a:lnTo>
                    <a:pt x="386" y="124"/>
                  </a:lnTo>
                  <a:lnTo>
                    <a:pt x="398" y="124"/>
                  </a:lnTo>
                  <a:lnTo>
                    <a:pt x="411" y="123"/>
                  </a:lnTo>
                  <a:lnTo>
                    <a:pt x="422" y="123"/>
                  </a:lnTo>
                  <a:lnTo>
                    <a:pt x="434" y="124"/>
                  </a:lnTo>
                  <a:lnTo>
                    <a:pt x="445" y="127"/>
                  </a:lnTo>
                  <a:lnTo>
                    <a:pt x="450" y="131"/>
                  </a:lnTo>
                  <a:lnTo>
                    <a:pt x="453" y="136"/>
                  </a:lnTo>
                  <a:lnTo>
                    <a:pt x="455" y="140"/>
                  </a:lnTo>
                  <a:lnTo>
                    <a:pt x="458" y="147"/>
                  </a:lnTo>
                  <a:lnTo>
                    <a:pt x="462" y="159"/>
                  </a:lnTo>
                  <a:lnTo>
                    <a:pt x="466" y="171"/>
                  </a:lnTo>
                  <a:lnTo>
                    <a:pt x="469" y="177"/>
                  </a:lnTo>
                  <a:lnTo>
                    <a:pt x="471" y="183"/>
                  </a:lnTo>
                  <a:lnTo>
                    <a:pt x="475" y="188"/>
                  </a:lnTo>
                  <a:lnTo>
                    <a:pt x="479" y="193"/>
                  </a:lnTo>
                  <a:lnTo>
                    <a:pt x="485" y="197"/>
                  </a:lnTo>
                  <a:lnTo>
                    <a:pt x="490" y="201"/>
                  </a:lnTo>
                  <a:lnTo>
                    <a:pt x="497" y="204"/>
                  </a:lnTo>
                  <a:lnTo>
                    <a:pt x="506" y="205"/>
                  </a:lnTo>
                  <a:lnTo>
                    <a:pt x="525" y="204"/>
                  </a:lnTo>
                  <a:lnTo>
                    <a:pt x="546" y="203"/>
                  </a:lnTo>
                  <a:lnTo>
                    <a:pt x="565" y="200"/>
                  </a:lnTo>
                  <a:lnTo>
                    <a:pt x="578" y="200"/>
                  </a:lnTo>
                  <a:lnTo>
                    <a:pt x="583" y="200"/>
                  </a:lnTo>
                  <a:lnTo>
                    <a:pt x="589" y="201"/>
                  </a:lnTo>
                  <a:lnTo>
                    <a:pt x="593" y="203"/>
                  </a:lnTo>
                  <a:lnTo>
                    <a:pt x="595" y="204"/>
                  </a:lnTo>
                  <a:lnTo>
                    <a:pt x="598" y="207"/>
                  </a:lnTo>
                  <a:lnTo>
                    <a:pt x="599" y="211"/>
                  </a:lnTo>
                  <a:lnTo>
                    <a:pt x="601" y="215"/>
                  </a:lnTo>
                  <a:lnTo>
                    <a:pt x="601" y="219"/>
                  </a:lnTo>
                  <a:lnTo>
                    <a:pt x="601" y="237"/>
                  </a:lnTo>
                  <a:lnTo>
                    <a:pt x="602" y="260"/>
                  </a:lnTo>
                  <a:lnTo>
                    <a:pt x="603" y="269"/>
                  </a:lnTo>
                  <a:lnTo>
                    <a:pt x="605" y="280"/>
                  </a:lnTo>
                  <a:lnTo>
                    <a:pt x="609" y="293"/>
                  </a:lnTo>
                  <a:lnTo>
                    <a:pt x="614" y="305"/>
                  </a:lnTo>
                  <a:lnTo>
                    <a:pt x="621" y="319"/>
                  </a:lnTo>
                  <a:lnTo>
                    <a:pt x="627" y="332"/>
                  </a:lnTo>
                  <a:lnTo>
                    <a:pt x="635" y="344"/>
                  </a:lnTo>
                  <a:lnTo>
                    <a:pt x="645" y="356"/>
                  </a:lnTo>
                  <a:lnTo>
                    <a:pt x="642" y="367"/>
                  </a:lnTo>
                  <a:lnTo>
                    <a:pt x="641" y="376"/>
                  </a:lnTo>
                  <a:lnTo>
                    <a:pt x="638" y="385"/>
                  </a:lnTo>
                  <a:lnTo>
                    <a:pt x="634" y="395"/>
                  </a:lnTo>
                  <a:lnTo>
                    <a:pt x="630" y="404"/>
                  </a:lnTo>
                  <a:lnTo>
                    <a:pt x="625" y="412"/>
                  </a:lnTo>
                  <a:lnTo>
                    <a:pt x="619" y="420"/>
                  </a:lnTo>
                  <a:lnTo>
                    <a:pt x="614" y="428"/>
                  </a:lnTo>
                  <a:lnTo>
                    <a:pt x="607" y="435"/>
                  </a:lnTo>
                  <a:lnTo>
                    <a:pt x="601" y="440"/>
                  </a:lnTo>
                  <a:lnTo>
                    <a:pt x="593" y="445"/>
                  </a:lnTo>
                  <a:lnTo>
                    <a:pt x="585" y="451"/>
                  </a:lnTo>
                  <a:lnTo>
                    <a:pt x="577" y="453"/>
                  </a:lnTo>
                  <a:lnTo>
                    <a:pt x="567" y="456"/>
                  </a:lnTo>
                  <a:lnTo>
                    <a:pt x="558" y="457"/>
                  </a:lnTo>
                  <a:lnTo>
                    <a:pt x="547" y="459"/>
                  </a:lnTo>
                  <a:lnTo>
                    <a:pt x="539" y="457"/>
                  </a:lnTo>
                  <a:lnTo>
                    <a:pt x="529" y="455"/>
                  </a:lnTo>
                  <a:lnTo>
                    <a:pt x="518" y="451"/>
                  </a:lnTo>
                  <a:lnTo>
                    <a:pt x="506" y="444"/>
                  </a:lnTo>
                  <a:lnTo>
                    <a:pt x="479" y="429"/>
                  </a:lnTo>
                  <a:lnTo>
                    <a:pt x="451" y="413"/>
                  </a:lnTo>
                  <a:lnTo>
                    <a:pt x="422" y="397"/>
                  </a:lnTo>
                  <a:lnTo>
                    <a:pt x="391" y="383"/>
                  </a:lnTo>
                  <a:lnTo>
                    <a:pt x="377" y="376"/>
                  </a:lnTo>
                  <a:lnTo>
                    <a:pt x="363" y="372"/>
                  </a:lnTo>
                  <a:lnTo>
                    <a:pt x="350" y="369"/>
                  </a:lnTo>
                  <a:lnTo>
                    <a:pt x="337" y="368"/>
                  </a:lnTo>
                  <a:lnTo>
                    <a:pt x="330" y="369"/>
                  </a:lnTo>
                  <a:lnTo>
                    <a:pt x="325" y="372"/>
                  </a:lnTo>
                  <a:lnTo>
                    <a:pt x="319" y="376"/>
                  </a:lnTo>
                  <a:lnTo>
                    <a:pt x="315" y="383"/>
                  </a:lnTo>
                  <a:lnTo>
                    <a:pt x="311" y="389"/>
                  </a:lnTo>
                  <a:lnTo>
                    <a:pt x="309" y="396"/>
                  </a:lnTo>
                  <a:lnTo>
                    <a:pt x="307" y="403"/>
                  </a:lnTo>
                  <a:lnTo>
                    <a:pt x="307" y="411"/>
                  </a:lnTo>
                  <a:lnTo>
                    <a:pt x="290" y="409"/>
                  </a:lnTo>
                  <a:lnTo>
                    <a:pt x="275" y="407"/>
                  </a:lnTo>
                  <a:lnTo>
                    <a:pt x="262" y="403"/>
                  </a:lnTo>
                  <a:lnTo>
                    <a:pt x="253" y="399"/>
                  </a:lnTo>
                  <a:lnTo>
                    <a:pt x="243" y="408"/>
                  </a:lnTo>
                  <a:lnTo>
                    <a:pt x="235" y="421"/>
                  </a:lnTo>
                  <a:lnTo>
                    <a:pt x="233" y="429"/>
                  </a:lnTo>
                  <a:lnTo>
                    <a:pt x="230" y="439"/>
                  </a:lnTo>
                  <a:lnTo>
                    <a:pt x="229" y="448"/>
                  </a:lnTo>
                  <a:lnTo>
                    <a:pt x="229" y="459"/>
                  </a:lnTo>
                  <a:lnTo>
                    <a:pt x="229" y="469"/>
                  </a:lnTo>
                  <a:lnTo>
                    <a:pt x="230" y="479"/>
                  </a:lnTo>
                  <a:lnTo>
                    <a:pt x="233" y="487"/>
                  </a:lnTo>
                  <a:lnTo>
                    <a:pt x="234" y="493"/>
                  </a:lnTo>
                  <a:lnTo>
                    <a:pt x="238" y="508"/>
                  </a:lnTo>
                  <a:lnTo>
                    <a:pt x="241" y="525"/>
                  </a:lnTo>
                  <a:lnTo>
                    <a:pt x="242" y="535"/>
                  </a:lnTo>
                  <a:lnTo>
                    <a:pt x="245" y="541"/>
                  </a:lnTo>
                  <a:lnTo>
                    <a:pt x="246" y="543"/>
                  </a:lnTo>
                  <a:lnTo>
                    <a:pt x="246" y="545"/>
                  </a:lnTo>
                  <a:lnTo>
                    <a:pt x="243" y="547"/>
                  </a:lnTo>
                  <a:lnTo>
                    <a:pt x="241" y="549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accent1">
                  <a:lumMod val="20000"/>
                  <a:lumOff val="8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95" b="0" i="0" u="none" strike="noStrike" kern="1200" cap="none" spc="0" normalizeH="0" baseline="0" noProof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9" name="Freeform 74"/>
            <p:cNvSpPr>
              <a:spLocks/>
            </p:cNvSpPr>
            <p:nvPr/>
          </p:nvSpPr>
          <p:spPr bwMode="auto">
            <a:xfrm>
              <a:off x="4767417" y="2398332"/>
              <a:ext cx="36080" cy="47399"/>
            </a:xfrm>
            <a:custGeom>
              <a:avLst/>
              <a:gdLst>
                <a:gd name="T0" fmla="*/ 333 w 499"/>
                <a:gd name="T1" fmla="*/ 645 h 662"/>
                <a:gd name="T2" fmla="*/ 342 w 499"/>
                <a:gd name="T3" fmla="*/ 613 h 662"/>
                <a:gd name="T4" fmla="*/ 371 w 499"/>
                <a:gd name="T5" fmla="*/ 574 h 662"/>
                <a:gd name="T6" fmla="*/ 406 w 499"/>
                <a:gd name="T7" fmla="*/ 542 h 662"/>
                <a:gd name="T8" fmla="*/ 438 w 499"/>
                <a:gd name="T9" fmla="*/ 509 h 662"/>
                <a:gd name="T10" fmla="*/ 454 w 499"/>
                <a:gd name="T11" fmla="*/ 476 h 662"/>
                <a:gd name="T12" fmla="*/ 457 w 499"/>
                <a:gd name="T13" fmla="*/ 452 h 662"/>
                <a:gd name="T14" fmla="*/ 447 w 499"/>
                <a:gd name="T15" fmla="*/ 412 h 662"/>
                <a:gd name="T16" fmla="*/ 465 w 499"/>
                <a:gd name="T17" fmla="*/ 396 h 662"/>
                <a:gd name="T18" fmla="*/ 483 w 499"/>
                <a:gd name="T19" fmla="*/ 376 h 662"/>
                <a:gd name="T20" fmla="*/ 465 w 499"/>
                <a:gd name="T21" fmla="*/ 349 h 662"/>
                <a:gd name="T22" fmla="*/ 446 w 499"/>
                <a:gd name="T23" fmla="*/ 325 h 662"/>
                <a:gd name="T24" fmla="*/ 453 w 499"/>
                <a:gd name="T25" fmla="*/ 315 h 662"/>
                <a:gd name="T26" fmla="*/ 466 w 499"/>
                <a:gd name="T27" fmla="*/ 287 h 662"/>
                <a:gd name="T28" fmla="*/ 474 w 499"/>
                <a:gd name="T29" fmla="*/ 249 h 662"/>
                <a:gd name="T30" fmla="*/ 473 w 499"/>
                <a:gd name="T31" fmla="*/ 193 h 662"/>
                <a:gd name="T32" fmla="*/ 390 w 499"/>
                <a:gd name="T33" fmla="*/ 169 h 662"/>
                <a:gd name="T34" fmla="*/ 302 w 499"/>
                <a:gd name="T35" fmla="*/ 145 h 662"/>
                <a:gd name="T36" fmla="*/ 257 w 499"/>
                <a:gd name="T37" fmla="*/ 125 h 662"/>
                <a:gd name="T38" fmla="*/ 237 w 499"/>
                <a:gd name="T39" fmla="*/ 99 h 662"/>
                <a:gd name="T40" fmla="*/ 209 w 499"/>
                <a:gd name="T41" fmla="*/ 55 h 662"/>
                <a:gd name="T42" fmla="*/ 189 w 499"/>
                <a:gd name="T43" fmla="*/ 44 h 662"/>
                <a:gd name="T44" fmla="*/ 153 w 499"/>
                <a:gd name="T45" fmla="*/ 43 h 662"/>
                <a:gd name="T46" fmla="*/ 129 w 499"/>
                <a:gd name="T47" fmla="*/ 41 h 662"/>
                <a:gd name="T48" fmla="*/ 110 w 499"/>
                <a:gd name="T49" fmla="*/ 28 h 662"/>
                <a:gd name="T50" fmla="*/ 82 w 499"/>
                <a:gd name="T51" fmla="*/ 8 h 662"/>
                <a:gd name="T52" fmla="*/ 68 w 499"/>
                <a:gd name="T53" fmla="*/ 33 h 662"/>
                <a:gd name="T54" fmla="*/ 48 w 499"/>
                <a:gd name="T55" fmla="*/ 75 h 662"/>
                <a:gd name="T56" fmla="*/ 22 w 499"/>
                <a:gd name="T57" fmla="*/ 95 h 662"/>
                <a:gd name="T58" fmla="*/ 4 w 499"/>
                <a:gd name="T59" fmla="*/ 112 h 662"/>
                <a:gd name="T60" fmla="*/ 0 w 499"/>
                <a:gd name="T61" fmla="*/ 127 h 662"/>
                <a:gd name="T62" fmla="*/ 5 w 499"/>
                <a:gd name="T63" fmla="*/ 153 h 662"/>
                <a:gd name="T64" fmla="*/ 16 w 499"/>
                <a:gd name="T65" fmla="*/ 168 h 662"/>
                <a:gd name="T66" fmla="*/ 37 w 499"/>
                <a:gd name="T67" fmla="*/ 177 h 662"/>
                <a:gd name="T68" fmla="*/ 58 w 499"/>
                <a:gd name="T69" fmla="*/ 185 h 662"/>
                <a:gd name="T70" fmla="*/ 70 w 499"/>
                <a:gd name="T71" fmla="*/ 201 h 662"/>
                <a:gd name="T72" fmla="*/ 77 w 499"/>
                <a:gd name="T73" fmla="*/ 224 h 662"/>
                <a:gd name="T74" fmla="*/ 80 w 499"/>
                <a:gd name="T75" fmla="*/ 264 h 662"/>
                <a:gd name="T76" fmla="*/ 88 w 499"/>
                <a:gd name="T77" fmla="*/ 287 h 662"/>
                <a:gd name="T78" fmla="*/ 108 w 499"/>
                <a:gd name="T79" fmla="*/ 301 h 662"/>
                <a:gd name="T80" fmla="*/ 157 w 499"/>
                <a:gd name="T81" fmla="*/ 315 h 662"/>
                <a:gd name="T82" fmla="*/ 192 w 499"/>
                <a:gd name="T83" fmla="*/ 329 h 662"/>
                <a:gd name="T84" fmla="*/ 198 w 499"/>
                <a:gd name="T85" fmla="*/ 344 h 662"/>
                <a:gd name="T86" fmla="*/ 198 w 499"/>
                <a:gd name="T87" fmla="*/ 397 h 662"/>
                <a:gd name="T88" fmla="*/ 194 w 499"/>
                <a:gd name="T89" fmla="*/ 449 h 662"/>
                <a:gd name="T90" fmla="*/ 200 w 499"/>
                <a:gd name="T91" fmla="*/ 477 h 662"/>
                <a:gd name="T92" fmla="*/ 210 w 499"/>
                <a:gd name="T93" fmla="*/ 497 h 662"/>
                <a:gd name="T94" fmla="*/ 226 w 499"/>
                <a:gd name="T95" fmla="*/ 506 h 662"/>
                <a:gd name="T96" fmla="*/ 252 w 499"/>
                <a:gd name="T97" fmla="*/ 516 h 662"/>
                <a:gd name="T98" fmla="*/ 262 w 499"/>
                <a:gd name="T99" fmla="*/ 525 h 662"/>
                <a:gd name="T100" fmla="*/ 307 w 499"/>
                <a:gd name="T101" fmla="*/ 614 h 66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99"/>
                <a:gd name="T154" fmla="*/ 0 h 662"/>
                <a:gd name="T155" fmla="*/ 499 w 499"/>
                <a:gd name="T156" fmla="*/ 662 h 66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99" h="662">
                  <a:moveTo>
                    <a:pt x="331" y="662"/>
                  </a:moveTo>
                  <a:lnTo>
                    <a:pt x="331" y="653"/>
                  </a:lnTo>
                  <a:lnTo>
                    <a:pt x="333" y="645"/>
                  </a:lnTo>
                  <a:lnTo>
                    <a:pt x="334" y="636"/>
                  </a:lnTo>
                  <a:lnTo>
                    <a:pt x="337" y="628"/>
                  </a:lnTo>
                  <a:lnTo>
                    <a:pt x="342" y="613"/>
                  </a:lnTo>
                  <a:lnTo>
                    <a:pt x="350" y="600"/>
                  </a:lnTo>
                  <a:lnTo>
                    <a:pt x="361" y="586"/>
                  </a:lnTo>
                  <a:lnTo>
                    <a:pt x="371" y="574"/>
                  </a:lnTo>
                  <a:lnTo>
                    <a:pt x="382" y="564"/>
                  </a:lnTo>
                  <a:lnTo>
                    <a:pt x="394" y="553"/>
                  </a:lnTo>
                  <a:lnTo>
                    <a:pt x="406" y="542"/>
                  </a:lnTo>
                  <a:lnTo>
                    <a:pt x="417" y="532"/>
                  </a:lnTo>
                  <a:lnTo>
                    <a:pt x="427" y="520"/>
                  </a:lnTo>
                  <a:lnTo>
                    <a:pt x="438" y="509"/>
                  </a:lnTo>
                  <a:lnTo>
                    <a:pt x="446" y="496"/>
                  </a:lnTo>
                  <a:lnTo>
                    <a:pt x="451" y="482"/>
                  </a:lnTo>
                  <a:lnTo>
                    <a:pt x="454" y="476"/>
                  </a:lnTo>
                  <a:lnTo>
                    <a:pt x="455" y="468"/>
                  </a:lnTo>
                  <a:lnTo>
                    <a:pt x="457" y="460"/>
                  </a:lnTo>
                  <a:lnTo>
                    <a:pt x="457" y="452"/>
                  </a:lnTo>
                  <a:lnTo>
                    <a:pt x="451" y="432"/>
                  </a:lnTo>
                  <a:lnTo>
                    <a:pt x="445" y="416"/>
                  </a:lnTo>
                  <a:lnTo>
                    <a:pt x="447" y="412"/>
                  </a:lnTo>
                  <a:lnTo>
                    <a:pt x="451" y="407"/>
                  </a:lnTo>
                  <a:lnTo>
                    <a:pt x="457" y="401"/>
                  </a:lnTo>
                  <a:lnTo>
                    <a:pt x="465" y="396"/>
                  </a:lnTo>
                  <a:lnTo>
                    <a:pt x="471" y="391"/>
                  </a:lnTo>
                  <a:lnTo>
                    <a:pt x="478" y="384"/>
                  </a:lnTo>
                  <a:lnTo>
                    <a:pt x="483" y="376"/>
                  </a:lnTo>
                  <a:lnTo>
                    <a:pt x="487" y="368"/>
                  </a:lnTo>
                  <a:lnTo>
                    <a:pt x="478" y="363"/>
                  </a:lnTo>
                  <a:lnTo>
                    <a:pt x="465" y="349"/>
                  </a:lnTo>
                  <a:lnTo>
                    <a:pt x="451" y="337"/>
                  </a:lnTo>
                  <a:lnTo>
                    <a:pt x="445" y="332"/>
                  </a:lnTo>
                  <a:lnTo>
                    <a:pt x="446" y="325"/>
                  </a:lnTo>
                  <a:lnTo>
                    <a:pt x="447" y="321"/>
                  </a:lnTo>
                  <a:lnTo>
                    <a:pt x="450" y="317"/>
                  </a:lnTo>
                  <a:lnTo>
                    <a:pt x="453" y="315"/>
                  </a:lnTo>
                  <a:lnTo>
                    <a:pt x="461" y="309"/>
                  </a:lnTo>
                  <a:lnTo>
                    <a:pt x="470" y="301"/>
                  </a:lnTo>
                  <a:lnTo>
                    <a:pt x="466" y="287"/>
                  </a:lnTo>
                  <a:lnTo>
                    <a:pt x="463" y="272"/>
                  </a:lnTo>
                  <a:lnTo>
                    <a:pt x="466" y="264"/>
                  </a:lnTo>
                  <a:lnTo>
                    <a:pt x="474" y="249"/>
                  </a:lnTo>
                  <a:lnTo>
                    <a:pt x="486" y="231"/>
                  </a:lnTo>
                  <a:lnTo>
                    <a:pt x="499" y="205"/>
                  </a:lnTo>
                  <a:lnTo>
                    <a:pt x="473" y="193"/>
                  </a:lnTo>
                  <a:lnTo>
                    <a:pt x="445" y="184"/>
                  </a:lnTo>
                  <a:lnTo>
                    <a:pt x="418" y="176"/>
                  </a:lnTo>
                  <a:lnTo>
                    <a:pt x="390" y="169"/>
                  </a:lnTo>
                  <a:lnTo>
                    <a:pt x="361" y="163"/>
                  </a:lnTo>
                  <a:lnTo>
                    <a:pt x="331" y="155"/>
                  </a:lnTo>
                  <a:lnTo>
                    <a:pt x="302" y="145"/>
                  </a:lnTo>
                  <a:lnTo>
                    <a:pt x="270" y="133"/>
                  </a:lnTo>
                  <a:lnTo>
                    <a:pt x="264" y="129"/>
                  </a:lnTo>
                  <a:lnTo>
                    <a:pt x="257" y="125"/>
                  </a:lnTo>
                  <a:lnTo>
                    <a:pt x="252" y="120"/>
                  </a:lnTo>
                  <a:lnTo>
                    <a:pt x="246" y="113"/>
                  </a:lnTo>
                  <a:lnTo>
                    <a:pt x="237" y="99"/>
                  </a:lnTo>
                  <a:lnTo>
                    <a:pt x="228" y="83"/>
                  </a:lnTo>
                  <a:lnTo>
                    <a:pt x="220" y="68"/>
                  </a:lnTo>
                  <a:lnTo>
                    <a:pt x="209" y="55"/>
                  </a:lnTo>
                  <a:lnTo>
                    <a:pt x="204" y="49"/>
                  </a:lnTo>
                  <a:lnTo>
                    <a:pt x="197" y="47"/>
                  </a:lnTo>
                  <a:lnTo>
                    <a:pt x="189" y="44"/>
                  </a:lnTo>
                  <a:lnTo>
                    <a:pt x="181" y="43"/>
                  </a:lnTo>
                  <a:lnTo>
                    <a:pt x="165" y="43"/>
                  </a:lnTo>
                  <a:lnTo>
                    <a:pt x="153" y="43"/>
                  </a:lnTo>
                  <a:lnTo>
                    <a:pt x="144" y="43"/>
                  </a:lnTo>
                  <a:lnTo>
                    <a:pt x="138" y="43"/>
                  </a:lnTo>
                  <a:lnTo>
                    <a:pt x="129" y="41"/>
                  </a:lnTo>
                  <a:lnTo>
                    <a:pt x="121" y="39"/>
                  </a:lnTo>
                  <a:lnTo>
                    <a:pt x="114" y="35"/>
                  </a:lnTo>
                  <a:lnTo>
                    <a:pt x="110" y="28"/>
                  </a:lnTo>
                  <a:lnTo>
                    <a:pt x="101" y="15"/>
                  </a:lnTo>
                  <a:lnTo>
                    <a:pt x="90" y="0"/>
                  </a:lnTo>
                  <a:lnTo>
                    <a:pt x="82" y="8"/>
                  </a:lnTo>
                  <a:lnTo>
                    <a:pt x="76" y="16"/>
                  </a:lnTo>
                  <a:lnTo>
                    <a:pt x="72" y="24"/>
                  </a:lnTo>
                  <a:lnTo>
                    <a:pt x="68" y="33"/>
                  </a:lnTo>
                  <a:lnTo>
                    <a:pt x="61" y="51"/>
                  </a:lnTo>
                  <a:lnTo>
                    <a:pt x="54" y="67"/>
                  </a:lnTo>
                  <a:lnTo>
                    <a:pt x="48" y="75"/>
                  </a:lnTo>
                  <a:lnTo>
                    <a:pt x="41" y="83"/>
                  </a:lnTo>
                  <a:lnTo>
                    <a:pt x="32" y="88"/>
                  </a:lnTo>
                  <a:lnTo>
                    <a:pt x="22" y="95"/>
                  </a:lnTo>
                  <a:lnTo>
                    <a:pt x="14" y="101"/>
                  </a:lnTo>
                  <a:lnTo>
                    <a:pt x="6" y="108"/>
                  </a:lnTo>
                  <a:lnTo>
                    <a:pt x="4" y="112"/>
                  </a:lnTo>
                  <a:lnTo>
                    <a:pt x="1" y="117"/>
                  </a:lnTo>
                  <a:lnTo>
                    <a:pt x="0" y="121"/>
                  </a:lnTo>
                  <a:lnTo>
                    <a:pt x="0" y="127"/>
                  </a:lnTo>
                  <a:lnTo>
                    <a:pt x="1" y="137"/>
                  </a:lnTo>
                  <a:lnTo>
                    <a:pt x="2" y="147"/>
                  </a:lnTo>
                  <a:lnTo>
                    <a:pt x="5" y="153"/>
                  </a:lnTo>
                  <a:lnTo>
                    <a:pt x="8" y="159"/>
                  </a:lnTo>
                  <a:lnTo>
                    <a:pt x="12" y="164"/>
                  </a:lnTo>
                  <a:lnTo>
                    <a:pt x="16" y="168"/>
                  </a:lnTo>
                  <a:lnTo>
                    <a:pt x="21" y="171"/>
                  </a:lnTo>
                  <a:lnTo>
                    <a:pt x="26" y="173"/>
                  </a:lnTo>
                  <a:lnTo>
                    <a:pt x="37" y="177"/>
                  </a:lnTo>
                  <a:lnTo>
                    <a:pt x="48" y="181"/>
                  </a:lnTo>
                  <a:lnTo>
                    <a:pt x="53" y="183"/>
                  </a:lnTo>
                  <a:lnTo>
                    <a:pt x="58" y="185"/>
                  </a:lnTo>
                  <a:lnTo>
                    <a:pt x="62" y="189"/>
                  </a:lnTo>
                  <a:lnTo>
                    <a:pt x="66" y="193"/>
                  </a:lnTo>
                  <a:lnTo>
                    <a:pt x="70" y="201"/>
                  </a:lnTo>
                  <a:lnTo>
                    <a:pt x="73" y="209"/>
                  </a:lnTo>
                  <a:lnTo>
                    <a:pt x="76" y="216"/>
                  </a:lnTo>
                  <a:lnTo>
                    <a:pt x="77" y="224"/>
                  </a:lnTo>
                  <a:lnTo>
                    <a:pt x="78" y="237"/>
                  </a:lnTo>
                  <a:lnTo>
                    <a:pt x="78" y="251"/>
                  </a:lnTo>
                  <a:lnTo>
                    <a:pt x="80" y="264"/>
                  </a:lnTo>
                  <a:lnTo>
                    <a:pt x="82" y="276"/>
                  </a:lnTo>
                  <a:lnTo>
                    <a:pt x="84" y="281"/>
                  </a:lnTo>
                  <a:lnTo>
                    <a:pt x="88" y="287"/>
                  </a:lnTo>
                  <a:lnTo>
                    <a:pt x="92" y="291"/>
                  </a:lnTo>
                  <a:lnTo>
                    <a:pt x="96" y="296"/>
                  </a:lnTo>
                  <a:lnTo>
                    <a:pt x="108" y="301"/>
                  </a:lnTo>
                  <a:lnTo>
                    <a:pt x="122" y="307"/>
                  </a:lnTo>
                  <a:lnTo>
                    <a:pt x="140" y="311"/>
                  </a:lnTo>
                  <a:lnTo>
                    <a:pt x="157" y="315"/>
                  </a:lnTo>
                  <a:lnTo>
                    <a:pt x="173" y="320"/>
                  </a:lnTo>
                  <a:lnTo>
                    <a:pt x="186" y="327"/>
                  </a:lnTo>
                  <a:lnTo>
                    <a:pt x="192" y="329"/>
                  </a:lnTo>
                  <a:lnTo>
                    <a:pt x="196" y="333"/>
                  </a:lnTo>
                  <a:lnTo>
                    <a:pt x="198" y="339"/>
                  </a:lnTo>
                  <a:lnTo>
                    <a:pt x="198" y="344"/>
                  </a:lnTo>
                  <a:lnTo>
                    <a:pt x="198" y="360"/>
                  </a:lnTo>
                  <a:lnTo>
                    <a:pt x="198" y="379"/>
                  </a:lnTo>
                  <a:lnTo>
                    <a:pt x="198" y="397"/>
                  </a:lnTo>
                  <a:lnTo>
                    <a:pt x="198" y="411"/>
                  </a:lnTo>
                  <a:lnTo>
                    <a:pt x="197" y="431"/>
                  </a:lnTo>
                  <a:lnTo>
                    <a:pt x="194" y="449"/>
                  </a:lnTo>
                  <a:lnTo>
                    <a:pt x="194" y="458"/>
                  </a:lnTo>
                  <a:lnTo>
                    <a:pt x="196" y="468"/>
                  </a:lnTo>
                  <a:lnTo>
                    <a:pt x="200" y="477"/>
                  </a:lnTo>
                  <a:lnTo>
                    <a:pt x="205" y="488"/>
                  </a:lnTo>
                  <a:lnTo>
                    <a:pt x="208" y="493"/>
                  </a:lnTo>
                  <a:lnTo>
                    <a:pt x="210" y="497"/>
                  </a:lnTo>
                  <a:lnTo>
                    <a:pt x="213" y="501"/>
                  </a:lnTo>
                  <a:lnTo>
                    <a:pt x="217" y="504"/>
                  </a:lnTo>
                  <a:lnTo>
                    <a:pt x="226" y="506"/>
                  </a:lnTo>
                  <a:lnTo>
                    <a:pt x="234" y="509"/>
                  </a:lnTo>
                  <a:lnTo>
                    <a:pt x="244" y="512"/>
                  </a:lnTo>
                  <a:lnTo>
                    <a:pt x="252" y="516"/>
                  </a:lnTo>
                  <a:lnTo>
                    <a:pt x="256" y="518"/>
                  </a:lnTo>
                  <a:lnTo>
                    <a:pt x="260" y="521"/>
                  </a:lnTo>
                  <a:lnTo>
                    <a:pt x="262" y="525"/>
                  </a:lnTo>
                  <a:lnTo>
                    <a:pt x="265" y="530"/>
                  </a:lnTo>
                  <a:lnTo>
                    <a:pt x="285" y="572"/>
                  </a:lnTo>
                  <a:lnTo>
                    <a:pt x="307" y="614"/>
                  </a:lnTo>
                  <a:lnTo>
                    <a:pt x="323" y="649"/>
                  </a:lnTo>
                  <a:lnTo>
                    <a:pt x="331" y="662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accent1">
                  <a:lumMod val="20000"/>
                  <a:lumOff val="8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95" b="0" i="0" u="none" strike="noStrike" kern="1200" cap="none" spc="0" normalizeH="0" baseline="0" noProof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0" name="Freeform 89"/>
            <p:cNvSpPr>
              <a:spLocks/>
            </p:cNvSpPr>
            <p:nvPr/>
          </p:nvSpPr>
          <p:spPr bwMode="auto">
            <a:xfrm>
              <a:off x="4985309" y="2362488"/>
              <a:ext cx="83950" cy="96448"/>
            </a:xfrm>
            <a:custGeom>
              <a:avLst/>
              <a:gdLst>
                <a:gd name="T0" fmla="*/ 542 w 1162"/>
                <a:gd name="T1" fmla="*/ 141 h 1338"/>
                <a:gd name="T2" fmla="*/ 494 w 1162"/>
                <a:gd name="T3" fmla="*/ 97 h 1338"/>
                <a:gd name="T4" fmla="*/ 460 w 1162"/>
                <a:gd name="T5" fmla="*/ 95 h 1338"/>
                <a:gd name="T6" fmla="*/ 450 w 1162"/>
                <a:gd name="T7" fmla="*/ 41 h 1338"/>
                <a:gd name="T8" fmla="*/ 417 w 1162"/>
                <a:gd name="T9" fmla="*/ 4 h 1338"/>
                <a:gd name="T10" fmla="*/ 310 w 1162"/>
                <a:gd name="T11" fmla="*/ 5 h 1338"/>
                <a:gd name="T12" fmla="*/ 261 w 1162"/>
                <a:gd name="T13" fmla="*/ 1 h 1338"/>
                <a:gd name="T14" fmla="*/ 263 w 1162"/>
                <a:gd name="T15" fmla="*/ 39 h 1338"/>
                <a:gd name="T16" fmla="*/ 269 w 1162"/>
                <a:gd name="T17" fmla="*/ 104 h 1338"/>
                <a:gd name="T18" fmla="*/ 240 w 1162"/>
                <a:gd name="T19" fmla="*/ 125 h 1338"/>
                <a:gd name="T20" fmla="*/ 253 w 1162"/>
                <a:gd name="T21" fmla="*/ 153 h 1338"/>
                <a:gd name="T22" fmla="*/ 309 w 1162"/>
                <a:gd name="T23" fmla="*/ 201 h 1338"/>
                <a:gd name="T24" fmla="*/ 362 w 1162"/>
                <a:gd name="T25" fmla="*/ 245 h 1338"/>
                <a:gd name="T26" fmla="*/ 365 w 1162"/>
                <a:gd name="T27" fmla="*/ 285 h 1338"/>
                <a:gd name="T28" fmla="*/ 326 w 1162"/>
                <a:gd name="T29" fmla="*/ 337 h 1338"/>
                <a:gd name="T30" fmla="*/ 260 w 1162"/>
                <a:gd name="T31" fmla="*/ 384 h 1338"/>
                <a:gd name="T32" fmla="*/ 240 w 1162"/>
                <a:gd name="T33" fmla="*/ 433 h 1338"/>
                <a:gd name="T34" fmla="*/ 216 w 1162"/>
                <a:gd name="T35" fmla="*/ 569 h 1338"/>
                <a:gd name="T36" fmla="*/ 168 w 1162"/>
                <a:gd name="T37" fmla="*/ 633 h 1338"/>
                <a:gd name="T38" fmla="*/ 127 w 1162"/>
                <a:gd name="T39" fmla="*/ 833 h 1338"/>
                <a:gd name="T40" fmla="*/ 95 w 1162"/>
                <a:gd name="T41" fmla="*/ 966 h 1338"/>
                <a:gd name="T42" fmla="*/ 15 w 1162"/>
                <a:gd name="T43" fmla="*/ 1011 h 1338"/>
                <a:gd name="T44" fmla="*/ 0 w 1162"/>
                <a:gd name="T45" fmla="*/ 1050 h 1338"/>
                <a:gd name="T46" fmla="*/ 17 w 1162"/>
                <a:gd name="T47" fmla="*/ 1083 h 1338"/>
                <a:gd name="T48" fmla="*/ 69 w 1162"/>
                <a:gd name="T49" fmla="*/ 1113 h 1338"/>
                <a:gd name="T50" fmla="*/ 99 w 1162"/>
                <a:gd name="T51" fmla="*/ 1177 h 1338"/>
                <a:gd name="T52" fmla="*/ 153 w 1162"/>
                <a:gd name="T53" fmla="*/ 1195 h 1338"/>
                <a:gd name="T54" fmla="*/ 203 w 1162"/>
                <a:gd name="T55" fmla="*/ 1207 h 1338"/>
                <a:gd name="T56" fmla="*/ 229 w 1162"/>
                <a:gd name="T57" fmla="*/ 1238 h 1338"/>
                <a:gd name="T58" fmla="*/ 275 w 1162"/>
                <a:gd name="T59" fmla="*/ 1266 h 1338"/>
                <a:gd name="T60" fmla="*/ 273 w 1162"/>
                <a:gd name="T61" fmla="*/ 1315 h 1338"/>
                <a:gd name="T62" fmla="*/ 322 w 1162"/>
                <a:gd name="T63" fmla="*/ 1333 h 1338"/>
                <a:gd name="T64" fmla="*/ 356 w 1162"/>
                <a:gd name="T65" fmla="*/ 1322 h 1338"/>
                <a:gd name="T66" fmla="*/ 388 w 1162"/>
                <a:gd name="T67" fmla="*/ 1239 h 1338"/>
                <a:gd name="T68" fmla="*/ 432 w 1162"/>
                <a:gd name="T69" fmla="*/ 1195 h 1338"/>
                <a:gd name="T70" fmla="*/ 482 w 1162"/>
                <a:gd name="T71" fmla="*/ 1194 h 1338"/>
                <a:gd name="T72" fmla="*/ 544 w 1162"/>
                <a:gd name="T73" fmla="*/ 1119 h 1338"/>
                <a:gd name="T74" fmla="*/ 586 w 1162"/>
                <a:gd name="T75" fmla="*/ 1090 h 1338"/>
                <a:gd name="T76" fmla="*/ 658 w 1162"/>
                <a:gd name="T77" fmla="*/ 1101 h 1338"/>
                <a:gd name="T78" fmla="*/ 684 w 1162"/>
                <a:gd name="T79" fmla="*/ 1045 h 1338"/>
                <a:gd name="T80" fmla="*/ 716 w 1162"/>
                <a:gd name="T81" fmla="*/ 1006 h 1338"/>
                <a:gd name="T82" fmla="*/ 794 w 1162"/>
                <a:gd name="T83" fmla="*/ 989 h 1338"/>
                <a:gd name="T84" fmla="*/ 836 w 1162"/>
                <a:gd name="T85" fmla="*/ 949 h 1338"/>
                <a:gd name="T86" fmla="*/ 834 w 1162"/>
                <a:gd name="T87" fmla="*/ 898 h 1338"/>
                <a:gd name="T88" fmla="*/ 818 w 1162"/>
                <a:gd name="T89" fmla="*/ 861 h 1338"/>
                <a:gd name="T90" fmla="*/ 844 w 1162"/>
                <a:gd name="T91" fmla="*/ 822 h 1338"/>
                <a:gd name="T92" fmla="*/ 854 w 1162"/>
                <a:gd name="T93" fmla="*/ 788 h 1338"/>
                <a:gd name="T94" fmla="*/ 830 w 1162"/>
                <a:gd name="T95" fmla="*/ 736 h 1338"/>
                <a:gd name="T96" fmla="*/ 820 w 1162"/>
                <a:gd name="T97" fmla="*/ 676 h 1338"/>
                <a:gd name="T98" fmla="*/ 858 w 1162"/>
                <a:gd name="T99" fmla="*/ 637 h 1338"/>
                <a:gd name="T100" fmla="*/ 937 w 1162"/>
                <a:gd name="T101" fmla="*/ 612 h 1338"/>
                <a:gd name="T102" fmla="*/ 1021 w 1162"/>
                <a:gd name="T103" fmla="*/ 506 h 1338"/>
                <a:gd name="T104" fmla="*/ 1114 w 1162"/>
                <a:gd name="T105" fmla="*/ 328 h 1338"/>
                <a:gd name="T106" fmla="*/ 1131 w 1162"/>
                <a:gd name="T107" fmla="*/ 235 h 1338"/>
                <a:gd name="T108" fmla="*/ 1055 w 1162"/>
                <a:gd name="T109" fmla="*/ 232 h 1338"/>
                <a:gd name="T110" fmla="*/ 909 w 1162"/>
                <a:gd name="T111" fmla="*/ 159 h 1338"/>
                <a:gd name="T112" fmla="*/ 830 w 1162"/>
                <a:gd name="T113" fmla="*/ 139 h 1338"/>
                <a:gd name="T114" fmla="*/ 781 w 1162"/>
                <a:gd name="T115" fmla="*/ 159 h 1338"/>
                <a:gd name="T116" fmla="*/ 589 w 1162"/>
                <a:gd name="T117" fmla="*/ 156 h 133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162"/>
                <a:gd name="T178" fmla="*/ 0 h 1338"/>
                <a:gd name="T179" fmla="*/ 1162 w 1162"/>
                <a:gd name="T180" fmla="*/ 1338 h 133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162" h="1338">
                  <a:moveTo>
                    <a:pt x="589" y="163"/>
                  </a:moveTo>
                  <a:lnTo>
                    <a:pt x="578" y="161"/>
                  </a:lnTo>
                  <a:lnTo>
                    <a:pt x="569" y="160"/>
                  </a:lnTo>
                  <a:lnTo>
                    <a:pt x="561" y="156"/>
                  </a:lnTo>
                  <a:lnTo>
                    <a:pt x="554" y="152"/>
                  </a:lnTo>
                  <a:lnTo>
                    <a:pt x="542" y="141"/>
                  </a:lnTo>
                  <a:lnTo>
                    <a:pt x="532" y="129"/>
                  </a:lnTo>
                  <a:lnTo>
                    <a:pt x="522" y="117"/>
                  </a:lnTo>
                  <a:lnTo>
                    <a:pt x="513" y="107"/>
                  </a:lnTo>
                  <a:lnTo>
                    <a:pt x="508" y="103"/>
                  </a:lnTo>
                  <a:lnTo>
                    <a:pt x="501" y="99"/>
                  </a:lnTo>
                  <a:lnTo>
                    <a:pt x="494" y="97"/>
                  </a:lnTo>
                  <a:lnTo>
                    <a:pt x="488" y="96"/>
                  </a:lnTo>
                  <a:lnTo>
                    <a:pt x="480" y="96"/>
                  </a:lnTo>
                  <a:lnTo>
                    <a:pt x="477" y="96"/>
                  </a:lnTo>
                  <a:lnTo>
                    <a:pt x="474" y="96"/>
                  </a:lnTo>
                  <a:lnTo>
                    <a:pt x="464" y="96"/>
                  </a:lnTo>
                  <a:lnTo>
                    <a:pt x="460" y="95"/>
                  </a:lnTo>
                  <a:lnTo>
                    <a:pt x="456" y="91"/>
                  </a:lnTo>
                  <a:lnTo>
                    <a:pt x="454" y="87"/>
                  </a:lnTo>
                  <a:lnTo>
                    <a:pt x="453" y="80"/>
                  </a:lnTo>
                  <a:lnTo>
                    <a:pt x="452" y="65"/>
                  </a:lnTo>
                  <a:lnTo>
                    <a:pt x="452" y="55"/>
                  </a:lnTo>
                  <a:lnTo>
                    <a:pt x="450" y="41"/>
                  </a:lnTo>
                  <a:lnTo>
                    <a:pt x="448" y="31"/>
                  </a:lnTo>
                  <a:lnTo>
                    <a:pt x="444" y="23"/>
                  </a:lnTo>
                  <a:lnTo>
                    <a:pt x="440" y="16"/>
                  </a:lnTo>
                  <a:lnTo>
                    <a:pt x="433" y="11"/>
                  </a:lnTo>
                  <a:lnTo>
                    <a:pt x="425" y="7"/>
                  </a:lnTo>
                  <a:lnTo>
                    <a:pt x="417" y="4"/>
                  </a:lnTo>
                  <a:lnTo>
                    <a:pt x="409" y="3"/>
                  </a:lnTo>
                  <a:lnTo>
                    <a:pt x="370" y="3"/>
                  </a:lnTo>
                  <a:lnTo>
                    <a:pt x="330" y="5"/>
                  </a:lnTo>
                  <a:lnTo>
                    <a:pt x="321" y="5"/>
                  </a:lnTo>
                  <a:lnTo>
                    <a:pt x="316" y="5"/>
                  </a:lnTo>
                  <a:lnTo>
                    <a:pt x="310" y="5"/>
                  </a:lnTo>
                  <a:lnTo>
                    <a:pt x="301" y="5"/>
                  </a:lnTo>
                  <a:lnTo>
                    <a:pt x="289" y="4"/>
                  </a:lnTo>
                  <a:lnTo>
                    <a:pt x="275" y="1"/>
                  </a:lnTo>
                  <a:lnTo>
                    <a:pt x="269" y="0"/>
                  </a:lnTo>
                  <a:lnTo>
                    <a:pt x="264" y="1"/>
                  </a:lnTo>
                  <a:lnTo>
                    <a:pt x="261" y="1"/>
                  </a:lnTo>
                  <a:lnTo>
                    <a:pt x="260" y="3"/>
                  </a:lnTo>
                  <a:lnTo>
                    <a:pt x="259" y="4"/>
                  </a:lnTo>
                  <a:lnTo>
                    <a:pt x="259" y="5"/>
                  </a:lnTo>
                  <a:lnTo>
                    <a:pt x="259" y="19"/>
                  </a:lnTo>
                  <a:lnTo>
                    <a:pt x="260" y="29"/>
                  </a:lnTo>
                  <a:lnTo>
                    <a:pt x="263" y="39"/>
                  </a:lnTo>
                  <a:lnTo>
                    <a:pt x="264" y="49"/>
                  </a:lnTo>
                  <a:lnTo>
                    <a:pt x="267" y="59"/>
                  </a:lnTo>
                  <a:lnTo>
                    <a:pt x="269" y="69"/>
                  </a:lnTo>
                  <a:lnTo>
                    <a:pt x="271" y="81"/>
                  </a:lnTo>
                  <a:lnTo>
                    <a:pt x="271" y="96"/>
                  </a:lnTo>
                  <a:lnTo>
                    <a:pt x="269" y="104"/>
                  </a:lnTo>
                  <a:lnTo>
                    <a:pt x="267" y="111"/>
                  </a:lnTo>
                  <a:lnTo>
                    <a:pt x="263" y="116"/>
                  </a:lnTo>
                  <a:lnTo>
                    <a:pt x="257" y="120"/>
                  </a:lnTo>
                  <a:lnTo>
                    <a:pt x="251" y="123"/>
                  </a:lnTo>
                  <a:lnTo>
                    <a:pt x="245" y="125"/>
                  </a:lnTo>
                  <a:lnTo>
                    <a:pt x="240" y="125"/>
                  </a:lnTo>
                  <a:lnTo>
                    <a:pt x="235" y="127"/>
                  </a:lnTo>
                  <a:lnTo>
                    <a:pt x="247" y="127"/>
                  </a:lnTo>
                  <a:lnTo>
                    <a:pt x="248" y="133"/>
                  </a:lnTo>
                  <a:lnTo>
                    <a:pt x="249" y="141"/>
                  </a:lnTo>
                  <a:lnTo>
                    <a:pt x="251" y="148"/>
                  </a:lnTo>
                  <a:lnTo>
                    <a:pt x="253" y="153"/>
                  </a:lnTo>
                  <a:lnTo>
                    <a:pt x="260" y="164"/>
                  </a:lnTo>
                  <a:lnTo>
                    <a:pt x="268" y="173"/>
                  </a:lnTo>
                  <a:lnTo>
                    <a:pt x="277" y="181"/>
                  </a:lnTo>
                  <a:lnTo>
                    <a:pt x="288" y="188"/>
                  </a:lnTo>
                  <a:lnTo>
                    <a:pt x="298" y="195"/>
                  </a:lnTo>
                  <a:lnTo>
                    <a:pt x="309" y="201"/>
                  </a:lnTo>
                  <a:lnTo>
                    <a:pt x="320" y="207"/>
                  </a:lnTo>
                  <a:lnTo>
                    <a:pt x="330" y="213"/>
                  </a:lnTo>
                  <a:lnTo>
                    <a:pt x="340" y="220"/>
                  </a:lnTo>
                  <a:lnTo>
                    <a:pt x="349" y="227"/>
                  </a:lnTo>
                  <a:lnTo>
                    <a:pt x="356" y="236"/>
                  </a:lnTo>
                  <a:lnTo>
                    <a:pt x="362" y="245"/>
                  </a:lnTo>
                  <a:lnTo>
                    <a:pt x="364" y="251"/>
                  </a:lnTo>
                  <a:lnTo>
                    <a:pt x="365" y="257"/>
                  </a:lnTo>
                  <a:lnTo>
                    <a:pt x="366" y="264"/>
                  </a:lnTo>
                  <a:lnTo>
                    <a:pt x="366" y="271"/>
                  </a:lnTo>
                  <a:lnTo>
                    <a:pt x="366" y="279"/>
                  </a:lnTo>
                  <a:lnTo>
                    <a:pt x="365" y="285"/>
                  </a:lnTo>
                  <a:lnTo>
                    <a:pt x="364" y="292"/>
                  </a:lnTo>
                  <a:lnTo>
                    <a:pt x="361" y="299"/>
                  </a:lnTo>
                  <a:lnTo>
                    <a:pt x="356" y="309"/>
                  </a:lnTo>
                  <a:lnTo>
                    <a:pt x="346" y="320"/>
                  </a:lnTo>
                  <a:lnTo>
                    <a:pt x="337" y="329"/>
                  </a:lnTo>
                  <a:lnTo>
                    <a:pt x="326" y="337"/>
                  </a:lnTo>
                  <a:lnTo>
                    <a:pt x="316" y="345"/>
                  </a:lnTo>
                  <a:lnTo>
                    <a:pt x="304" y="352"/>
                  </a:lnTo>
                  <a:lnTo>
                    <a:pt x="292" y="360"/>
                  </a:lnTo>
                  <a:lnTo>
                    <a:pt x="280" y="366"/>
                  </a:lnTo>
                  <a:lnTo>
                    <a:pt x="269" y="376"/>
                  </a:lnTo>
                  <a:lnTo>
                    <a:pt x="260" y="384"/>
                  </a:lnTo>
                  <a:lnTo>
                    <a:pt x="252" y="394"/>
                  </a:lnTo>
                  <a:lnTo>
                    <a:pt x="245" y="405"/>
                  </a:lnTo>
                  <a:lnTo>
                    <a:pt x="244" y="412"/>
                  </a:lnTo>
                  <a:lnTo>
                    <a:pt x="241" y="418"/>
                  </a:lnTo>
                  <a:lnTo>
                    <a:pt x="241" y="425"/>
                  </a:lnTo>
                  <a:lnTo>
                    <a:pt x="240" y="433"/>
                  </a:lnTo>
                  <a:lnTo>
                    <a:pt x="240" y="464"/>
                  </a:lnTo>
                  <a:lnTo>
                    <a:pt x="240" y="492"/>
                  </a:lnTo>
                  <a:lnTo>
                    <a:pt x="240" y="521"/>
                  </a:lnTo>
                  <a:lnTo>
                    <a:pt x="240" y="554"/>
                  </a:lnTo>
                  <a:lnTo>
                    <a:pt x="223" y="566"/>
                  </a:lnTo>
                  <a:lnTo>
                    <a:pt x="216" y="569"/>
                  </a:lnTo>
                  <a:lnTo>
                    <a:pt x="208" y="573"/>
                  </a:lnTo>
                  <a:lnTo>
                    <a:pt x="203" y="578"/>
                  </a:lnTo>
                  <a:lnTo>
                    <a:pt x="196" y="584"/>
                  </a:lnTo>
                  <a:lnTo>
                    <a:pt x="185" y="598"/>
                  </a:lnTo>
                  <a:lnTo>
                    <a:pt x="176" y="614"/>
                  </a:lnTo>
                  <a:lnTo>
                    <a:pt x="168" y="633"/>
                  </a:lnTo>
                  <a:lnTo>
                    <a:pt x="160" y="653"/>
                  </a:lnTo>
                  <a:lnTo>
                    <a:pt x="155" y="676"/>
                  </a:lnTo>
                  <a:lnTo>
                    <a:pt x="149" y="698"/>
                  </a:lnTo>
                  <a:lnTo>
                    <a:pt x="140" y="745"/>
                  </a:lnTo>
                  <a:lnTo>
                    <a:pt x="133" y="792"/>
                  </a:lnTo>
                  <a:lnTo>
                    <a:pt x="127" y="833"/>
                  </a:lnTo>
                  <a:lnTo>
                    <a:pt x="120" y="866"/>
                  </a:lnTo>
                  <a:lnTo>
                    <a:pt x="115" y="894"/>
                  </a:lnTo>
                  <a:lnTo>
                    <a:pt x="107" y="926"/>
                  </a:lnTo>
                  <a:lnTo>
                    <a:pt x="103" y="941"/>
                  </a:lnTo>
                  <a:lnTo>
                    <a:pt x="99" y="955"/>
                  </a:lnTo>
                  <a:lnTo>
                    <a:pt x="95" y="966"/>
                  </a:lnTo>
                  <a:lnTo>
                    <a:pt x="89" y="975"/>
                  </a:lnTo>
                  <a:lnTo>
                    <a:pt x="63" y="987"/>
                  </a:lnTo>
                  <a:lnTo>
                    <a:pt x="33" y="999"/>
                  </a:lnTo>
                  <a:lnTo>
                    <a:pt x="27" y="1003"/>
                  </a:lnTo>
                  <a:lnTo>
                    <a:pt x="20" y="1006"/>
                  </a:lnTo>
                  <a:lnTo>
                    <a:pt x="15" y="1011"/>
                  </a:lnTo>
                  <a:lnTo>
                    <a:pt x="9" y="1015"/>
                  </a:lnTo>
                  <a:lnTo>
                    <a:pt x="5" y="1021"/>
                  </a:lnTo>
                  <a:lnTo>
                    <a:pt x="3" y="1027"/>
                  </a:lnTo>
                  <a:lnTo>
                    <a:pt x="0" y="1034"/>
                  </a:lnTo>
                  <a:lnTo>
                    <a:pt x="0" y="1041"/>
                  </a:lnTo>
                  <a:lnTo>
                    <a:pt x="0" y="1050"/>
                  </a:lnTo>
                  <a:lnTo>
                    <a:pt x="1" y="1058"/>
                  </a:lnTo>
                  <a:lnTo>
                    <a:pt x="3" y="1065"/>
                  </a:lnTo>
                  <a:lnTo>
                    <a:pt x="5" y="1070"/>
                  </a:lnTo>
                  <a:lnTo>
                    <a:pt x="9" y="1075"/>
                  </a:lnTo>
                  <a:lnTo>
                    <a:pt x="12" y="1079"/>
                  </a:lnTo>
                  <a:lnTo>
                    <a:pt x="17" y="1083"/>
                  </a:lnTo>
                  <a:lnTo>
                    <a:pt x="21" y="1086"/>
                  </a:lnTo>
                  <a:lnTo>
                    <a:pt x="32" y="1091"/>
                  </a:lnTo>
                  <a:lnTo>
                    <a:pt x="43" y="1094"/>
                  </a:lnTo>
                  <a:lnTo>
                    <a:pt x="55" y="1095"/>
                  </a:lnTo>
                  <a:lnTo>
                    <a:pt x="65" y="1095"/>
                  </a:lnTo>
                  <a:lnTo>
                    <a:pt x="69" y="1113"/>
                  </a:lnTo>
                  <a:lnTo>
                    <a:pt x="73" y="1130"/>
                  </a:lnTo>
                  <a:lnTo>
                    <a:pt x="79" y="1146"/>
                  </a:lnTo>
                  <a:lnTo>
                    <a:pt x="85" y="1159"/>
                  </a:lnTo>
                  <a:lnTo>
                    <a:pt x="89" y="1166"/>
                  </a:lnTo>
                  <a:lnTo>
                    <a:pt x="95" y="1171"/>
                  </a:lnTo>
                  <a:lnTo>
                    <a:pt x="99" y="1177"/>
                  </a:lnTo>
                  <a:lnTo>
                    <a:pt x="105" y="1181"/>
                  </a:lnTo>
                  <a:lnTo>
                    <a:pt x="111" y="1185"/>
                  </a:lnTo>
                  <a:lnTo>
                    <a:pt x="117" y="1189"/>
                  </a:lnTo>
                  <a:lnTo>
                    <a:pt x="124" y="1190"/>
                  </a:lnTo>
                  <a:lnTo>
                    <a:pt x="132" y="1191"/>
                  </a:lnTo>
                  <a:lnTo>
                    <a:pt x="153" y="1195"/>
                  </a:lnTo>
                  <a:lnTo>
                    <a:pt x="175" y="1197"/>
                  </a:lnTo>
                  <a:lnTo>
                    <a:pt x="185" y="1198"/>
                  </a:lnTo>
                  <a:lnTo>
                    <a:pt x="193" y="1201"/>
                  </a:lnTo>
                  <a:lnTo>
                    <a:pt x="197" y="1202"/>
                  </a:lnTo>
                  <a:lnTo>
                    <a:pt x="200" y="1205"/>
                  </a:lnTo>
                  <a:lnTo>
                    <a:pt x="203" y="1207"/>
                  </a:lnTo>
                  <a:lnTo>
                    <a:pt x="204" y="1210"/>
                  </a:lnTo>
                  <a:lnTo>
                    <a:pt x="211" y="1225"/>
                  </a:lnTo>
                  <a:lnTo>
                    <a:pt x="215" y="1233"/>
                  </a:lnTo>
                  <a:lnTo>
                    <a:pt x="219" y="1237"/>
                  </a:lnTo>
                  <a:lnTo>
                    <a:pt x="223" y="1238"/>
                  </a:lnTo>
                  <a:lnTo>
                    <a:pt x="229" y="1238"/>
                  </a:lnTo>
                  <a:lnTo>
                    <a:pt x="237" y="1239"/>
                  </a:lnTo>
                  <a:lnTo>
                    <a:pt x="249" y="1243"/>
                  </a:lnTo>
                  <a:lnTo>
                    <a:pt x="264" y="1253"/>
                  </a:lnTo>
                  <a:lnTo>
                    <a:pt x="269" y="1257"/>
                  </a:lnTo>
                  <a:lnTo>
                    <a:pt x="272" y="1261"/>
                  </a:lnTo>
                  <a:lnTo>
                    <a:pt x="275" y="1266"/>
                  </a:lnTo>
                  <a:lnTo>
                    <a:pt x="275" y="1273"/>
                  </a:lnTo>
                  <a:lnTo>
                    <a:pt x="273" y="1285"/>
                  </a:lnTo>
                  <a:lnTo>
                    <a:pt x="272" y="1298"/>
                  </a:lnTo>
                  <a:lnTo>
                    <a:pt x="272" y="1305"/>
                  </a:lnTo>
                  <a:lnTo>
                    <a:pt x="272" y="1310"/>
                  </a:lnTo>
                  <a:lnTo>
                    <a:pt x="273" y="1315"/>
                  </a:lnTo>
                  <a:lnTo>
                    <a:pt x="276" y="1321"/>
                  </a:lnTo>
                  <a:lnTo>
                    <a:pt x="281" y="1325"/>
                  </a:lnTo>
                  <a:lnTo>
                    <a:pt x="287" y="1327"/>
                  </a:lnTo>
                  <a:lnTo>
                    <a:pt x="296" y="1330"/>
                  </a:lnTo>
                  <a:lnTo>
                    <a:pt x="306" y="1330"/>
                  </a:lnTo>
                  <a:lnTo>
                    <a:pt x="322" y="1333"/>
                  </a:lnTo>
                  <a:lnTo>
                    <a:pt x="336" y="1337"/>
                  </a:lnTo>
                  <a:lnTo>
                    <a:pt x="341" y="1338"/>
                  </a:lnTo>
                  <a:lnTo>
                    <a:pt x="345" y="1338"/>
                  </a:lnTo>
                  <a:lnTo>
                    <a:pt x="350" y="1335"/>
                  </a:lnTo>
                  <a:lnTo>
                    <a:pt x="354" y="1330"/>
                  </a:lnTo>
                  <a:lnTo>
                    <a:pt x="356" y="1322"/>
                  </a:lnTo>
                  <a:lnTo>
                    <a:pt x="357" y="1313"/>
                  </a:lnTo>
                  <a:lnTo>
                    <a:pt x="358" y="1303"/>
                  </a:lnTo>
                  <a:lnTo>
                    <a:pt x="362" y="1293"/>
                  </a:lnTo>
                  <a:lnTo>
                    <a:pt x="370" y="1271"/>
                  </a:lnTo>
                  <a:lnTo>
                    <a:pt x="381" y="1250"/>
                  </a:lnTo>
                  <a:lnTo>
                    <a:pt x="388" y="1239"/>
                  </a:lnTo>
                  <a:lnTo>
                    <a:pt x="394" y="1230"/>
                  </a:lnTo>
                  <a:lnTo>
                    <a:pt x="401" y="1221"/>
                  </a:lnTo>
                  <a:lnTo>
                    <a:pt x="408" y="1213"/>
                  </a:lnTo>
                  <a:lnTo>
                    <a:pt x="416" y="1206"/>
                  </a:lnTo>
                  <a:lnTo>
                    <a:pt x="424" y="1199"/>
                  </a:lnTo>
                  <a:lnTo>
                    <a:pt x="432" y="1195"/>
                  </a:lnTo>
                  <a:lnTo>
                    <a:pt x="440" y="1191"/>
                  </a:lnTo>
                  <a:lnTo>
                    <a:pt x="448" y="1190"/>
                  </a:lnTo>
                  <a:lnTo>
                    <a:pt x="457" y="1191"/>
                  </a:lnTo>
                  <a:lnTo>
                    <a:pt x="466" y="1193"/>
                  </a:lnTo>
                  <a:lnTo>
                    <a:pt x="474" y="1194"/>
                  </a:lnTo>
                  <a:lnTo>
                    <a:pt x="482" y="1194"/>
                  </a:lnTo>
                  <a:lnTo>
                    <a:pt x="490" y="1194"/>
                  </a:lnTo>
                  <a:lnTo>
                    <a:pt x="498" y="1191"/>
                  </a:lnTo>
                  <a:lnTo>
                    <a:pt x="505" y="1186"/>
                  </a:lnTo>
                  <a:lnTo>
                    <a:pt x="522" y="1158"/>
                  </a:lnTo>
                  <a:lnTo>
                    <a:pt x="540" y="1126"/>
                  </a:lnTo>
                  <a:lnTo>
                    <a:pt x="544" y="1119"/>
                  </a:lnTo>
                  <a:lnTo>
                    <a:pt x="549" y="1113"/>
                  </a:lnTo>
                  <a:lnTo>
                    <a:pt x="556" y="1106"/>
                  </a:lnTo>
                  <a:lnTo>
                    <a:pt x="562" y="1101"/>
                  </a:lnTo>
                  <a:lnTo>
                    <a:pt x="569" y="1095"/>
                  </a:lnTo>
                  <a:lnTo>
                    <a:pt x="577" y="1093"/>
                  </a:lnTo>
                  <a:lnTo>
                    <a:pt x="586" y="1090"/>
                  </a:lnTo>
                  <a:lnTo>
                    <a:pt x="596" y="1090"/>
                  </a:lnTo>
                  <a:lnTo>
                    <a:pt x="613" y="1091"/>
                  </a:lnTo>
                  <a:lnTo>
                    <a:pt x="628" y="1095"/>
                  </a:lnTo>
                  <a:lnTo>
                    <a:pt x="640" y="1099"/>
                  </a:lnTo>
                  <a:lnTo>
                    <a:pt x="650" y="1102"/>
                  </a:lnTo>
                  <a:lnTo>
                    <a:pt x="658" y="1101"/>
                  </a:lnTo>
                  <a:lnTo>
                    <a:pt x="666" y="1098"/>
                  </a:lnTo>
                  <a:lnTo>
                    <a:pt x="672" y="1093"/>
                  </a:lnTo>
                  <a:lnTo>
                    <a:pt x="674" y="1086"/>
                  </a:lnTo>
                  <a:lnTo>
                    <a:pt x="680" y="1071"/>
                  </a:lnTo>
                  <a:lnTo>
                    <a:pt x="682" y="1054"/>
                  </a:lnTo>
                  <a:lnTo>
                    <a:pt x="684" y="1045"/>
                  </a:lnTo>
                  <a:lnTo>
                    <a:pt x="686" y="1035"/>
                  </a:lnTo>
                  <a:lnTo>
                    <a:pt x="689" y="1027"/>
                  </a:lnTo>
                  <a:lnTo>
                    <a:pt x="693" y="1021"/>
                  </a:lnTo>
                  <a:lnTo>
                    <a:pt x="698" y="1014"/>
                  </a:lnTo>
                  <a:lnTo>
                    <a:pt x="706" y="1009"/>
                  </a:lnTo>
                  <a:lnTo>
                    <a:pt x="716" y="1006"/>
                  </a:lnTo>
                  <a:lnTo>
                    <a:pt x="728" y="1005"/>
                  </a:lnTo>
                  <a:lnTo>
                    <a:pt x="746" y="1003"/>
                  </a:lnTo>
                  <a:lnTo>
                    <a:pt x="766" y="999"/>
                  </a:lnTo>
                  <a:lnTo>
                    <a:pt x="776" y="997"/>
                  </a:lnTo>
                  <a:lnTo>
                    <a:pt x="785" y="993"/>
                  </a:lnTo>
                  <a:lnTo>
                    <a:pt x="794" y="989"/>
                  </a:lnTo>
                  <a:lnTo>
                    <a:pt x="804" y="983"/>
                  </a:lnTo>
                  <a:lnTo>
                    <a:pt x="812" y="978"/>
                  </a:lnTo>
                  <a:lnTo>
                    <a:pt x="820" y="971"/>
                  </a:lnTo>
                  <a:lnTo>
                    <a:pt x="826" y="965"/>
                  </a:lnTo>
                  <a:lnTo>
                    <a:pt x="832" y="957"/>
                  </a:lnTo>
                  <a:lnTo>
                    <a:pt x="836" y="949"/>
                  </a:lnTo>
                  <a:lnTo>
                    <a:pt x="840" y="941"/>
                  </a:lnTo>
                  <a:lnTo>
                    <a:pt x="842" y="932"/>
                  </a:lnTo>
                  <a:lnTo>
                    <a:pt x="842" y="921"/>
                  </a:lnTo>
                  <a:lnTo>
                    <a:pt x="841" y="913"/>
                  </a:lnTo>
                  <a:lnTo>
                    <a:pt x="838" y="905"/>
                  </a:lnTo>
                  <a:lnTo>
                    <a:pt x="834" y="898"/>
                  </a:lnTo>
                  <a:lnTo>
                    <a:pt x="830" y="892"/>
                  </a:lnTo>
                  <a:lnTo>
                    <a:pt x="826" y="886"/>
                  </a:lnTo>
                  <a:lnTo>
                    <a:pt x="822" y="880"/>
                  </a:lnTo>
                  <a:lnTo>
                    <a:pt x="820" y="873"/>
                  </a:lnTo>
                  <a:lnTo>
                    <a:pt x="818" y="866"/>
                  </a:lnTo>
                  <a:lnTo>
                    <a:pt x="818" y="861"/>
                  </a:lnTo>
                  <a:lnTo>
                    <a:pt x="820" y="857"/>
                  </a:lnTo>
                  <a:lnTo>
                    <a:pt x="822" y="852"/>
                  </a:lnTo>
                  <a:lnTo>
                    <a:pt x="824" y="848"/>
                  </a:lnTo>
                  <a:lnTo>
                    <a:pt x="830" y="838"/>
                  </a:lnTo>
                  <a:lnTo>
                    <a:pt x="837" y="830"/>
                  </a:lnTo>
                  <a:lnTo>
                    <a:pt x="844" y="822"/>
                  </a:lnTo>
                  <a:lnTo>
                    <a:pt x="849" y="814"/>
                  </a:lnTo>
                  <a:lnTo>
                    <a:pt x="852" y="810"/>
                  </a:lnTo>
                  <a:lnTo>
                    <a:pt x="853" y="805"/>
                  </a:lnTo>
                  <a:lnTo>
                    <a:pt x="854" y="800"/>
                  </a:lnTo>
                  <a:lnTo>
                    <a:pt x="854" y="794"/>
                  </a:lnTo>
                  <a:lnTo>
                    <a:pt x="854" y="788"/>
                  </a:lnTo>
                  <a:lnTo>
                    <a:pt x="853" y="781"/>
                  </a:lnTo>
                  <a:lnTo>
                    <a:pt x="852" y="774"/>
                  </a:lnTo>
                  <a:lnTo>
                    <a:pt x="849" y="769"/>
                  </a:lnTo>
                  <a:lnTo>
                    <a:pt x="844" y="758"/>
                  </a:lnTo>
                  <a:lnTo>
                    <a:pt x="837" y="748"/>
                  </a:lnTo>
                  <a:lnTo>
                    <a:pt x="830" y="736"/>
                  </a:lnTo>
                  <a:lnTo>
                    <a:pt x="824" y="722"/>
                  </a:lnTo>
                  <a:lnTo>
                    <a:pt x="822" y="714"/>
                  </a:lnTo>
                  <a:lnTo>
                    <a:pt x="820" y="706"/>
                  </a:lnTo>
                  <a:lnTo>
                    <a:pt x="818" y="697"/>
                  </a:lnTo>
                  <a:lnTo>
                    <a:pt x="818" y="686"/>
                  </a:lnTo>
                  <a:lnTo>
                    <a:pt x="820" y="676"/>
                  </a:lnTo>
                  <a:lnTo>
                    <a:pt x="822" y="666"/>
                  </a:lnTo>
                  <a:lnTo>
                    <a:pt x="828" y="658"/>
                  </a:lnTo>
                  <a:lnTo>
                    <a:pt x="833" y="652"/>
                  </a:lnTo>
                  <a:lnTo>
                    <a:pt x="841" y="646"/>
                  </a:lnTo>
                  <a:lnTo>
                    <a:pt x="849" y="641"/>
                  </a:lnTo>
                  <a:lnTo>
                    <a:pt x="858" y="637"/>
                  </a:lnTo>
                  <a:lnTo>
                    <a:pt x="868" y="633"/>
                  </a:lnTo>
                  <a:lnTo>
                    <a:pt x="889" y="628"/>
                  </a:lnTo>
                  <a:lnTo>
                    <a:pt x="910" y="622"/>
                  </a:lnTo>
                  <a:lnTo>
                    <a:pt x="920" y="618"/>
                  </a:lnTo>
                  <a:lnTo>
                    <a:pt x="929" y="616"/>
                  </a:lnTo>
                  <a:lnTo>
                    <a:pt x="937" y="612"/>
                  </a:lnTo>
                  <a:lnTo>
                    <a:pt x="945" y="608"/>
                  </a:lnTo>
                  <a:lnTo>
                    <a:pt x="962" y="594"/>
                  </a:lnTo>
                  <a:lnTo>
                    <a:pt x="976" y="578"/>
                  </a:lnTo>
                  <a:lnTo>
                    <a:pt x="989" y="562"/>
                  </a:lnTo>
                  <a:lnTo>
                    <a:pt x="1000" y="545"/>
                  </a:lnTo>
                  <a:lnTo>
                    <a:pt x="1021" y="506"/>
                  </a:lnTo>
                  <a:lnTo>
                    <a:pt x="1041" y="464"/>
                  </a:lnTo>
                  <a:lnTo>
                    <a:pt x="1057" y="438"/>
                  </a:lnTo>
                  <a:lnTo>
                    <a:pt x="1071" y="412"/>
                  </a:lnTo>
                  <a:lnTo>
                    <a:pt x="1086" y="384"/>
                  </a:lnTo>
                  <a:lnTo>
                    <a:pt x="1101" y="357"/>
                  </a:lnTo>
                  <a:lnTo>
                    <a:pt x="1114" y="328"/>
                  </a:lnTo>
                  <a:lnTo>
                    <a:pt x="1129" y="299"/>
                  </a:lnTo>
                  <a:lnTo>
                    <a:pt x="1142" y="271"/>
                  </a:lnTo>
                  <a:lnTo>
                    <a:pt x="1155" y="241"/>
                  </a:lnTo>
                  <a:lnTo>
                    <a:pt x="1162" y="229"/>
                  </a:lnTo>
                  <a:lnTo>
                    <a:pt x="1146" y="232"/>
                  </a:lnTo>
                  <a:lnTo>
                    <a:pt x="1131" y="235"/>
                  </a:lnTo>
                  <a:lnTo>
                    <a:pt x="1117" y="236"/>
                  </a:lnTo>
                  <a:lnTo>
                    <a:pt x="1103" y="237"/>
                  </a:lnTo>
                  <a:lnTo>
                    <a:pt x="1091" y="237"/>
                  </a:lnTo>
                  <a:lnTo>
                    <a:pt x="1079" y="236"/>
                  </a:lnTo>
                  <a:lnTo>
                    <a:pt x="1067" y="235"/>
                  </a:lnTo>
                  <a:lnTo>
                    <a:pt x="1055" y="232"/>
                  </a:lnTo>
                  <a:lnTo>
                    <a:pt x="1034" y="227"/>
                  </a:lnTo>
                  <a:lnTo>
                    <a:pt x="1014" y="219"/>
                  </a:lnTo>
                  <a:lnTo>
                    <a:pt x="996" y="209"/>
                  </a:lnTo>
                  <a:lnTo>
                    <a:pt x="978" y="200"/>
                  </a:lnTo>
                  <a:lnTo>
                    <a:pt x="944" y="179"/>
                  </a:lnTo>
                  <a:lnTo>
                    <a:pt x="909" y="159"/>
                  </a:lnTo>
                  <a:lnTo>
                    <a:pt x="892" y="151"/>
                  </a:lnTo>
                  <a:lnTo>
                    <a:pt x="873" y="144"/>
                  </a:lnTo>
                  <a:lnTo>
                    <a:pt x="862" y="141"/>
                  </a:lnTo>
                  <a:lnTo>
                    <a:pt x="852" y="140"/>
                  </a:lnTo>
                  <a:lnTo>
                    <a:pt x="841" y="139"/>
                  </a:lnTo>
                  <a:lnTo>
                    <a:pt x="830" y="139"/>
                  </a:lnTo>
                  <a:lnTo>
                    <a:pt x="820" y="140"/>
                  </a:lnTo>
                  <a:lnTo>
                    <a:pt x="812" y="143"/>
                  </a:lnTo>
                  <a:lnTo>
                    <a:pt x="804" y="145"/>
                  </a:lnTo>
                  <a:lnTo>
                    <a:pt x="797" y="151"/>
                  </a:lnTo>
                  <a:lnTo>
                    <a:pt x="789" y="155"/>
                  </a:lnTo>
                  <a:lnTo>
                    <a:pt x="781" y="159"/>
                  </a:lnTo>
                  <a:lnTo>
                    <a:pt x="770" y="161"/>
                  </a:lnTo>
                  <a:lnTo>
                    <a:pt x="758" y="163"/>
                  </a:lnTo>
                  <a:lnTo>
                    <a:pt x="713" y="161"/>
                  </a:lnTo>
                  <a:lnTo>
                    <a:pt x="672" y="160"/>
                  </a:lnTo>
                  <a:lnTo>
                    <a:pt x="632" y="157"/>
                  </a:lnTo>
                  <a:lnTo>
                    <a:pt x="589" y="156"/>
                  </a:lnTo>
                  <a:lnTo>
                    <a:pt x="589" y="163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accent1">
                  <a:lumMod val="20000"/>
                  <a:lumOff val="8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95" b="0" i="0" u="none" strike="noStrike" kern="1200" cap="none" spc="0" normalizeH="0" baseline="0" noProof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1" name="Freeform 106"/>
            <p:cNvSpPr>
              <a:spLocks/>
            </p:cNvSpPr>
            <p:nvPr/>
          </p:nvSpPr>
          <p:spPr bwMode="auto">
            <a:xfrm>
              <a:off x="4909377" y="2415783"/>
              <a:ext cx="70037" cy="59897"/>
            </a:xfrm>
            <a:custGeom>
              <a:avLst/>
              <a:gdLst>
                <a:gd name="T0" fmla="*/ 555 w 975"/>
                <a:gd name="T1" fmla="*/ 13 h 830"/>
                <a:gd name="T2" fmla="*/ 506 w 975"/>
                <a:gd name="T3" fmla="*/ 24 h 830"/>
                <a:gd name="T4" fmla="*/ 471 w 975"/>
                <a:gd name="T5" fmla="*/ 7 h 830"/>
                <a:gd name="T6" fmla="*/ 435 w 975"/>
                <a:gd name="T7" fmla="*/ 1 h 830"/>
                <a:gd name="T8" fmla="*/ 398 w 975"/>
                <a:gd name="T9" fmla="*/ 24 h 830"/>
                <a:gd name="T10" fmla="*/ 367 w 975"/>
                <a:gd name="T11" fmla="*/ 36 h 830"/>
                <a:gd name="T12" fmla="*/ 276 w 975"/>
                <a:gd name="T13" fmla="*/ 43 h 830"/>
                <a:gd name="T14" fmla="*/ 191 w 975"/>
                <a:gd name="T15" fmla="*/ 93 h 830"/>
                <a:gd name="T16" fmla="*/ 175 w 975"/>
                <a:gd name="T17" fmla="*/ 144 h 830"/>
                <a:gd name="T18" fmla="*/ 171 w 975"/>
                <a:gd name="T19" fmla="*/ 179 h 830"/>
                <a:gd name="T20" fmla="*/ 132 w 975"/>
                <a:gd name="T21" fmla="*/ 202 h 830"/>
                <a:gd name="T22" fmla="*/ 88 w 975"/>
                <a:gd name="T23" fmla="*/ 188 h 830"/>
                <a:gd name="T24" fmla="*/ 22 w 975"/>
                <a:gd name="T25" fmla="*/ 191 h 830"/>
                <a:gd name="T26" fmla="*/ 22 w 975"/>
                <a:gd name="T27" fmla="*/ 232 h 830"/>
                <a:gd name="T28" fmla="*/ 79 w 975"/>
                <a:gd name="T29" fmla="*/ 249 h 830"/>
                <a:gd name="T30" fmla="*/ 138 w 975"/>
                <a:gd name="T31" fmla="*/ 252 h 830"/>
                <a:gd name="T32" fmla="*/ 155 w 975"/>
                <a:gd name="T33" fmla="*/ 284 h 830"/>
                <a:gd name="T34" fmla="*/ 172 w 975"/>
                <a:gd name="T35" fmla="*/ 318 h 830"/>
                <a:gd name="T36" fmla="*/ 218 w 975"/>
                <a:gd name="T37" fmla="*/ 329 h 830"/>
                <a:gd name="T38" fmla="*/ 282 w 975"/>
                <a:gd name="T39" fmla="*/ 326 h 830"/>
                <a:gd name="T40" fmla="*/ 294 w 975"/>
                <a:gd name="T41" fmla="*/ 340 h 830"/>
                <a:gd name="T42" fmla="*/ 302 w 975"/>
                <a:gd name="T43" fmla="*/ 409 h 830"/>
                <a:gd name="T44" fmla="*/ 332 w 975"/>
                <a:gd name="T45" fmla="*/ 473 h 830"/>
                <a:gd name="T46" fmla="*/ 378 w 975"/>
                <a:gd name="T47" fmla="*/ 525 h 830"/>
                <a:gd name="T48" fmla="*/ 432 w 975"/>
                <a:gd name="T49" fmla="*/ 542 h 830"/>
                <a:gd name="T50" fmla="*/ 471 w 975"/>
                <a:gd name="T51" fmla="*/ 532 h 830"/>
                <a:gd name="T52" fmla="*/ 491 w 975"/>
                <a:gd name="T53" fmla="*/ 508 h 830"/>
                <a:gd name="T54" fmla="*/ 567 w 975"/>
                <a:gd name="T55" fmla="*/ 638 h 830"/>
                <a:gd name="T56" fmla="*/ 617 w 975"/>
                <a:gd name="T57" fmla="*/ 684 h 830"/>
                <a:gd name="T58" fmla="*/ 663 w 975"/>
                <a:gd name="T59" fmla="*/ 710 h 830"/>
                <a:gd name="T60" fmla="*/ 640 w 975"/>
                <a:gd name="T61" fmla="*/ 742 h 830"/>
                <a:gd name="T62" fmla="*/ 637 w 975"/>
                <a:gd name="T63" fmla="*/ 785 h 830"/>
                <a:gd name="T64" fmla="*/ 677 w 975"/>
                <a:gd name="T65" fmla="*/ 825 h 830"/>
                <a:gd name="T66" fmla="*/ 691 w 975"/>
                <a:gd name="T67" fmla="*/ 778 h 830"/>
                <a:gd name="T68" fmla="*/ 715 w 975"/>
                <a:gd name="T69" fmla="*/ 742 h 830"/>
                <a:gd name="T70" fmla="*/ 777 w 975"/>
                <a:gd name="T71" fmla="*/ 692 h 830"/>
                <a:gd name="T72" fmla="*/ 805 w 975"/>
                <a:gd name="T73" fmla="*/ 644 h 830"/>
                <a:gd name="T74" fmla="*/ 795 w 975"/>
                <a:gd name="T75" fmla="*/ 596 h 830"/>
                <a:gd name="T76" fmla="*/ 807 w 975"/>
                <a:gd name="T77" fmla="*/ 565 h 830"/>
                <a:gd name="T78" fmla="*/ 928 w 975"/>
                <a:gd name="T79" fmla="*/ 545 h 830"/>
                <a:gd name="T80" fmla="*/ 972 w 975"/>
                <a:gd name="T81" fmla="*/ 518 h 830"/>
                <a:gd name="T82" fmla="*/ 973 w 975"/>
                <a:gd name="T83" fmla="*/ 493 h 830"/>
                <a:gd name="T84" fmla="*/ 948 w 975"/>
                <a:gd name="T85" fmla="*/ 456 h 830"/>
                <a:gd name="T86" fmla="*/ 939 w 975"/>
                <a:gd name="T87" fmla="*/ 414 h 830"/>
                <a:gd name="T88" fmla="*/ 905 w 975"/>
                <a:gd name="T89" fmla="*/ 418 h 830"/>
                <a:gd name="T90" fmla="*/ 925 w 975"/>
                <a:gd name="T91" fmla="*/ 381 h 830"/>
                <a:gd name="T92" fmla="*/ 949 w 975"/>
                <a:gd name="T93" fmla="*/ 353 h 830"/>
                <a:gd name="T94" fmla="*/ 899 w 975"/>
                <a:gd name="T95" fmla="*/ 326 h 830"/>
                <a:gd name="T96" fmla="*/ 927 w 975"/>
                <a:gd name="T97" fmla="*/ 252 h 830"/>
                <a:gd name="T98" fmla="*/ 859 w 975"/>
                <a:gd name="T99" fmla="*/ 268 h 830"/>
                <a:gd name="T100" fmla="*/ 863 w 975"/>
                <a:gd name="T101" fmla="*/ 301 h 830"/>
                <a:gd name="T102" fmla="*/ 843 w 975"/>
                <a:gd name="T103" fmla="*/ 320 h 830"/>
                <a:gd name="T104" fmla="*/ 759 w 975"/>
                <a:gd name="T105" fmla="*/ 312 h 830"/>
                <a:gd name="T106" fmla="*/ 709 w 975"/>
                <a:gd name="T107" fmla="*/ 294 h 830"/>
                <a:gd name="T108" fmla="*/ 693 w 975"/>
                <a:gd name="T109" fmla="*/ 266 h 830"/>
                <a:gd name="T110" fmla="*/ 688 w 975"/>
                <a:gd name="T111" fmla="*/ 230 h 830"/>
                <a:gd name="T112" fmla="*/ 645 w 975"/>
                <a:gd name="T113" fmla="*/ 168 h 830"/>
                <a:gd name="T114" fmla="*/ 604 w 975"/>
                <a:gd name="T115" fmla="*/ 65 h 83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975"/>
                <a:gd name="T175" fmla="*/ 0 h 830"/>
                <a:gd name="T176" fmla="*/ 975 w 975"/>
                <a:gd name="T177" fmla="*/ 830 h 83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975" h="830">
                  <a:moveTo>
                    <a:pt x="601" y="36"/>
                  </a:moveTo>
                  <a:lnTo>
                    <a:pt x="578" y="36"/>
                  </a:lnTo>
                  <a:lnTo>
                    <a:pt x="568" y="28"/>
                  </a:lnTo>
                  <a:lnTo>
                    <a:pt x="560" y="19"/>
                  </a:lnTo>
                  <a:lnTo>
                    <a:pt x="555" y="13"/>
                  </a:lnTo>
                  <a:lnTo>
                    <a:pt x="551" y="9"/>
                  </a:lnTo>
                  <a:lnTo>
                    <a:pt x="547" y="7"/>
                  </a:lnTo>
                  <a:lnTo>
                    <a:pt x="542" y="5"/>
                  </a:lnTo>
                  <a:lnTo>
                    <a:pt x="524" y="15"/>
                  </a:lnTo>
                  <a:lnTo>
                    <a:pt x="506" y="24"/>
                  </a:lnTo>
                  <a:lnTo>
                    <a:pt x="499" y="23"/>
                  </a:lnTo>
                  <a:lnTo>
                    <a:pt x="492" y="20"/>
                  </a:lnTo>
                  <a:lnTo>
                    <a:pt x="486" y="16"/>
                  </a:lnTo>
                  <a:lnTo>
                    <a:pt x="478" y="12"/>
                  </a:lnTo>
                  <a:lnTo>
                    <a:pt x="471" y="7"/>
                  </a:lnTo>
                  <a:lnTo>
                    <a:pt x="463" y="3"/>
                  </a:lnTo>
                  <a:lnTo>
                    <a:pt x="454" y="0"/>
                  </a:lnTo>
                  <a:lnTo>
                    <a:pt x="446" y="0"/>
                  </a:lnTo>
                  <a:lnTo>
                    <a:pt x="440" y="0"/>
                  </a:lnTo>
                  <a:lnTo>
                    <a:pt x="435" y="1"/>
                  </a:lnTo>
                  <a:lnTo>
                    <a:pt x="430" y="3"/>
                  </a:lnTo>
                  <a:lnTo>
                    <a:pt x="424" y="5"/>
                  </a:lnTo>
                  <a:lnTo>
                    <a:pt x="415" y="11"/>
                  </a:lnTo>
                  <a:lnTo>
                    <a:pt x="406" y="17"/>
                  </a:lnTo>
                  <a:lnTo>
                    <a:pt x="398" y="24"/>
                  </a:lnTo>
                  <a:lnTo>
                    <a:pt x="388" y="29"/>
                  </a:lnTo>
                  <a:lnTo>
                    <a:pt x="383" y="32"/>
                  </a:lnTo>
                  <a:lnTo>
                    <a:pt x="378" y="35"/>
                  </a:lnTo>
                  <a:lnTo>
                    <a:pt x="372" y="35"/>
                  </a:lnTo>
                  <a:lnTo>
                    <a:pt x="367" y="36"/>
                  </a:lnTo>
                  <a:lnTo>
                    <a:pt x="348" y="35"/>
                  </a:lnTo>
                  <a:lnTo>
                    <a:pt x="334" y="32"/>
                  </a:lnTo>
                  <a:lnTo>
                    <a:pt x="322" y="28"/>
                  </a:lnTo>
                  <a:lnTo>
                    <a:pt x="312" y="24"/>
                  </a:lnTo>
                  <a:lnTo>
                    <a:pt x="276" y="43"/>
                  </a:lnTo>
                  <a:lnTo>
                    <a:pt x="230" y="65"/>
                  </a:lnTo>
                  <a:lnTo>
                    <a:pt x="219" y="72"/>
                  </a:lnTo>
                  <a:lnTo>
                    <a:pt x="208" y="79"/>
                  </a:lnTo>
                  <a:lnTo>
                    <a:pt x="199" y="85"/>
                  </a:lnTo>
                  <a:lnTo>
                    <a:pt x="191" y="93"/>
                  </a:lnTo>
                  <a:lnTo>
                    <a:pt x="184" y="100"/>
                  </a:lnTo>
                  <a:lnTo>
                    <a:pt x="179" y="109"/>
                  </a:lnTo>
                  <a:lnTo>
                    <a:pt x="175" y="117"/>
                  </a:lnTo>
                  <a:lnTo>
                    <a:pt x="175" y="125"/>
                  </a:lnTo>
                  <a:lnTo>
                    <a:pt x="175" y="144"/>
                  </a:lnTo>
                  <a:lnTo>
                    <a:pt x="175" y="153"/>
                  </a:lnTo>
                  <a:lnTo>
                    <a:pt x="175" y="161"/>
                  </a:lnTo>
                  <a:lnTo>
                    <a:pt x="175" y="168"/>
                  </a:lnTo>
                  <a:lnTo>
                    <a:pt x="174" y="173"/>
                  </a:lnTo>
                  <a:lnTo>
                    <a:pt x="171" y="179"/>
                  </a:lnTo>
                  <a:lnTo>
                    <a:pt x="167" y="185"/>
                  </a:lnTo>
                  <a:lnTo>
                    <a:pt x="160" y="191"/>
                  </a:lnTo>
                  <a:lnTo>
                    <a:pt x="154" y="196"/>
                  </a:lnTo>
                  <a:lnTo>
                    <a:pt x="144" y="200"/>
                  </a:lnTo>
                  <a:lnTo>
                    <a:pt x="132" y="202"/>
                  </a:lnTo>
                  <a:lnTo>
                    <a:pt x="120" y="204"/>
                  </a:lnTo>
                  <a:lnTo>
                    <a:pt x="111" y="202"/>
                  </a:lnTo>
                  <a:lnTo>
                    <a:pt x="103" y="200"/>
                  </a:lnTo>
                  <a:lnTo>
                    <a:pt x="95" y="195"/>
                  </a:lnTo>
                  <a:lnTo>
                    <a:pt x="88" y="188"/>
                  </a:lnTo>
                  <a:lnTo>
                    <a:pt x="76" y="176"/>
                  </a:lnTo>
                  <a:lnTo>
                    <a:pt x="66" y="168"/>
                  </a:lnTo>
                  <a:lnTo>
                    <a:pt x="48" y="179"/>
                  </a:lnTo>
                  <a:lnTo>
                    <a:pt x="31" y="187"/>
                  </a:lnTo>
                  <a:lnTo>
                    <a:pt x="22" y="191"/>
                  </a:lnTo>
                  <a:lnTo>
                    <a:pt x="14" y="196"/>
                  </a:lnTo>
                  <a:lnTo>
                    <a:pt x="7" y="202"/>
                  </a:lnTo>
                  <a:lnTo>
                    <a:pt x="0" y="210"/>
                  </a:lnTo>
                  <a:lnTo>
                    <a:pt x="12" y="222"/>
                  </a:lnTo>
                  <a:lnTo>
                    <a:pt x="22" y="232"/>
                  </a:lnTo>
                  <a:lnTo>
                    <a:pt x="30" y="238"/>
                  </a:lnTo>
                  <a:lnTo>
                    <a:pt x="36" y="240"/>
                  </a:lnTo>
                  <a:lnTo>
                    <a:pt x="51" y="245"/>
                  </a:lnTo>
                  <a:lnTo>
                    <a:pt x="66" y="248"/>
                  </a:lnTo>
                  <a:lnTo>
                    <a:pt x="79" y="249"/>
                  </a:lnTo>
                  <a:lnTo>
                    <a:pt x="91" y="249"/>
                  </a:lnTo>
                  <a:lnTo>
                    <a:pt x="104" y="248"/>
                  </a:lnTo>
                  <a:lnTo>
                    <a:pt x="115" y="248"/>
                  </a:lnTo>
                  <a:lnTo>
                    <a:pt x="127" y="249"/>
                  </a:lnTo>
                  <a:lnTo>
                    <a:pt x="138" y="252"/>
                  </a:lnTo>
                  <a:lnTo>
                    <a:pt x="143" y="256"/>
                  </a:lnTo>
                  <a:lnTo>
                    <a:pt x="146" y="261"/>
                  </a:lnTo>
                  <a:lnTo>
                    <a:pt x="148" y="265"/>
                  </a:lnTo>
                  <a:lnTo>
                    <a:pt x="151" y="272"/>
                  </a:lnTo>
                  <a:lnTo>
                    <a:pt x="155" y="284"/>
                  </a:lnTo>
                  <a:lnTo>
                    <a:pt x="159" y="296"/>
                  </a:lnTo>
                  <a:lnTo>
                    <a:pt x="162" y="302"/>
                  </a:lnTo>
                  <a:lnTo>
                    <a:pt x="164" y="308"/>
                  </a:lnTo>
                  <a:lnTo>
                    <a:pt x="168" y="313"/>
                  </a:lnTo>
                  <a:lnTo>
                    <a:pt x="172" y="318"/>
                  </a:lnTo>
                  <a:lnTo>
                    <a:pt x="178" y="322"/>
                  </a:lnTo>
                  <a:lnTo>
                    <a:pt x="183" y="326"/>
                  </a:lnTo>
                  <a:lnTo>
                    <a:pt x="190" y="329"/>
                  </a:lnTo>
                  <a:lnTo>
                    <a:pt x="199" y="330"/>
                  </a:lnTo>
                  <a:lnTo>
                    <a:pt x="218" y="329"/>
                  </a:lnTo>
                  <a:lnTo>
                    <a:pt x="239" y="328"/>
                  </a:lnTo>
                  <a:lnTo>
                    <a:pt x="258" y="325"/>
                  </a:lnTo>
                  <a:lnTo>
                    <a:pt x="271" y="325"/>
                  </a:lnTo>
                  <a:lnTo>
                    <a:pt x="276" y="325"/>
                  </a:lnTo>
                  <a:lnTo>
                    <a:pt x="282" y="326"/>
                  </a:lnTo>
                  <a:lnTo>
                    <a:pt x="286" y="328"/>
                  </a:lnTo>
                  <a:lnTo>
                    <a:pt x="288" y="329"/>
                  </a:lnTo>
                  <a:lnTo>
                    <a:pt x="291" y="332"/>
                  </a:lnTo>
                  <a:lnTo>
                    <a:pt x="292" y="336"/>
                  </a:lnTo>
                  <a:lnTo>
                    <a:pt x="294" y="340"/>
                  </a:lnTo>
                  <a:lnTo>
                    <a:pt x="294" y="344"/>
                  </a:lnTo>
                  <a:lnTo>
                    <a:pt x="294" y="362"/>
                  </a:lnTo>
                  <a:lnTo>
                    <a:pt x="295" y="385"/>
                  </a:lnTo>
                  <a:lnTo>
                    <a:pt x="298" y="397"/>
                  </a:lnTo>
                  <a:lnTo>
                    <a:pt x="302" y="409"/>
                  </a:lnTo>
                  <a:lnTo>
                    <a:pt x="306" y="421"/>
                  </a:lnTo>
                  <a:lnTo>
                    <a:pt x="311" y="434"/>
                  </a:lnTo>
                  <a:lnTo>
                    <a:pt x="318" y="448"/>
                  </a:lnTo>
                  <a:lnTo>
                    <a:pt x="324" y="461"/>
                  </a:lnTo>
                  <a:lnTo>
                    <a:pt x="332" y="473"/>
                  </a:lnTo>
                  <a:lnTo>
                    <a:pt x="340" y="485"/>
                  </a:lnTo>
                  <a:lnTo>
                    <a:pt x="348" y="497"/>
                  </a:lnTo>
                  <a:lnTo>
                    <a:pt x="358" y="508"/>
                  </a:lnTo>
                  <a:lnTo>
                    <a:pt x="368" y="517"/>
                  </a:lnTo>
                  <a:lnTo>
                    <a:pt x="378" y="525"/>
                  </a:lnTo>
                  <a:lnTo>
                    <a:pt x="388" y="532"/>
                  </a:lnTo>
                  <a:lnTo>
                    <a:pt x="399" y="537"/>
                  </a:lnTo>
                  <a:lnTo>
                    <a:pt x="410" y="540"/>
                  </a:lnTo>
                  <a:lnTo>
                    <a:pt x="422" y="541"/>
                  </a:lnTo>
                  <a:lnTo>
                    <a:pt x="432" y="542"/>
                  </a:lnTo>
                  <a:lnTo>
                    <a:pt x="446" y="544"/>
                  </a:lnTo>
                  <a:lnTo>
                    <a:pt x="459" y="546"/>
                  </a:lnTo>
                  <a:lnTo>
                    <a:pt x="470" y="548"/>
                  </a:lnTo>
                  <a:lnTo>
                    <a:pt x="470" y="538"/>
                  </a:lnTo>
                  <a:lnTo>
                    <a:pt x="471" y="532"/>
                  </a:lnTo>
                  <a:lnTo>
                    <a:pt x="472" y="525"/>
                  </a:lnTo>
                  <a:lnTo>
                    <a:pt x="475" y="520"/>
                  </a:lnTo>
                  <a:lnTo>
                    <a:pt x="479" y="514"/>
                  </a:lnTo>
                  <a:lnTo>
                    <a:pt x="484" y="510"/>
                  </a:lnTo>
                  <a:lnTo>
                    <a:pt x="491" y="508"/>
                  </a:lnTo>
                  <a:lnTo>
                    <a:pt x="500" y="505"/>
                  </a:lnTo>
                  <a:lnTo>
                    <a:pt x="522" y="550"/>
                  </a:lnTo>
                  <a:lnTo>
                    <a:pt x="544" y="596"/>
                  </a:lnTo>
                  <a:lnTo>
                    <a:pt x="556" y="618"/>
                  </a:lnTo>
                  <a:lnTo>
                    <a:pt x="567" y="638"/>
                  </a:lnTo>
                  <a:lnTo>
                    <a:pt x="579" y="657"/>
                  </a:lnTo>
                  <a:lnTo>
                    <a:pt x="589" y="674"/>
                  </a:lnTo>
                  <a:lnTo>
                    <a:pt x="600" y="676"/>
                  </a:lnTo>
                  <a:lnTo>
                    <a:pt x="609" y="678"/>
                  </a:lnTo>
                  <a:lnTo>
                    <a:pt x="617" y="684"/>
                  </a:lnTo>
                  <a:lnTo>
                    <a:pt x="625" y="689"/>
                  </a:lnTo>
                  <a:lnTo>
                    <a:pt x="633" y="696"/>
                  </a:lnTo>
                  <a:lnTo>
                    <a:pt x="643" y="702"/>
                  </a:lnTo>
                  <a:lnTo>
                    <a:pt x="652" y="706"/>
                  </a:lnTo>
                  <a:lnTo>
                    <a:pt x="663" y="710"/>
                  </a:lnTo>
                  <a:lnTo>
                    <a:pt x="659" y="718"/>
                  </a:lnTo>
                  <a:lnTo>
                    <a:pt x="655" y="725"/>
                  </a:lnTo>
                  <a:lnTo>
                    <a:pt x="649" y="732"/>
                  </a:lnTo>
                  <a:lnTo>
                    <a:pt x="645" y="737"/>
                  </a:lnTo>
                  <a:lnTo>
                    <a:pt x="640" y="742"/>
                  </a:lnTo>
                  <a:lnTo>
                    <a:pt x="636" y="749"/>
                  </a:lnTo>
                  <a:lnTo>
                    <a:pt x="633" y="756"/>
                  </a:lnTo>
                  <a:lnTo>
                    <a:pt x="632" y="764"/>
                  </a:lnTo>
                  <a:lnTo>
                    <a:pt x="633" y="776"/>
                  </a:lnTo>
                  <a:lnTo>
                    <a:pt x="637" y="785"/>
                  </a:lnTo>
                  <a:lnTo>
                    <a:pt x="643" y="795"/>
                  </a:lnTo>
                  <a:lnTo>
                    <a:pt x="649" y="803"/>
                  </a:lnTo>
                  <a:lnTo>
                    <a:pt x="659" y="811"/>
                  </a:lnTo>
                  <a:lnTo>
                    <a:pt x="668" y="819"/>
                  </a:lnTo>
                  <a:lnTo>
                    <a:pt x="677" y="825"/>
                  </a:lnTo>
                  <a:lnTo>
                    <a:pt x="687" y="830"/>
                  </a:lnTo>
                  <a:lnTo>
                    <a:pt x="687" y="813"/>
                  </a:lnTo>
                  <a:lnTo>
                    <a:pt x="688" y="795"/>
                  </a:lnTo>
                  <a:lnTo>
                    <a:pt x="689" y="786"/>
                  </a:lnTo>
                  <a:lnTo>
                    <a:pt x="691" y="778"/>
                  </a:lnTo>
                  <a:lnTo>
                    <a:pt x="695" y="772"/>
                  </a:lnTo>
                  <a:lnTo>
                    <a:pt x="699" y="764"/>
                  </a:lnTo>
                  <a:lnTo>
                    <a:pt x="703" y="757"/>
                  </a:lnTo>
                  <a:lnTo>
                    <a:pt x="708" y="749"/>
                  </a:lnTo>
                  <a:lnTo>
                    <a:pt x="715" y="742"/>
                  </a:lnTo>
                  <a:lnTo>
                    <a:pt x="723" y="734"/>
                  </a:lnTo>
                  <a:lnTo>
                    <a:pt x="740" y="721"/>
                  </a:lnTo>
                  <a:lnTo>
                    <a:pt x="759" y="706"/>
                  </a:lnTo>
                  <a:lnTo>
                    <a:pt x="768" y="700"/>
                  </a:lnTo>
                  <a:lnTo>
                    <a:pt x="777" y="692"/>
                  </a:lnTo>
                  <a:lnTo>
                    <a:pt x="785" y="684"/>
                  </a:lnTo>
                  <a:lnTo>
                    <a:pt x="792" y="674"/>
                  </a:lnTo>
                  <a:lnTo>
                    <a:pt x="799" y="665"/>
                  </a:lnTo>
                  <a:lnTo>
                    <a:pt x="803" y="654"/>
                  </a:lnTo>
                  <a:lnTo>
                    <a:pt x="805" y="644"/>
                  </a:lnTo>
                  <a:lnTo>
                    <a:pt x="807" y="632"/>
                  </a:lnTo>
                  <a:lnTo>
                    <a:pt x="805" y="621"/>
                  </a:lnTo>
                  <a:lnTo>
                    <a:pt x="803" y="612"/>
                  </a:lnTo>
                  <a:lnTo>
                    <a:pt x="799" y="604"/>
                  </a:lnTo>
                  <a:lnTo>
                    <a:pt x="795" y="596"/>
                  </a:lnTo>
                  <a:lnTo>
                    <a:pt x="791" y="589"/>
                  </a:lnTo>
                  <a:lnTo>
                    <a:pt x="787" y="581"/>
                  </a:lnTo>
                  <a:lnTo>
                    <a:pt x="784" y="574"/>
                  </a:lnTo>
                  <a:lnTo>
                    <a:pt x="783" y="565"/>
                  </a:lnTo>
                  <a:lnTo>
                    <a:pt x="807" y="565"/>
                  </a:lnTo>
                  <a:lnTo>
                    <a:pt x="836" y="562"/>
                  </a:lnTo>
                  <a:lnTo>
                    <a:pt x="867" y="560"/>
                  </a:lnTo>
                  <a:lnTo>
                    <a:pt x="899" y="553"/>
                  </a:lnTo>
                  <a:lnTo>
                    <a:pt x="915" y="549"/>
                  </a:lnTo>
                  <a:lnTo>
                    <a:pt x="928" y="545"/>
                  </a:lnTo>
                  <a:lnTo>
                    <a:pt x="941" y="541"/>
                  </a:lnTo>
                  <a:lnTo>
                    <a:pt x="953" y="534"/>
                  </a:lnTo>
                  <a:lnTo>
                    <a:pt x="963" y="529"/>
                  </a:lnTo>
                  <a:lnTo>
                    <a:pt x="969" y="521"/>
                  </a:lnTo>
                  <a:lnTo>
                    <a:pt x="972" y="518"/>
                  </a:lnTo>
                  <a:lnTo>
                    <a:pt x="973" y="514"/>
                  </a:lnTo>
                  <a:lnTo>
                    <a:pt x="975" y="509"/>
                  </a:lnTo>
                  <a:lnTo>
                    <a:pt x="975" y="505"/>
                  </a:lnTo>
                  <a:lnTo>
                    <a:pt x="975" y="498"/>
                  </a:lnTo>
                  <a:lnTo>
                    <a:pt x="973" y="493"/>
                  </a:lnTo>
                  <a:lnTo>
                    <a:pt x="972" y="488"/>
                  </a:lnTo>
                  <a:lnTo>
                    <a:pt x="969" y="482"/>
                  </a:lnTo>
                  <a:lnTo>
                    <a:pt x="963" y="473"/>
                  </a:lnTo>
                  <a:lnTo>
                    <a:pt x="955" y="465"/>
                  </a:lnTo>
                  <a:lnTo>
                    <a:pt x="948" y="456"/>
                  </a:lnTo>
                  <a:lnTo>
                    <a:pt x="943" y="444"/>
                  </a:lnTo>
                  <a:lnTo>
                    <a:pt x="940" y="438"/>
                  </a:lnTo>
                  <a:lnTo>
                    <a:pt x="939" y="432"/>
                  </a:lnTo>
                  <a:lnTo>
                    <a:pt x="939" y="424"/>
                  </a:lnTo>
                  <a:lnTo>
                    <a:pt x="939" y="414"/>
                  </a:lnTo>
                  <a:lnTo>
                    <a:pt x="928" y="420"/>
                  </a:lnTo>
                  <a:lnTo>
                    <a:pt x="920" y="421"/>
                  </a:lnTo>
                  <a:lnTo>
                    <a:pt x="916" y="421"/>
                  </a:lnTo>
                  <a:lnTo>
                    <a:pt x="911" y="421"/>
                  </a:lnTo>
                  <a:lnTo>
                    <a:pt x="905" y="418"/>
                  </a:lnTo>
                  <a:lnTo>
                    <a:pt x="897" y="414"/>
                  </a:lnTo>
                  <a:lnTo>
                    <a:pt x="897" y="390"/>
                  </a:lnTo>
                  <a:lnTo>
                    <a:pt x="907" y="388"/>
                  </a:lnTo>
                  <a:lnTo>
                    <a:pt x="916" y="385"/>
                  </a:lnTo>
                  <a:lnTo>
                    <a:pt x="925" y="381"/>
                  </a:lnTo>
                  <a:lnTo>
                    <a:pt x="933" y="376"/>
                  </a:lnTo>
                  <a:lnTo>
                    <a:pt x="940" y="369"/>
                  </a:lnTo>
                  <a:lnTo>
                    <a:pt x="947" y="362"/>
                  </a:lnTo>
                  <a:lnTo>
                    <a:pt x="948" y="357"/>
                  </a:lnTo>
                  <a:lnTo>
                    <a:pt x="949" y="353"/>
                  </a:lnTo>
                  <a:lnTo>
                    <a:pt x="951" y="348"/>
                  </a:lnTo>
                  <a:lnTo>
                    <a:pt x="951" y="342"/>
                  </a:lnTo>
                  <a:lnTo>
                    <a:pt x="897" y="342"/>
                  </a:lnTo>
                  <a:lnTo>
                    <a:pt x="897" y="334"/>
                  </a:lnTo>
                  <a:lnTo>
                    <a:pt x="899" y="326"/>
                  </a:lnTo>
                  <a:lnTo>
                    <a:pt x="901" y="320"/>
                  </a:lnTo>
                  <a:lnTo>
                    <a:pt x="905" y="313"/>
                  </a:lnTo>
                  <a:lnTo>
                    <a:pt x="915" y="301"/>
                  </a:lnTo>
                  <a:lnTo>
                    <a:pt x="927" y="288"/>
                  </a:lnTo>
                  <a:lnTo>
                    <a:pt x="927" y="252"/>
                  </a:lnTo>
                  <a:lnTo>
                    <a:pt x="891" y="252"/>
                  </a:lnTo>
                  <a:lnTo>
                    <a:pt x="880" y="257"/>
                  </a:lnTo>
                  <a:lnTo>
                    <a:pt x="868" y="262"/>
                  </a:lnTo>
                  <a:lnTo>
                    <a:pt x="863" y="265"/>
                  </a:lnTo>
                  <a:lnTo>
                    <a:pt x="859" y="268"/>
                  </a:lnTo>
                  <a:lnTo>
                    <a:pt x="856" y="272"/>
                  </a:lnTo>
                  <a:lnTo>
                    <a:pt x="855" y="276"/>
                  </a:lnTo>
                  <a:lnTo>
                    <a:pt x="856" y="286"/>
                  </a:lnTo>
                  <a:lnTo>
                    <a:pt x="859" y="294"/>
                  </a:lnTo>
                  <a:lnTo>
                    <a:pt x="863" y="301"/>
                  </a:lnTo>
                  <a:lnTo>
                    <a:pt x="867" y="313"/>
                  </a:lnTo>
                  <a:lnTo>
                    <a:pt x="861" y="316"/>
                  </a:lnTo>
                  <a:lnTo>
                    <a:pt x="855" y="317"/>
                  </a:lnTo>
                  <a:lnTo>
                    <a:pt x="849" y="320"/>
                  </a:lnTo>
                  <a:lnTo>
                    <a:pt x="843" y="320"/>
                  </a:lnTo>
                  <a:lnTo>
                    <a:pt x="831" y="320"/>
                  </a:lnTo>
                  <a:lnTo>
                    <a:pt x="819" y="320"/>
                  </a:lnTo>
                  <a:lnTo>
                    <a:pt x="793" y="314"/>
                  </a:lnTo>
                  <a:lnTo>
                    <a:pt x="771" y="313"/>
                  </a:lnTo>
                  <a:lnTo>
                    <a:pt x="759" y="312"/>
                  </a:lnTo>
                  <a:lnTo>
                    <a:pt x="745" y="310"/>
                  </a:lnTo>
                  <a:lnTo>
                    <a:pt x="732" y="306"/>
                  </a:lnTo>
                  <a:lnTo>
                    <a:pt x="720" y="301"/>
                  </a:lnTo>
                  <a:lnTo>
                    <a:pt x="715" y="298"/>
                  </a:lnTo>
                  <a:lnTo>
                    <a:pt x="709" y="294"/>
                  </a:lnTo>
                  <a:lnTo>
                    <a:pt x="704" y="289"/>
                  </a:lnTo>
                  <a:lnTo>
                    <a:pt x="700" y="285"/>
                  </a:lnTo>
                  <a:lnTo>
                    <a:pt x="697" y="278"/>
                  </a:lnTo>
                  <a:lnTo>
                    <a:pt x="695" y="273"/>
                  </a:lnTo>
                  <a:lnTo>
                    <a:pt x="693" y="266"/>
                  </a:lnTo>
                  <a:lnTo>
                    <a:pt x="692" y="258"/>
                  </a:lnTo>
                  <a:lnTo>
                    <a:pt x="699" y="249"/>
                  </a:lnTo>
                  <a:lnTo>
                    <a:pt x="704" y="240"/>
                  </a:lnTo>
                  <a:lnTo>
                    <a:pt x="696" y="236"/>
                  </a:lnTo>
                  <a:lnTo>
                    <a:pt x="688" y="230"/>
                  </a:lnTo>
                  <a:lnTo>
                    <a:pt x="679" y="221"/>
                  </a:lnTo>
                  <a:lnTo>
                    <a:pt x="671" y="210"/>
                  </a:lnTo>
                  <a:lnTo>
                    <a:pt x="661" y="197"/>
                  </a:lnTo>
                  <a:lnTo>
                    <a:pt x="653" y="184"/>
                  </a:lnTo>
                  <a:lnTo>
                    <a:pt x="645" y="168"/>
                  </a:lnTo>
                  <a:lnTo>
                    <a:pt x="637" y="153"/>
                  </a:lnTo>
                  <a:lnTo>
                    <a:pt x="623" y="121"/>
                  </a:lnTo>
                  <a:lnTo>
                    <a:pt x="612" y="91"/>
                  </a:lnTo>
                  <a:lnTo>
                    <a:pt x="608" y="77"/>
                  </a:lnTo>
                  <a:lnTo>
                    <a:pt x="604" y="65"/>
                  </a:lnTo>
                  <a:lnTo>
                    <a:pt x="603" y="56"/>
                  </a:lnTo>
                  <a:lnTo>
                    <a:pt x="601" y="48"/>
                  </a:lnTo>
                  <a:lnTo>
                    <a:pt x="601" y="36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accent1">
                  <a:lumMod val="20000"/>
                  <a:lumOff val="8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95" b="0" i="0" u="none" strike="noStrike" kern="1200" cap="none" spc="0" normalizeH="0" baseline="0" noProof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2" name="Freeform 128"/>
            <p:cNvSpPr>
              <a:spLocks/>
            </p:cNvSpPr>
            <p:nvPr/>
          </p:nvSpPr>
          <p:spPr bwMode="auto">
            <a:xfrm>
              <a:off x="4840755" y="2350226"/>
              <a:ext cx="8253" cy="8018"/>
            </a:xfrm>
            <a:custGeom>
              <a:avLst/>
              <a:gdLst>
                <a:gd name="T0" fmla="*/ 60 w 114"/>
                <a:gd name="T1" fmla="*/ 115 h 115"/>
                <a:gd name="T2" fmla="*/ 70 w 114"/>
                <a:gd name="T3" fmla="*/ 114 h 115"/>
                <a:gd name="T4" fmla="*/ 81 w 114"/>
                <a:gd name="T5" fmla="*/ 110 h 115"/>
                <a:gd name="T6" fmla="*/ 90 w 114"/>
                <a:gd name="T7" fmla="*/ 106 h 115"/>
                <a:gd name="T8" fmla="*/ 98 w 114"/>
                <a:gd name="T9" fmla="*/ 99 h 115"/>
                <a:gd name="T10" fmla="*/ 105 w 114"/>
                <a:gd name="T11" fmla="*/ 91 h 115"/>
                <a:gd name="T12" fmla="*/ 109 w 114"/>
                <a:gd name="T13" fmla="*/ 82 h 115"/>
                <a:gd name="T14" fmla="*/ 113 w 114"/>
                <a:gd name="T15" fmla="*/ 71 h 115"/>
                <a:gd name="T16" fmla="*/ 114 w 114"/>
                <a:gd name="T17" fmla="*/ 60 h 115"/>
                <a:gd name="T18" fmla="*/ 113 w 114"/>
                <a:gd name="T19" fmla="*/ 47 h 115"/>
                <a:gd name="T20" fmla="*/ 109 w 114"/>
                <a:gd name="T21" fmla="*/ 36 h 115"/>
                <a:gd name="T22" fmla="*/ 105 w 114"/>
                <a:gd name="T23" fmla="*/ 26 h 115"/>
                <a:gd name="T24" fmla="*/ 98 w 114"/>
                <a:gd name="T25" fmla="*/ 16 h 115"/>
                <a:gd name="T26" fmla="*/ 90 w 114"/>
                <a:gd name="T27" fmla="*/ 10 h 115"/>
                <a:gd name="T28" fmla="*/ 81 w 114"/>
                <a:gd name="T29" fmla="*/ 4 h 115"/>
                <a:gd name="T30" fmla="*/ 70 w 114"/>
                <a:gd name="T31" fmla="*/ 2 h 115"/>
                <a:gd name="T32" fmla="*/ 60 w 114"/>
                <a:gd name="T33" fmla="*/ 0 h 115"/>
                <a:gd name="T34" fmla="*/ 48 w 114"/>
                <a:gd name="T35" fmla="*/ 2 h 115"/>
                <a:gd name="T36" fmla="*/ 37 w 114"/>
                <a:gd name="T37" fmla="*/ 4 h 115"/>
                <a:gd name="T38" fmla="*/ 28 w 114"/>
                <a:gd name="T39" fmla="*/ 10 h 115"/>
                <a:gd name="T40" fmla="*/ 18 w 114"/>
                <a:gd name="T41" fmla="*/ 16 h 115"/>
                <a:gd name="T42" fmla="*/ 11 w 114"/>
                <a:gd name="T43" fmla="*/ 26 h 115"/>
                <a:gd name="T44" fmla="*/ 5 w 114"/>
                <a:gd name="T45" fmla="*/ 36 h 115"/>
                <a:gd name="T46" fmla="*/ 3 w 114"/>
                <a:gd name="T47" fmla="*/ 42 h 115"/>
                <a:gd name="T48" fmla="*/ 1 w 114"/>
                <a:gd name="T49" fmla="*/ 47 h 115"/>
                <a:gd name="T50" fmla="*/ 0 w 114"/>
                <a:gd name="T51" fmla="*/ 54 h 115"/>
                <a:gd name="T52" fmla="*/ 0 w 114"/>
                <a:gd name="T53" fmla="*/ 60 h 115"/>
                <a:gd name="T54" fmla="*/ 1 w 114"/>
                <a:gd name="T55" fmla="*/ 71 h 115"/>
                <a:gd name="T56" fmla="*/ 5 w 114"/>
                <a:gd name="T57" fmla="*/ 82 h 115"/>
                <a:gd name="T58" fmla="*/ 11 w 114"/>
                <a:gd name="T59" fmla="*/ 91 h 115"/>
                <a:gd name="T60" fmla="*/ 18 w 114"/>
                <a:gd name="T61" fmla="*/ 99 h 115"/>
                <a:gd name="T62" fmla="*/ 28 w 114"/>
                <a:gd name="T63" fmla="*/ 106 h 115"/>
                <a:gd name="T64" fmla="*/ 37 w 114"/>
                <a:gd name="T65" fmla="*/ 110 h 115"/>
                <a:gd name="T66" fmla="*/ 48 w 114"/>
                <a:gd name="T67" fmla="*/ 114 h 115"/>
                <a:gd name="T68" fmla="*/ 60 w 114"/>
                <a:gd name="T69" fmla="*/ 115 h 115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14"/>
                <a:gd name="T106" fmla="*/ 0 h 115"/>
                <a:gd name="T107" fmla="*/ 114 w 114"/>
                <a:gd name="T108" fmla="*/ 115 h 115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14" h="115">
                  <a:moveTo>
                    <a:pt x="60" y="115"/>
                  </a:moveTo>
                  <a:lnTo>
                    <a:pt x="70" y="114"/>
                  </a:lnTo>
                  <a:lnTo>
                    <a:pt x="81" y="110"/>
                  </a:lnTo>
                  <a:lnTo>
                    <a:pt x="90" y="106"/>
                  </a:lnTo>
                  <a:lnTo>
                    <a:pt x="98" y="99"/>
                  </a:lnTo>
                  <a:lnTo>
                    <a:pt x="105" y="91"/>
                  </a:lnTo>
                  <a:lnTo>
                    <a:pt x="109" y="82"/>
                  </a:lnTo>
                  <a:lnTo>
                    <a:pt x="113" y="71"/>
                  </a:lnTo>
                  <a:lnTo>
                    <a:pt x="114" y="60"/>
                  </a:lnTo>
                  <a:lnTo>
                    <a:pt x="113" y="47"/>
                  </a:lnTo>
                  <a:lnTo>
                    <a:pt x="109" y="36"/>
                  </a:lnTo>
                  <a:lnTo>
                    <a:pt x="105" y="26"/>
                  </a:lnTo>
                  <a:lnTo>
                    <a:pt x="98" y="16"/>
                  </a:lnTo>
                  <a:lnTo>
                    <a:pt x="90" y="10"/>
                  </a:lnTo>
                  <a:lnTo>
                    <a:pt x="81" y="4"/>
                  </a:lnTo>
                  <a:lnTo>
                    <a:pt x="70" y="2"/>
                  </a:lnTo>
                  <a:lnTo>
                    <a:pt x="60" y="0"/>
                  </a:lnTo>
                  <a:lnTo>
                    <a:pt x="48" y="2"/>
                  </a:lnTo>
                  <a:lnTo>
                    <a:pt x="37" y="4"/>
                  </a:lnTo>
                  <a:lnTo>
                    <a:pt x="28" y="10"/>
                  </a:lnTo>
                  <a:lnTo>
                    <a:pt x="18" y="16"/>
                  </a:lnTo>
                  <a:lnTo>
                    <a:pt x="11" y="26"/>
                  </a:lnTo>
                  <a:lnTo>
                    <a:pt x="5" y="36"/>
                  </a:lnTo>
                  <a:lnTo>
                    <a:pt x="3" y="42"/>
                  </a:lnTo>
                  <a:lnTo>
                    <a:pt x="1" y="47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1" y="71"/>
                  </a:lnTo>
                  <a:lnTo>
                    <a:pt x="5" y="82"/>
                  </a:lnTo>
                  <a:lnTo>
                    <a:pt x="11" y="91"/>
                  </a:lnTo>
                  <a:lnTo>
                    <a:pt x="18" y="99"/>
                  </a:lnTo>
                  <a:lnTo>
                    <a:pt x="28" y="106"/>
                  </a:lnTo>
                  <a:lnTo>
                    <a:pt x="37" y="110"/>
                  </a:lnTo>
                  <a:lnTo>
                    <a:pt x="48" y="114"/>
                  </a:lnTo>
                  <a:lnTo>
                    <a:pt x="60" y="11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accent1">
                  <a:lumMod val="20000"/>
                  <a:lumOff val="8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95" b="0" i="0" u="none" strike="noStrike" kern="1200" cap="none" spc="0" normalizeH="0" baseline="0" noProof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3" name="Freeform 130"/>
            <p:cNvSpPr>
              <a:spLocks/>
            </p:cNvSpPr>
            <p:nvPr/>
          </p:nvSpPr>
          <p:spPr bwMode="auto">
            <a:xfrm>
              <a:off x="4848065" y="2249062"/>
              <a:ext cx="7782" cy="8018"/>
            </a:xfrm>
            <a:custGeom>
              <a:avLst/>
              <a:gdLst>
                <a:gd name="T0" fmla="*/ 0 w 109"/>
                <a:gd name="T1" fmla="*/ 55 h 115"/>
                <a:gd name="T2" fmla="*/ 1 w 109"/>
                <a:gd name="T3" fmla="*/ 44 h 115"/>
                <a:gd name="T4" fmla="*/ 5 w 109"/>
                <a:gd name="T5" fmla="*/ 34 h 115"/>
                <a:gd name="T6" fmla="*/ 9 w 109"/>
                <a:gd name="T7" fmla="*/ 24 h 115"/>
                <a:gd name="T8" fmla="*/ 16 w 109"/>
                <a:gd name="T9" fmla="*/ 16 h 115"/>
                <a:gd name="T10" fmla="*/ 24 w 109"/>
                <a:gd name="T11" fmla="*/ 10 h 115"/>
                <a:gd name="T12" fmla="*/ 33 w 109"/>
                <a:gd name="T13" fmla="*/ 4 h 115"/>
                <a:gd name="T14" fmla="*/ 44 w 109"/>
                <a:gd name="T15" fmla="*/ 2 h 115"/>
                <a:gd name="T16" fmla="*/ 55 w 109"/>
                <a:gd name="T17" fmla="*/ 0 h 115"/>
                <a:gd name="T18" fmla="*/ 65 w 109"/>
                <a:gd name="T19" fmla="*/ 2 h 115"/>
                <a:gd name="T20" fmla="*/ 76 w 109"/>
                <a:gd name="T21" fmla="*/ 4 h 115"/>
                <a:gd name="T22" fmla="*/ 85 w 109"/>
                <a:gd name="T23" fmla="*/ 10 h 115"/>
                <a:gd name="T24" fmla="*/ 93 w 109"/>
                <a:gd name="T25" fmla="*/ 16 h 115"/>
                <a:gd name="T26" fmla="*/ 100 w 109"/>
                <a:gd name="T27" fmla="*/ 24 h 115"/>
                <a:gd name="T28" fmla="*/ 105 w 109"/>
                <a:gd name="T29" fmla="*/ 34 h 115"/>
                <a:gd name="T30" fmla="*/ 108 w 109"/>
                <a:gd name="T31" fmla="*/ 44 h 115"/>
                <a:gd name="T32" fmla="*/ 109 w 109"/>
                <a:gd name="T33" fmla="*/ 55 h 115"/>
                <a:gd name="T34" fmla="*/ 108 w 109"/>
                <a:gd name="T35" fmla="*/ 66 h 115"/>
                <a:gd name="T36" fmla="*/ 105 w 109"/>
                <a:gd name="T37" fmla="*/ 76 h 115"/>
                <a:gd name="T38" fmla="*/ 100 w 109"/>
                <a:gd name="T39" fmla="*/ 87 h 115"/>
                <a:gd name="T40" fmla="*/ 93 w 109"/>
                <a:gd name="T41" fmla="*/ 96 h 115"/>
                <a:gd name="T42" fmla="*/ 85 w 109"/>
                <a:gd name="T43" fmla="*/ 104 h 115"/>
                <a:gd name="T44" fmla="*/ 76 w 109"/>
                <a:gd name="T45" fmla="*/ 110 h 115"/>
                <a:gd name="T46" fmla="*/ 65 w 109"/>
                <a:gd name="T47" fmla="*/ 114 h 115"/>
                <a:gd name="T48" fmla="*/ 55 w 109"/>
                <a:gd name="T49" fmla="*/ 115 h 115"/>
                <a:gd name="T50" fmla="*/ 44 w 109"/>
                <a:gd name="T51" fmla="*/ 114 h 115"/>
                <a:gd name="T52" fmla="*/ 33 w 109"/>
                <a:gd name="T53" fmla="*/ 110 h 115"/>
                <a:gd name="T54" fmla="*/ 24 w 109"/>
                <a:gd name="T55" fmla="*/ 104 h 115"/>
                <a:gd name="T56" fmla="*/ 16 w 109"/>
                <a:gd name="T57" fmla="*/ 96 h 115"/>
                <a:gd name="T58" fmla="*/ 9 w 109"/>
                <a:gd name="T59" fmla="*/ 87 h 115"/>
                <a:gd name="T60" fmla="*/ 5 w 109"/>
                <a:gd name="T61" fmla="*/ 76 h 115"/>
                <a:gd name="T62" fmla="*/ 1 w 109"/>
                <a:gd name="T63" fmla="*/ 66 h 115"/>
                <a:gd name="T64" fmla="*/ 0 w 109"/>
                <a:gd name="T65" fmla="*/ 55 h 115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09"/>
                <a:gd name="T100" fmla="*/ 0 h 115"/>
                <a:gd name="T101" fmla="*/ 109 w 109"/>
                <a:gd name="T102" fmla="*/ 115 h 115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09" h="115">
                  <a:moveTo>
                    <a:pt x="0" y="55"/>
                  </a:moveTo>
                  <a:lnTo>
                    <a:pt x="1" y="44"/>
                  </a:lnTo>
                  <a:lnTo>
                    <a:pt x="5" y="34"/>
                  </a:lnTo>
                  <a:lnTo>
                    <a:pt x="9" y="24"/>
                  </a:lnTo>
                  <a:lnTo>
                    <a:pt x="16" y="16"/>
                  </a:lnTo>
                  <a:lnTo>
                    <a:pt x="24" y="10"/>
                  </a:lnTo>
                  <a:lnTo>
                    <a:pt x="33" y="4"/>
                  </a:lnTo>
                  <a:lnTo>
                    <a:pt x="44" y="2"/>
                  </a:lnTo>
                  <a:lnTo>
                    <a:pt x="55" y="0"/>
                  </a:lnTo>
                  <a:lnTo>
                    <a:pt x="65" y="2"/>
                  </a:lnTo>
                  <a:lnTo>
                    <a:pt x="76" y="4"/>
                  </a:lnTo>
                  <a:lnTo>
                    <a:pt x="85" y="10"/>
                  </a:lnTo>
                  <a:lnTo>
                    <a:pt x="93" y="16"/>
                  </a:lnTo>
                  <a:lnTo>
                    <a:pt x="100" y="24"/>
                  </a:lnTo>
                  <a:lnTo>
                    <a:pt x="105" y="34"/>
                  </a:lnTo>
                  <a:lnTo>
                    <a:pt x="108" y="44"/>
                  </a:lnTo>
                  <a:lnTo>
                    <a:pt x="109" y="55"/>
                  </a:lnTo>
                  <a:lnTo>
                    <a:pt x="108" y="66"/>
                  </a:lnTo>
                  <a:lnTo>
                    <a:pt x="105" y="76"/>
                  </a:lnTo>
                  <a:lnTo>
                    <a:pt x="100" y="87"/>
                  </a:lnTo>
                  <a:lnTo>
                    <a:pt x="93" y="96"/>
                  </a:lnTo>
                  <a:lnTo>
                    <a:pt x="85" y="104"/>
                  </a:lnTo>
                  <a:lnTo>
                    <a:pt x="76" y="110"/>
                  </a:lnTo>
                  <a:lnTo>
                    <a:pt x="65" y="114"/>
                  </a:lnTo>
                  <a:lnTo>
                    <a:pt x="55" y="115"/>
                  </a:lnTo>
                  <a:lnTo>
                    <a:pt x="44" y="114"/>
                  </a:lnTo>
                  <a:lnTo>
                    <a:pt x="33" y="110"/>
                  </a:lnTo>
                  <a:lnTo>
                    <a:pt x="24" y="104"/>
                  </a:lnTo>
                  <a:lnTo>
                    <a:pt x="16" y="96"/>
                  </a:lnTo>
                  <a:lnTo>
                    <a:pt x="9" y="87"/>
                  </a:lnTo>
                  <a:lnTo>
                    <a:pt x="5" y="76"/>
                  </a:lnTo>
                  <a:lnTo>
                    <a:pt x="1" y="66"/>
                  </a:lnTo>
                  <a:lnTo>
                    <a:pt x="0" y="5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accent1">
                  <a:lumMod val="20000"/>
                  <a:lumOff val="8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95" b="0" i="0" u="none" strike="noStrike" kern="1200" cap="none" spc="0" normalizeH="0" baseline="0" noProof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4" name="Freeform 131"/>
            <p:cNvSpPr>
              <a:spLocks/>
            </p:cNvSpPr>
            <p:nvPr/>
          </p:nvSpPr>
          <p:spPr bwMode="auto">
            <a:xfrm>
              <a:off x="5462361" y="2515768"/>
              <a:ext cx="49521" cy="87251"/>
            </a:xfrm>
            <a:custGeom>
              <a:avLst/>
              <a:gdLst>
                <a:gd name="T0" fmla="*/ 649 w 686"/>
                <a:gd name="T1" fmla="*/ 122 h 1216"/>
                <a:gd name="T2" fmla="*/ 615 w 686"/>
                <a:gd name="T3" fmla="*/ 22 h 1216"/>
                <a:gd name="T4" fmla="*/ 595 w 686"/>
                <a:gd name="T5" fmla="*/ 0 h 1216"/>
                <a:gd name="T6" fmla="*/ 567 w 686"/>
                <a:gd name="T7" fmla="*/ 7 h 1216"/>
                <a:gd name="T8" fmla="*/ 546 w 686"/>
                <a:gd name="T9" fmla="*/ 26 h 1216"/>
                <a:gd name="T10" fmla="*/ 529 w 686"/>
                <a:gd name="T11" fmla="*/ 78 h 1216"/>
                <a:gd name="T12" fmla="*/ 543 w 686"/>
                <a:gd name="T13" fmla="*/ 120 h 1216"/>
                <a:gd name="T14" fmla="*/ 559 w 686"/>
                <a:gd name="T15" fmla="*/ 163 h 1216"/>
                <a:gd name="T16" fmla="*/ 542 w 686"/>
                <a:gd name="T17" fmla="*/ 238 h 1216"/>
                <a:gd name="T18" fmla="*/ 517 w 686"/>
                <a:gd name="T19" fmla="*/ 314 h 1216"/>
                <a:gd name="T20" fmla="*/ 485 w 686"/>
                <a:gd name="T21" fmla="*/ 515 h 1216"/>
                <a:gd name="T22" fmla="*/ 428 w 686"/>
                <a:gd name="T23" fmla="*/ 595 h 1216"/>
                <a:gd name="T24" fmla="*/ 425 w 686"/>
                <a:gd name="T25" fmla="*/ 632 h 1216"/>
                <a:gd name="T26" fmla="*/ 418 w 686"/>
                <a:gd name="T27" fmla="*/ 671 h 1216"/>
                <a:gd name="T28" fmla="*/ 396 w 686"/>
                <a:gd name="T29" fmla="*/ 692 h 1216"/>
                <a:gd name="T30" fmla="*/ 356 w 686"/>
                <a:gd name="T31" fmla="*/ 763 h 1216"/>
                <a:gd name="T32" fmla="*/ 309 w 686"/>
                <a:gd name="T33" fmla="*/ 860 h 1216"/>
                <a:gd name="T34" fmla="*/ 249 w 686"/>
                <a:gd name="T35" fmla="*/ 953 h 1216"/>
                <a:gd name="T36" fmla="*/ 197 w 686"/>
                <a:gd name="T37" fmla="*/ 1035 h 1216"/>
                <a:gd name="T38" fmla="*/ 134 w 686"/>
                <a:gd name="T39" fmla="*/ 1087 h 1216"/>
                <a:gd name="T40" fmla="*/ 13 w 686"/>
                <a:gd name="T41" fmla="*/ 1168 h 1216"/>
                <a:gd name="T42" fmla="*/ 0 w 686"/>
                <a:gd name="T43" fmla="*/ 1192 h 1216"/>
                <a:gd name="T44" fmla="*/ 16 w 686"/>
                <a:gd name="T45" fmla="*/ 1209 h 1216"/>
                <a:gd name="T46" fmla="*/ 65 w 686"/>
                <a:gd name="T47" fmla="*/ 1216 h 1216"/>
                <a:gd name="T48" fmla="*/ 141 w 686"/>
                <a:gd name="T49" fmla="*/ 1209 h 1216"/>
                <a:gd name="T50" fmla="*/ 230 w 686"/>
                <a:gd name="T51" fmla="*/ 1177 h 1216"/>
                <a:gd name="T52" fmla="*/ 306 w 686"/>
                <a:gd name="T53" fmla="*/ 1124 h 1216"/>
                <a:gd name="T54" fmla="*/ 337 w 686"/>
                <a:gd name="T55" fmla="*/ 1080 h 1216"/>
                <a:gd name="T56" fmla="*/ 348 w 686"/>
                <a:gd name="T57" fmla="*/ 1040 h 1216"/>
                <a:gd name="T58" fmla="*/ 349 w 686"/>
                <a:gd name="T59" fmla="*/ 976 h 1216"/>
                <a:gd name="T60" fmla="*/ 356 w 686"/>
                <a:gd name="T61" fmla="*/ 936 h 1216"/>
                <a:gd name="T62" fmla="*/ 386 w 686"/>
                <a:gd name="T63" fmla="*/ 923 h 1216"/>
                <a:gd name="T64" fmla="*/ 420 w 686"/>
                <a:gd name="T65" fmla="*/ 888 h 1216"/>
                <a:gd name="T66" fmla="*/ 457 w 686"/>
                <a:gd name="T67" fmla="*/ 832 h 1216"/>
                <a:gd name="T68" fmla="*/ 522 w 686"/>
                <a:gd name="T69" fmla="*/ 796 h 1216"/>
                <a:gd name="T70" fmla="*/ 559 w 686"/>
                <a:gd name="T71" fmla="*/ 768 h 1216"/>
                <a:gd name="T72" fmla="*/ 567 w 686"/>
                <a:gd name="T73" fmla="*/ 725 h 1216"/>
                <a:gd name="T74" fmla="*/ 574 w 686"/>
                <a:gd name="T75" fmla="*/ 697 h 1216"/>
                <a:gd name="T76" fmla="*/ 641 w 686"/>
                <a:gd name="T77" fmla="*/ 620 h 1216"/>
                <a:gd name="T78" fmla="*/ 661 w 686"/>
                <a:gd name="T79" fmla="*/ 579 h 1216"/>
                <a:gd name="T80" fmla="*/ 658 w 686"/>
                <a:gd name="T81" fmla="*/ 555 h 1216"/>
                <a:gd name="T82" fmla="*/ 643 w 686"/>
                <a:gd name="T83" fmla="*/ 547 h 1216"/>
                <a:gd name="T84" fmla="*/ 601 w 686"/>
                <a:gd name="T85" fmla="*/ 538 h 1216"/>
                <a:gd name="T86" fmla="*/ 609 w 686"/>
                <a:gd name="T87" fmla="*/ 498 h 1216"/>
                <a:gd name="T88" fmla="*/ 621 w 686"/>
                <a:gd name="T89" fmla="*/ 498 h 1216"/>
                <a:gd name="T90" fmla="*/ 635 w 686"/>
                <a:gd name="T91" fmla="*/ 494 h 1216"/>
                <a:gd name="T92" fmla="*/ 659 w 686"/>
                <a:gd name="T93" fmla="*/ 479 h 1216"/>
                <a:gd name="T94" fmla="*/ 682 w 686"/>
                <a:gd name="T95" fmla="*/ 426 h 1216"/>
                <a:gd name="T96" fmla="*/ 683 w 686"/>
                <a:gd name="T97" fmla="*/ 380 h 1216"/>
                <a:gd name="T98" fmla="*/ 658 w 686"/>
                <a:gd name="T99" fmla="*/ 300 h 1216"/>
                <a:gd name="T100" fmla="*/ 639 w 686"/>
                <a:gd name="T101" fmla="*/ 266 h 121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686"/>
                <a:gd name="T154" fmla="*/ 0 h 1216"/>
                <a:gd name="T155" fmla="*/ 686 w 686"/>
                <a:gd name="T156" fmla="*/ 1216 h 121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686" h="1216">
                  <a:moveTo>
                    <a:pt x="637" y="266"/>
                  </a:moveTo>
                  <a:lnTo>
                    <a:pt x="655" y="151"/>
                  </a:lnTo>
                  <a:lnTo>
                    <a:pt x="654" y="140"/>
                  </a:lnTo>
                  <a:lnTo>
                    <a:pt x="649" y="122"/>
                  </a:lnTo>
                  <a:lnTo>
                    <a:pt x="642" y="98"/>
                  </a:lnTo>
                  <a:lnTo>
                    <a:pt x="634" y="71"/>
                  </a:lnTo>
                  <a:lnTo>
                    <a:pt x="625" y="44"/>
                  </a:lnTo>
                  <a:lnTo>
                    <a:pt x="615" y="22"/>
                  </a:lnTo>
                  <a:lnTo>
                    <a:pt x="610" y="12"/>
                  </a:lnTo>
                  <a:lnTo>
                    <a:pt x="605" y="6"/>
                  </a:lnTo>
                  <a:lnTo>
                    <a:pt x="599" y="2"/>
                  </a:lnTo>
                  <a:lnTo>
                    <a:pt x="595" y="0"/>
                  </a:lnTo>
                  <a:lnTo>
                    <a:pt x="587" y="0"/>
                  </a:lnTo>
                  <a:lnTo>
                    <a:pt x="581" y="2"/>
                  </a:lnTo>
                  <a:lnTo>
                    <a:pt x="573" y="4"/>
                  </a:lnTo>
                  <a:lnTo>
                    <a:pt x="567" y="7"/>
                  </a:lnTo>
                  <a:lnTo>
                    <a:pt x="561" y="11"/>
                  </a:lnTo>
                  <a:lnTo>
                    <a:pt x="555" y="15"/>
                  </a:lnTo>
                  <a:lnTo>
                    <a:pt x="550" y="20"/>
                  </a:lnTo>
                  <a:lnTo>
                    <a:pt x="546" y="26"/>
                  </a:lnTo>
                  <a:lnTo>
                    <a:pt x="539" y="38"/>
                  </a:lnTo>
                  <a:lnTo>
                    <a:pt x="533" y="51"/>
                  </a:lnTo>
                  <a:lnTo>
                    <a:pt x="530" y="64"/>
                  </a:lnTo>
                  <a:lnTo>
                    <a:pt x="529" y="78"/>
                  </a:lnTo>
                  <a:lnTo>
                    <a:pt x="530" y="91"/>
                  </a:lnTo>
                  <a:lnTo>
                    <a:pt x="534" y="102"/>
                  </a:lnTo>
                  <a:lnTo>
                    <a:pt x="538" y="111"/>
                  </a:lnTo>
                  <a:lnTo>
                    <a:pt x="543" y="120"/>
                  </a:lnTo>
                  <a:lnTo>
                    <a:pt x="550" y="130"/>
                  </a:lnTo>
                  <a:lnTo>
                    <a:pt x="554" y="139"/>
                  </a:lnTo>
                  <a:lnTo>
                    <a:pt x="558" y="150"/>
                  </a:lnTo>
                  <a:lnTo>
                    <a:pt x="559" y="163"/>
                  </a:lnTo>
                  <a:lnTo>
                    <a:pt x="558" y="174"/>
                  </a:lnTo>
                  <a:lnTo>
                    <a:pt x="554" y="191"/>
                  </a:lnTo>
                  <a:lnTo>
                    <a:pt x="549" y="214"/>
                  </a:lnTo>
                  <a:lnTo>
                    <a:pt x="542" y="238"/>
                  </a:lnTo>
                  <a:lnTo>
                    <a:pt x="535" y="263"/>
                  </a:lnTo>
                  <a:lnTo>
                    <a:pt x="529" y="284"/>
                  </a:lnTo>
                  <a:lnTo>
                    <a:pt x="522" y="303"/>
                  </a:lnTo>
                  <a:lnTo>
                    <a:pt x="517" y="314"/>
                  </a:lnTo>
                  <a:lnTo>
                    <a:pt x="517" y="464"/>
                  </a:lnTo>
                  <a:lnTo>
                    <a:pt x="506" y="483"/>
                  </a:lnTo>
                  <a:lnTo>
                    <a:pt x="496" y="499"/>
                  </a:lnTo>
                  <a:lnTo>
                    <a:pt x="485" y="515"/>
                  </a:lnTo>
                  <a:lnTo>
                    <a:pt x="474" y="528"/>
                  </a:lnTo>
                  <a:lnTo>
                    <a:pt x="454" y="555"/>
                  </a:lnTo>
                  <a:lnTo>
                    <a:pt x="433" y="584"/>
                  </a:lnTo>
                  <a:lnTo>
                    <a:pt x="428" y="595"/>
                  </a:lnTo>
                  <a:lnTo>
                    <a:pt x="425" y="605"/>
                  </a:lnTo>
                  <a:lnTo>
                    <a:pt x="424" y="615"/>
                  </a:lnTo>
                  <a:lnTo>
                    <a:pt x="425" y="623"/>
                  </a:lnTo>
                  <a:lnTo>
                    <a:pt x="425" y="632"/>
                  </a:lnTo>
                  <a:lnTo>
                    <a:pt x="425" y="641"/>
                  </a:lnTo>
                  <a:lnTo>
                    <a:pt x="424" y="652"/>
                  </a:lnTo>
                  <a:lnTo>
                    <a:pt x="421" y="663"/>
                  </a:lnTo>
                  <a:lnTo>
                    <a:pt x="418" y="671"/>
                  </a:lnTo>
                  <a:lnTo>
                    <a:pt x="413" y="677"/>
                  </a:lnTo>
                  <a:lnTo>
                    <a:pt x="408" y="683"/>
                  </a:lnTo>
                  <a:lnTo>
                    <a:pt x="402" y="687"/>
                  </a:lnTo>
                  <a:lnTo>
                    <a:pt x="396" y="692"/>
                  </a:lnTo>
                  <a:lnTo>
                    <a:pt x="389" y="699"/>
                  </a:lnTo>
                  <a:lnTo>
                    <a:pt x="384" y="707"/>
                  </a:lnTo>
                  <a:lnTo>
                    <a:pt x="378" y="716"/>
                  </a:lnTo>
                  <a:lnTo>
                    <a:pt x="356" y="763"/>
                  </a:lnTo>
                  <a:lnTo>
                    <a:pt x="338" y="803"/>
                  </a:lnTo>
                  <a:lnTo>
                    <a:pt x="330" y="821"/>
                  </a:lnTo>
                  <a:lnTo>
                    <a:pt x="320" y="840"/>
                  </a:lnTo>
                  <a:lnTo>
                    <a:pt x="309" y="860"/>
                  </a:lnTo>
                  <a:lnTo>
                    <a:pt x="294" y="879"/>
                  </a:lnTo>
                  <a:lnTo>
                    <a:pt x="277" y="904"/>
                  </a:lnTo>
                  <a:lnTo>
                    <a:pt x="262" y="929"/>
                  </a:lnTo>
                  <a:lnTo>
                    <a:pt x="249" y="953"/>
                  </a:lnTo>
                  <a:lnTo>
                    <a:pt x="236" y="977"/>
                  </a:lnTo>
                  <a:lnTo>
                    <a:pt x="221" y="1000"/>
                  </a:lnTo>
                  <a:lnTo>
                    <a:pt x="206" y="1023"/>
                  </a:lnTo>
                  <a:lnTo>
                    <a:pt x="197" y="1035"/>
                  </a:lnTo>
                  <a:lnTo>
                    <a:pt x="189" y="1045"/>
                  </a:lnTo>
                  <a:lnTo>
                    <a:pt x="178" y="1056"/>
                  </a:lnTo>
                  <a:lnTo>
                    <a:pt x="168" y="1065"/>
                  </a:lnTo>
                  <a:lnTo>
                    <a:pt x="134" y="1087"/>
                  </a:lnTo>
                  <a:lnTo>
                    <a:pt x="77" y="1121"/>
                  </a:lnTo>
                  <a:lnTo>
                    <a:pt x="48" y="1141"/>
                  </a:lnTo>
                  <a:lnTo>
                    <a:pt x="22" y="1158"/>
                  </a:lnTo>
                  <a:lnTo>
                    <a:pt x="13" y="1168"/>
                  </a:lnTo>
                  <a:lnTo>
                    <a:pt x="5" y="1174"/>
                  </a:lnTo>
                  <a:lnTo>
                    <a:pt x="1" y="1181"/>
                  </a:lnTo>
                  <a:lnTo>
                    <a:pt x="0" y="1186"/>
                  </a:lnTo>
                  <a:lnTo>
                    <a:pt x="0" y="1192"/>
                  </a:lnTo>
                  <a:lnTo>
                    <a:pt x="1" y="1196"/>
                  </a:lnTo>
                  <a:lnTo>
                    <a:pt x="4" y="1200"/>
                  </a:lnTo>
                  <a:lnTo>
                    <a:pt x="8" y="1204"/>
                  </a:lnTo>
                  <a:lnTo>
                    <a:pt x="16" y="1209"/>
                  </a:lnTo>
                  <a:lnTo>
                    <a:pt x="26" y="1213"/>
                  </a:lnTo>
                  <a:lnTo>
                    <a:pt x="40" y="1214"/>
                  </a:lnTo>
                  <a:lnTo>
                    <a:pt x="53" y="1216"/>
                  </a:lnTo>
                  <a:lnTo>
                    <a:pt x="65" y="1216"/>
                  </a:lnTo>
                  <a:lnTo>
                    <a:pt x="77" y="1216"/>
                  </a:lnTo>
                  <a:lnTo>
                    <a:pt x="97" y="1216"/>
                  </a:lnTo>
                  <a:lnTo>
                    <a:pt x="118" y="1213"/>
                  </a:lnTo>
                  <a:lnTo>
                    <a:pt x="141" y="1209"/>
                  </a:lnTo>
                  <a:lnTo>
                    <a:pt x="162" y="1204"/>
                  </a:lnTo>
                  <a:lnTo>
                    <a:pt x="185" y="1196"/>
                  </a:lnTo>
                  <a:lnTo>
                    <a:pt x="208" y="1188"/>
                  </a:lnTo>
                  <a:lnTo>
                    <a:pt x="230" y="1177"/>
                  </a:lnTo>
                  <a:lnTo>
                    <a:pt x="252" y="1166"/>
                  </a:lnTo>
                  <a:lnTo>
                    <a:pt x="272" y="1153"/>
                  </a:lnTo>
                  <a:lnTo>
                    <a:pt x="290" y="1139"/>
                  </a:lnTo>
                  <a:lnTo>
                    <a:pt x="306" y="1124"/>
                  </a:lnTo>
                  <a:lnTo>
                    <a:pt x="321" y="1107"/>
                  </a:lnTo>
                  <a:lnTo>
                    <a:pt x="326" y="1099"/>
                  </a:lnTo>
                  <a:lnTo>
                    <a:pt x="332" y="1089"/>
                  </a:lnTo>
                  <a:lnTo>
                    <a:pt x="337" y="1080"/>
                  </a:lnTo>
                  <a:lnTo>
                    <a:pt x="341" y="1071"/>
                  </a:lnTo>
                  <a:lnTo>
                    <a:pt x="344" y="1061"/>
                  </a:lnTo>
                  <a:lnTo>
                    <a:pt x="346" y="1051"/>
                  </a:lnTo>
                  <a:lnTo>
                    <a:pt x="348" y="1040"/>
                  </a:lnTo>
                  <a:lnTo>
                    <a:pt x="349" y="1029"/>
                  </a:lnTo>
                  <a:lnTo>
                    <a:pt x="349" y="1007"/>
                  </a:lnTo>
                  <a:lnTo>
                    <a:pt x="349" y="989"/>
                  </a:lnTo>
                  <a:lnTo>
                    <a:pt x="349" y="976"/>
                  </a:lnTo>
                  <a:lnTo>
                    <a:pt x="349" y="964"/>
                  </a:lnTo>
                  <a:lnTo>
                    <a:pt x="349" y="951"/>
                  </a:lnTo>
                  <a:lnTo>
                    <a:pt x="352" y="941"/>
                  </a:lnTo>
                  <a:lnTo>
                    <a:pt x="356" y="936"/>
                  </a:lnTo>
                  <a:lnTo>
                    <a:pt x="361" y="932"/>
                  </a:lnTo>
                  <a:lnTo>
                    <a:pt x="368" y="931"/>
                  </a:lnTo>
                  <a:lnTo>
                    <a:pt x="377" y="927"/>
                  </a:lnTo>
                  <a:lnTo>
                    <a:pt x="386" y="923"/>
                  </a:lnTo>
                  <a:lnTo>
                    <a:pt x="397" y="915"/>
                  </a:lnTo>
                  <a:lnTo>
                    <a:pt x="405" y="908"/>
                  </a:lnTo>
                  <a:lnTo>
                    <a:pt x="413" y="899"/>
                  </a:lnTo>
                  <a:lnTo>
                    <a:pt x="420" y="888"/>
                  </a:lnTo>
                  <a:lnTo>
                    <a:pt x="425" y="877"/>
                  </a:lnTo>
                  <a:lnTo>
                    <a:pt x="436" y="857"/>
                  </a:lnTo>
                  <a:lnTo>
                    <a:pt x="445" y="843"/>
                  </a:lnTo>
                  <a:lnTo>
                    <a:pt x="457" y="832"/>
                  </a:lnTo>
                  <a:lnTo>
                    <a:pt x="469" y="824"/>
                  </a:lnTo>
                  <a:lnTo>
                    <a:pt x="482" y="816"/>
                  </a:lnTo>
                  <a:lnTo>
                    <a:pt x="496" y="808"/>
                  </a:lnTo>
                  <a:lnTo>
                    <a:pt x="522" y="796"/>
                  </a:lnTo>
                  <a:lnTo>
                    <a:pt x="547" y="783"/>
                  </a:lnTo>
                  <a:lnTo>
                    <a:pt x="553" y="779"/>
                  </a:lnTo>
                  <a:lnTo>
                    <a:pt x="557" y="773"/>
                  </a:lnTo>
                  <a:lnTo>
                    <a:pt x="559" y="768"/>
                  </a:lnTo>
                  <a:lnTo>
                    <a:pt x="562" y="761"/>
                  </a:lnTo>
                  <a:lnTo>
                    <a:pt x="565" y="749"/>
                  </a:lnTo>
                  <a:lnTo>
                    <a:pt x="566" y="737"/>
                  </a:lnTo>
                  <a:lnTo>
                    <a:pt x="567" y="725"/>
                  </a:lnTo>
                  <a:lnTo>
                    <a:pt x="569" y="713"/>
                  </a:lnTo>
                  <a:lnTo>
                    <a:pt x="570" y="708"/>
                  </a:lnTo>
                  <a:lnTo>
                    <a:pt x="571" y="703"/>
                  </a:lnTo>
                  <a:lnTo>
                    <a:pt x="574" y="697"/>
                  </a:lnTo>
                  <a:lnTo>
                    <a:pt x="577" y="692"/>
                  </a:lnTo>
                  <a:lnTo>
                    <a:pt x="601" y="668"/>
                  </a:lnTo>
                  <a:lnTo>
                    <a:pt x="629" y="637"/>
                  </a:lnTo>
                  <a:lnTo>
                    <a:pt x="641" y="620"/>
                  </a:lnTo>
                  <a:lnTo>
                    <a:pt x="651" y="603"/>
                  </a:lnTo>
                  <a:lnTo>
                    <a:pt x="655" y="595"/>
                  </a:lnTo>
                  <a:lnTo>
                    <a:pt x="659" y="587"/>
                  </a:lnTo>
                  <a:lnTo>
                    <a:pt x="661" y="579"/>
                  </a:lnTo>
                  <a:lnTo>
                    <a:pt x="662" y="572"/>
                  </a:lnTo>
                  <a:lnTo>
                    <a:pt x="661" y="566"/>
                  </a:lnTo>
                  <a:lnTo>
                    <a:pt x="659" y="559"/>
                  </a:lnTo>
                  <a:lnTo>
                    <a:pt x="658" y="555"/>
                  </a:lnTo>
                  <a:lnTo>
                    <a:pt x="654" y="552"/>
                  </a:lnTo>
                  <a:lnTo>
                    <a:pt x="651" y="550"/>
                  </a:lnTo>
                  <a:lnTo>
                    <a:pt x="647" y="548"/>
                  </a:lnTo>
                  <a:lnTo>
                    <a:pt x="643" y="547"/>
                  </a:lnTo>
                  <a:lnTo>
                    <a:pt x="638" y="547"/>
                  </a:lnTo>
                  <a:lnTo>
                    <a:pt x="618" y="551"/>
                  </a:lnTo>
                  <a:lnTo>
                    <a:pt x="601" y="554"/>
                  </a:lnTo>
                  <a:lnTo>
                    <a:pt x="601" y="538"/>
                  </a:lnTo>
                  <a:lnTo>
                    <a:pt x="601" y="522"/>
                  </a:lnTo>
                  <a:lnTo>
                    <a:pt x="601" y="507"/>
                  </a:lnTo>
                  <a:lnTo>
                    <a:pt x="601" y="494"/>
                  </a:lnTo>
                  <a:lnTo>
                    <a:pt x="609" y="498"/>
                  </a:lnTo>
                  <a:lnTo>
                    <a:pt x="614" y="499"/>
                  </a:lnTo>
                  <a:lnTo>
                    <a:pt x="617" y="499"/>
                  </a:lnTo>
                  <a:lnTo>
                    <a:pt x="618" y="499"/>
                  </a:lnTo>
                  <a:lnTo>
                    <a:pt x="621" y="498"/>
                  </a:lnTo>
                  <a:lnTo>
                    <a:pt x="622" y="495"/>
                  </a:lnTo>
                  <a:lnTo>
                    <a:pt x="626" y="495"/>
                  </a:lnTo>
                  <a:lnTo>
                    <a:pt x="631" y="494"/>
                  </a:lnTo>
                  <a:lnTo>
                    <a:pt x="635" y="494"/>
                  </a:lnTo>
                  <a:lnTo>
                    <a:pt x="641" y="492"/>
                  </a:lnTo>
                  <a:lnTo>
                    <a:pt x="645" y="490"/>
                  </a:lnTo>
                  <a:lnTo>
                    <a:pt x="650" y="487"/>
                  </a:lnTo>
                  <a:lnTo>
                    <a:pt x="659" y="479"/>
                  </a:lnTo>
                  <a:lnTo>
                    <a:pt x="667" y="467"/>
                  </a:lnTo>
                  <a:lnTo>
                    <a:pt x="674" y="454"/>
                  </a:lnTo>
                  <a:lnTo>
                    <a:pt x="681" y="435"/>
                  </a:lnTo>
                  <a:lnTo>
                    <a:pt x="682" y="426"/>
                  </a:lnTo>
                  <a:lnTo>
                    <a:pt x="685" y="415"/>
                  </a:lnTo>
                  <a:lnTo>
                    <a:pt x="685" y="403"/>
                  </a:lnTo>
                  <a:lnTo>
                    <a:pt x="686" y="391"/>
                  </a:lnTo>
                  <a:lnTo>
                    <a:pt x="683" y="380"/>
                  </a:lnTo>
                  <a:lnTo>
                    <a:pt x="679" y="364"/>
                  </a:lnTo>
                  <a:lnTo>
                    <a:pt x="674" y="343"/>
                  </a:lnTo>
                  <a:lnTo>
                    <a:pt x="666" y="322"/>
                  </a:lnTo>
                  <a:lnTo>
                    <a:pt x="658" y="300"/>
                  </a:lnTo>
                  <a:lnTo>
                    <a:pt x="650" y="282"/>
                  </a:lnTo>
                  <a:lnTo>
                    <a:pt x="646" y="275"/>
                  </a:lnTo>
                  <a:lnTo>
                    <a:pt x="643" y="270"/>
                  </a:lnTo>
                  <a:lnTo>
                    <a:pt x="639" y="266"/>
                  </a:lnTo>
                  <a:lnTo>
                    <a:pt x="637" y="266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 cap="flat" cmpd="sng">
              <a:solidFill>
                <a:schemeClr val="accent1">
                  <a:lumMod val="20000"/>
                  <a:lumOff val="80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95" b="0" i="0" u="none" strike="noStrike" kern="1200" cap="none" spc="0" normalizeH="0" baseline="0" noProof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5" name="Freeform 132"/>
            <p:cNvSpPr>
              <a:spLocks/>
            </p:cNvSpPr>
            <p:nvPr/>
          </p:nvSpPr>
          <p:spPr bwMode="auto">
            <a:xfrm>
              <a:off x="4857262" y="2231847"/>
              <a:ext cx="22167" cy="30420"/>
            </a:xfrm>
            <a:custGeom>
              <a:avLst/>
              <a:gdLst>
                <a:gd name="T0" fmla="*/ 244 w 308"/>
                <a:gd name="T1" fmla="*/ 21 h 428"/>
                <a:gd name="T2" fmla="*/ 222 w 308"/>
                <a:gd name="T3" fmla="*/ 29 h 428"/>
                <a:gd name="T4" fmla="*/ 213 w 308"/>
                <a:gd name="T5" fmla="*/ 24 h 428"/>
                <a:gd name="T6" fmla="*/ 204 w 308"/>
                <a:gd name="T7" fmla="*/ 11 h 428"/>
                <a:gd name="T8" fmla="*/ 190 w 308"/>
                <a:gd name="T9" fmla="*/ 5 h 428"/>
                <a:gd name="T10" fmla="*/ 166 w 308"/>
                <a:gd name="T11" fmla="*/ 12 h 428"/>
                <a:gd name="T12" fmla="*/ 130 w 308"/>
                <a:gd name="T13" fmla="*/ 17 h 428"/>
                <a:gd name="T14" fmla="*/ 116 w 308"/>
                <a:gd name="T15" fmla="*/ 32 h 428"/>
                <a:gd name="T16" fmla="*/ 112 w 308"/>
                <a:gd name="T17" fmla="*/ 61 h 428"/>
                <a:gd name="T18" fmla="*/ 113 w 308"/>
                <a:gd name="T19" fmla="*/ 89 h 428"/>
                <a:gd name="T20" fmla="*/ 112 w 308"/>
                <a:gd name="T21" fmla="*/ 115 h 428"/>
                <a:gd name="T22" fmla="*/ 102 w 308"/>
                <a:gd name="T23" fmla="*/ 141 h 428"/>
                <a:gd name="T24" fmla="*/ 88 w 308"/>
                <a:gd name="T25" fmla="*/ 168 h 428"/>
                <a:gd name="T26" fmla="*/ 61 w 308"/>
                <a:gd name="T27" fmla="*/ 207 h 428"/>
                <a:gd name="T28" fmla="*/ 34 w 308"/>
                <a:gd name="T29" fmla="*/ 244 h 428"/>
                <a:gd name="T30" fmla="*/ 20 w 308"/>
                <a:gd name="T31" fmla="*/ 271 h 428"/>
                <a:gd name="T32" fmla="*/ 8 w 308"/>
                <a:gd name="T33" fmla="*/ 300 h 428"/>
                <a:gd name="T34" fmla="*/ 1 w 308"/>
                <a:gd name="T35" fmla="*/ 332 h 428"/>
                <a:gd name="T36" fmla="*/ 1 w 308"/>
                <a:gd name="T37" fmla="*/ 353 h 428"/>
                <a:gd name="T38" fmla="*/ 13 w 308"/>
                <a:gd name="T39" fmla="*/ 361 h 428"/>
                <a:gd name="T40" fmla="*/ 42 w 308"/>
                <a:gd name="T41" fmla="*/ 379 h 428"/>
                <a:gd name="T42" fmla="*/ 114 w 308"/>
                <a:gd name="T43" fmla="*/ 415 h 428"/>
                <a:gd name="T44" fmla="*/ 174 w 308"/>
                <a:gd name="T45" fmla="*/ 428 h 428"/>
                <a:gd name="T46" fmla="*/ 178 w 308"/>
                <a:gd name="T47" fmla="*/ 413 h 428"/>
                <a:gd name="T48" fmla="*/ 184 w 308"/>
                <a:gd name="T49" fmla="*/ 404 h 428"/>
                <a:gd name="T50" fmla="*/ 190 w 308"/>
                <a:gd name="T51" fmla="*/ 399 h 428"/>
                <a:gd name="T52" fmla="*/ 200 w 308"/>
                <a:gd name="T53" fmla="*/ 396 h 428"/>
                <a:gd name="T54" fmla="*/ 221 w 308"/>
                <a:gd name="T55" fmla="*/ 393 h 428"/>
                <a:gd name="T56" fmla="*/ 248 w 308"/>
                <a:gd name="T57" fmla="*/ 387 h 428"/>
                <a:gd name="T58" fmla="*/ 258 w 308"/>
                <a:gd name="T59" fmla="*/ 377 h 428"/>
                <a:gd name="T60" fmla="*/ 269 w 308"/>
                <a:gd name="T61" fmla="*/ 364 h 428"/>
                <a:gd name="T62" fmla="*/ 289 w 308"/>
                <a:gd name="T63" fmla="*/ 327 h 428"/>
                <a:gd name="T64" fmla="*/ 302 w 308"/>
                <a:gd name="T65" fmla="*/ 284 h 428"/>
                <a:gd name="T66" fmla="*/ 308 w 308"/>
                <a:gd name="T67" fmla="*/ 241 h 428"/>
                <a:gd name="T68" fmla="*/ 305 w 308"/>
                <a:gd name="T69" fmla="*/ 211 h 428"/>
                <a:gd name="T70" fmla="*/ 298 w 308"/>
                <a:gd name="T71" fmla="*/ 181 h 428"/>
                <a:gd name="T72" fmla="*/ 292 w 308"/>
                <a:gd name="T73" fmla="*/ 152 h 428"/>
                <a:gd name="T74" fmla="*/ 289 w 308"/>
                <a:gd name="T75" fmla="*/ 121 h 428"/>
                <a:gd name="T76" fmla="*/ 292 w 308"/>
                <a:gd name="T77" fmla="*/ 100 h 428"/>
                <a:gd name="T78" fmla="*/ 298 w 308"/>
                <a:gd name="T79" fmla="*/ 81 h 428"/>
                <a:gd name="T80" fmla="*/ 305 w 308"/>
                <a:gd name="T81" fmla="*/ 64 h 428"/>
                <a:gd name="T82" fmla="*/ 308 w 308"/>
                <a:gd name="T83" fmla="*/ 43 h 428"/>
                <a:gd name="T84" fmla="*/ 305 w 308"/>
                <a:gd name="T85" fmla="*/ 29 h 428"/>
                <a:gd name="T86" fmla="*/ 305 w 308"/>
                <a:gd name="T87" fmla="*/ 21 h 428"/>
                <a:gd name="T88" fmla="*/ 308 w 308"/>
                <a:gd name="T89" fmla="*/ 12 h 428"/>
                <a:gd name="T90" fmla="*/ 281 w 308"/>
                <a:gd name="T91" fmla="*/ 12 h 428"/>
                <a:gd name="T92" fmla="*/ 260 w 308"/>
                <a:gd name="T93" fmla="*/ 12 h 428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308"/>
                <a:gd name="T142" fmla="*/ 0 h 428"/>
                <a:gd name="T143" fmla="*/ 308 w 308"/>
                <a:gd name="T144" fmla="*/ 428 h 428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308" h="428">
                  <a:moveTo>
                    <a:pt x="260" y="12"/>
                  </a:moveTo>
                  <a:lnTo>
                    <a:pt x="244" y="21"/>
                  </a:lnTo>
                  <a:lnTo>
                    <a:pt x="229" y="31"/>
                  </a:lnTo>
                  <a:lnTo>
                    <a:pt x="222" y="29"/>
                  </a:lnTo>
                  <a:lnTo>
                    <a:pt x="217" y="28"/>
                  </a:lnTo>
                  <a:lnTo>
                    <a:pt x="213" y="24"/>
                  </a:lnTo>
                  <a:lnTo>
                    <a:pt x="209" y="20"/>
                  </a:lnTo>
                  <a:lnTo>
                    <a:pt x="204" y="11"/>
                  </a:lnTo>
                  <a:lnTo>
                    <a:pt x="198" y="0"/>
                  </a:lnTo>
                  <a:lnTo>
                    <a:pt x="190" y="5"/>
                  </a:lnTo>
                  <a:lnTo>
                    <a:pt x="180" y="8"/>
                  </a:lnTo>
                  <a:lnTo>
                    <a:pt x="166" y="12"/>
                  </a:lnTo>
                  <a:lnTo>
                    <a:pt x="153" y="15"/>
                  </a:lnTo>
                  <a:lnTo>
                    <a:pt x="130" y="17"/>
                  </a:lnTo>
                  <a:lnTo>
                    <a:pt x="121" y="19"/>
                  </a:lnTo>
                  <a:lnTo>
                    <a:pt x="116" y="32"/>
                  </a:lnTo>
                  <a:lnTo>
                    <a:pt x="113" y="47"/>
                  </a:lnTo>
                  <a:lnTo>
                    <a:pt x="112" y="61"/>
                  </a:lnTo>
                  <a:lnTo>
                    <a:pt x="112" y="75"/>
                  </a:lnTo>
                  <a:lnTo>
                    <a:pt x="113" y="89"/>
                  </a:lnTo>
                  <a:lnTo>
                    <a:pt x="113" y="103"/>
                  </a:lnTo>
                  <a:lnTo>
                    <a:pt x="112" y="115"/>
                  </a:lnTo>
                  <a:lnTo>
                    <a:pt x="109" y="127"/>
                  </a:lnTo>
                  <a:lnTo>
                    <a:pt x="102" y="141"/>
                  </a:lnTo>
                  <a:lnTo>
                    <a:pt x="96" y="155"/>
                  </a:lnTo>
                  <a:lnTo>
                    <a:pt x="88" y="168"/>
                  </a:lnTo>
                  <a:lnTo>
                    <a:pt x="78" y="181"/>
                  </a:lnTo>
                  <a:lnTo>
                    <a:pt x="61" y="207"/>
                  </a:lnTo>
                  <a:lnTo>
                    <a:pt x="44" y="232"/>
                  </a:lnTo>
                  <a:lnTo>
                    <a:pt x="34" y="244"/>
                  </a:lnTo>
                  <a:lnTo>
                    <a:pt x="26" y="257"/>
                  </a:lnTo>
                  <a:lnTo>
                    <a:pt x="20" y="271"/>
                  </a:lnTo>
                  <a:lnTo>
                    <a:pt x="13" y="285"/>
                  </a:lnTo>
                  <a:lnTo>
                    <a:pt x="8" y="300"/>
                  </a:lnTo>
                  <a:lnTo>
                    <a:pt x="4" y="316"/>
                  </a:lnTo>
                  <a:lnTo>
                    <a:pt x="1" y="332"/>
                  </a:lnTo>
                  <a:lnTo>
                    <a:pt x="0" y="349"/>
                  </a:lnTo>
                  <a:lnTo>
                    <a:pt x="1" y="353"/>
                  </a:lnTo>
                  <a:lnTo>
                    <a:pt x="6" y="356"/>
                  </a:lnTo>
                  <a:lnTo>
                    <a:pt x="13" y="361"/>
                  </a:lnTo>
                  <a:lnTo>
                    <a:pt x="21" y="367"/>
                  </a:lnTo>
                  <a:lnTo>
                    <a:pt x="42" y="379"/>
                  </a:lnTo>
                  <a:lnTo>
                    <a:pt x="68" y="391"/>
                  </a:lnTo>
                  <a:lnTo>
                    <a:pt x="114" y="415"/>
                  </a:lnTo>
                  <a:lnTo>
                    <a:pt x="138" y="428"/>
                  </a:lnTo>
                  <a:lnTo>
                    <a:pt x="174" y="428"/>
                  </a:lnTo>
                  <a:lnTo>
                    <a:pt x="176" y="420"/>
                  </a:lnTo>
                  <a:lnTo>
                    <a:pt x="178" y="413"/>
                  </a:lnTo>
                  <a:lnTo>
                    <a:pt x="181" y="408"/>
                  </a:lnTo>
                  <a:lnTo>
                    <a:pt x="184" y="404"/>
                  </a:lnTo>
                  <a:lnTo>
                    <a:pt x="186" y="401"/>
                  </a:lnTo>
                  <a:lnTo>
                    <a:pt x="190" y="399"/>
                  </a:lnTo>
                  <a:lnTo>
                    <a:pt x="196" y="397"/>
                  </a:lnTo>
                  <a:lnTo>
                    <a:pt x="200" y="396"/>
                  </a:lnTo>
                  <a:lnTo>
                    <a:pt x="210" y="395"/>
                  </a:lnTo>
                  <a:lnTo>
                    <a:pt x="221" y="393"/>
                  </a:lnTo>
                  <a:lnTo>
                    <a:pt x="234" y="391"/>
                  </a:lnTo>
                  <a:lnTo>
                    <a:pt x="248" y="387"/>
                  </a:lnTo>
                  <a:lnTo>
                    <a:pt x="253" y="383"/>
                  </a:lnTo>
                  <a:lnTo>
                    <a:pt x="258" y="377"/>
                  </a:lnTo>
                  <a:lnTo>
                    <a:pt x="264" y="371"/>
                  </a:lnTo>
                  <a:lnTo>
                    <a:pt x="269" y="364"/>
                  </a:lnTo>
                  <a:lnTo>
                    <a:pt x="280" y="347"/>
                  </a:lnTo>
                  <a:lnTo>
                    <a:pt x="289" y="327"/>
                  </a:lnTo>
                  <a:lnTo>
                    <a:pt x="296" y="307"/>
                  </a:lnTo>
                  <a:lnTo>
                    <a:pt x="302" y="284"/>
                  </a:lnTo>
                  <a:lnTo>
                    <a:pt x="306" y="263"/>
                  </a:lnTo>
                  <a:lnTo>
                    <a:pt x="308" y="241"/>
                  </a:lnTo>
                  <a:lnTo>
                    <a:pt x="306" y="225"/>
                  </a:lnTo>
                  <a:lnTo>
                    <a:pt x="305" y="211"/>
                  </a:lnTo>
                  <a:lnTo>
                    <a:pt x="301" y="196"/>
                  </a:lnTo>
                  <a:lnTo>
                    <a:pt x="298" y="181"/>
                  </a:lnTo>
                  <a:lnTo>
                    <a:pt x="294" y="167"/>
                  </a:lnTo>
                  <a:lnTo>
                    <a:pt x="292" y="152"/>
                  </a:lnTo>
                  <a:lnTo>
                    <a:pt x="290" y="136"/>
                  </a:lnTo>
                  <a:lnTo>
                    <a:pt x="289" y="121"/>
                  </a:lnTo>
                  <a:lnTo>
                    <a:pt x="290" y="111"/>
                  </a:lnTo>
                  <a:lnTo>
                    <a:pt x="292" y="100"/>
                  </a:lnTo>
                  <a:lnTo>
                    <a:pt x="294" y="91"/>
                  </a:lnTo>
                  <a:lnTo>
                    <a:pt x="298" y="81"/>
                  </a:lnTo>
                  <a:lnTo>
                    <a:pt x="301" y="73"/>
                  </a:lnTo>
                  <a:lnTo>
                    <a:pt x="305" y="64"/>
                  </a:lnTo>
                  <a:lnTo>
                    <a:pt x="306" y="53"/>
                  </a:lnTo>
                  <a:lnTo>
                    <a:pt x="308" y="43"/>
                  </a:lnTo>
                  <a:lnTo>
                    <a:pt x="306" y="37"/>
                  </a:lnTo>
                  <a:lnTo>
                    <a:pt x="305" y="29"/>
                  </a:lnTo>
                  <a:lnTo>
                    <a:pt x="305" y="25"/>
                  </a:lnTo>
                  <a:lnTo>
                    <a:pt x="305" y="21"/>
                  </a:lnTo>
                  <a:lnTo>
                    <a:pt x="305" y="17"/>
                  </a:lnTo>
                  <a:lnTo>
                    <a:pt x="308" y="12"/>
                  </a:lnTo>
                  <a:lnTo>
                    <a:pt x="292" y="12"/>
                  </a:lnTo>
                  <a:lnTo>
                    <a:pt x="281" y="12"/>
                  </a:lnTo>
                  <a:lnTo>
                    <a:pt x="270" y="12"/>
                  </a:lnTo>
                  <a:lnTo>
                    <a:pt x="260" y="12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accent1">
                  <a:lumMod val="20000"/>
                  <a:lumOff val="8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95" b="0" i="0" u="none" strike="noStrike" kern="1200" cap="none" spc="0" normalizeH="0" baseline="0" noProof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6" name="Freeform 133"/>
            <p:cNvSpPr>
              <a:spLocks/>
            </p:cNvSpPr>
            <p:nvPr/>
          </p:nvSpPr>
          <p:spPr bwMode="auto">
            <a:xfrm>
              <a:off x="4894992" y="2242459"/>
              <a:ext cx="22403" cy="33014"/>
            </a:xfrm>
            <a:custGeom>
              <a:avLst/>
              <a:gdLst>
                <a:gd name="T0" fmla="*/ 191 w 313"/>
                <a:gd name="T1" fmla="*/ 305 h 458"/>
                <a:gd name="T2" fmla="*/ 199 w 313"/>
                <a:gd name="T3" fmla="*/ 286 h 458"/>
                <a:gd name="T4" fmla="*/ 211 w 313"/>
                <a:gd name="T5" fmla="*/ 241 h 458"/>
                <a:gd name="T6" fmla="*/ 227 w 313"/>
                <a:gd name="T7" fmla="*/ 214 h 458"/>
                <a:gd name="T8" fmla="*/ 269 w 313"/>
                <a:gd name="T9" fmla="*/ 178 h 458"/>
                <a:gd name="T10" fmla="*/ 293 w 313"/>
                <a:gd name="T11" fmla="*/ 156 h 458"/>
                <a:gd name="T12" fmla="*/ 310 w 313"/>
                <a:gd name="T13" fmla="*/ 126 h 458"/>
                <a:gd name="T14" fmla="*/ 313 w 313"/>
                <a:gd name="T15" fmla="*/ 89 h 458"/>
                <a:gd name="T16" fmla="*/ 297 w 313"/>
                <a:gd name="T17" fmla="*/ 40 h 458"/>
                <a:gd name="T18" fmla="*/ 275 w 313"/>
                <a:gd name="T19" fmla="*/ 6 h 458"/>
                <a:gd name="T20" fmla="*/ 259 w 313"/>
                <a:gd name="T21" fmla="*/ 0 h 458"/>
                <a:gd name="T22" fmla="*/ 245 w 313"/>
                <a:gd name="T23" fmla="*/ 12 h 458"/>
                <a:gd name="T24" fmla="*/ 231 w 313"/>
                <a:gd name="T25" fmla="*/ 36 h 458"/>
                <a:gd name="T26" fmla="*/ 230 w 313"/>
                <a:gd name="T27" fmla="*/ 54 h 458"/>
                <a:gd name="T28" fmla="*/ 241 w 313"/>
                <a:gd name="T29" fmla="*/ 74 h 458"/>
                <a:gd name="T30" fmla="*/ 251 w 313"/>
                <a:gd name="T31" fmla="*/ 102 h 458"/>
                <a:gd name="T32" fmla="*/ 251 w 313"/>
                <a:gd name="T33" fmla="*/ 140 h 458"/>
                <a:gd name="T34" fmla="*/ 242 w 313"/>
                <a:gd name="T35" fmla="*/ 165 h 458"/>
                <a:gd name="T36" fmla="*/ 217 w 313"/>
                <a:gd name="T37" fmla="*/ 174 h 458"/>
                <a:gd name="T38" fmla="*/ 203 w 313"/>
                <a:gd name="T39" fmla="*/ 172 h 458"/>
                <a:gd name="T40" fmla="*/ 199 w 313"/>
                <a:gd name="T41" fmla="*/ 150 h 458"/>
                <a:gd name="T42" fmla="*/ 169 w 313"/>
                <a:gd name="T43" fmla="*/ 157 h 458"/>
                <a:gd name="T44" fmla="*/ 157 w 313"/>
                <a:gd name="T45" fmla="*/ 150 h 458"/>
                <a:gd name="T46" fmla="*/ 167 w 313"/>
                <a:gd name="T47" fmla="*/ 118 h 458"/>
                <a:gd name="T48" fmla="*/ 186 w 313"/>
                <a:gd name="T49" fmla="*/ 78 h 458"/>
                <a:gd name="T50" fmla="*/ 175 w 313"/>
                <a:gd name="T51" fmla="*/ 60 h 458"/>
                <a:gd name="T52" fmla="*/ 159 w 313"/>
                <a:gd name="T53" fmla="*/ 76 h 458"/>
                <a:gd name="T54" fmla="*/ 143 w 313"/>
                <a:gd name="T55" fmla="*/ 102 h 458"/>
                <a:gd name="T56" fmla="*/ 131 w 313"/>
                <a:gd name="T57" fmla="*/ 112 h 458"/>
                <a:gd name="T58" fmla="*/ 134 w 313"/>
                <a:gd name="T59" fmla="*/ 72 h 458"/>
                <a:gd name="T60" fmla="*/ 143 w 313"/>
                <a:gd name="T61" fmla="*/ 52 h 458"/>
                <a:gd name="T62" fmla="*/ 137 w 313"/>
                <a:gd name="T63" fmla="*/ 25 h 458"/>
                <a:gd name="T64" fmla="*/ 121 w 313"/>
                <a:gd name="T65" fmla="*/ 42 h 458"/>
                <a:gd name="T66" fmla="*/ 107 w 313"/>
                <a:gd name="T67" fmla="*/ 105 h 458"/>
                <a:gd name="T68" fmla="*/ 102 w 313"/>
                <a:gd name="T69" fmla="*/ 162 h 458"/>
                <a:gd name="T70" fmla="*/ 75 w 313"/>
                <a:gd name="T71" fmla="*/ 160 h 458"/>
                <a:gd name="T72" fmla="*/ 66 w 313"/>
                <a:gd name="T73" fmla="*/ 150 h 458"/>
                <a:gd name="T74" fmla="*/ 55 w 313"/>
                <a:gd name="T75" fmla="*/ 178 h 458"/>
                <a:gd name="T76" fmla="*/ 55 w 313"/>
                <a:gd name="T77" fmla="*/ 222 h 458"/>
                <a:gd name="T78" fmla="*/ 62 w 313"/>
                <a:gd name="T79" fmla="*/ 268 h 458"/>
                <a:gd name="T80" fmla="*/ 66 w 313"/>
                <a:gd name="T81" fmla="*/ 319 h 458"/>
                <a:gd name="T82" fmla="*/ 61 w 313"/>
                <a:gd name="T83" fmla="*/ 353 h 458"/>
                <a:gd name="T84" fmla="*/ 45 w 313"/>
                <a:gd name="T85" fmla="*/ 374 h 458"/>
                <a:gd name="T86" fmla="*/ 21 w 313"/>
                <a:gd name="T87" fmla="*/ 394 h 458"/>
                <a:gd name="T88" fmla="*/ 4 w 313"/>
                <a:gd name="T89" fmla="*/ 414 h 458"/>
                <a:gd name="T90" fmla="*/ 1 w 313"/>
                <a:gd name="T91" fmla="*/ 431 h 458"/>
                <a:gd name="T92" fmla="*/ 12 w 313"/>
                <a:gd name="T93" fmla="*/ 442 h 458"/>
                <a:gd name="T94" fmla="*/ 69 w 313"/>
                <a:gd name="T95" fmla="*/ 457 h 458"/>
                <a:gd name="T96" fmla="*/ 106 w 313"/>
                <a:gd name="T97" fmla="*/ 455 h 458"/>
                <a:gd name="T98" fmla="*/ 123 w 313"/>
                <a:gd name="T99" fmla="*/ 447 h 458"/>
                <a:gd name="T100" fmla="*/ 135 w 313"/>
                <a:gd name="T101" fmla="*/ 434 h 458"/>
                <a:gd name="T102" fmla="*/ 150 w 313"/>
                <a:gd name="T103" fmla="*/ 397 h 458"/>
                <a:gd name="T104" fmla="*/ 162 w 313"/>
                <a:gd name="T105" fmla="*/ 330 h 458"/>
                <a:gd name="T106" fmla="*/ 174 w 313"/>
                <a:gd name="T107" fmla="*/ 311 h 458"/>
                <a:gd name="T108" fmla="*/ 186 w 313"/>
                <a:gd name="T109" fmla="*/ 307 h 45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313"/>
                <a:gd name="T166" fmla="*/ 0 h 458"/>
                <a:gd name="T167" fmla="*/ 313 w 313"/>
                <a:gd name="T168" fmla="*/ 458 h 45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313" h="458">
                  <a:moveTo>
                    <a:pt x="186" y="307"/>
                  </a:moveTo>
                  <a:lnTo>
                    <a:pt x="189" y="306"/>
                  </a:lnTo>
                  <a:lnTo>
                    <a:pt x="191" y="305"/>
                  </a:lnTo>
                  <a:lnTo>
                    <a:pt x="193" y="301"/>
                  </a:lnTo>
                  <a:lnTo>
                    <a:pt x="195" y="297"/>
                  </a:lnTo>
                  <a:lnTo>
                    <a:pt x="199" y="286"/>
                  </a:lnTo>
                  <a:lnTo>
                    <a:pt x="203" y="274"/>
                  </a:lnTo>
                  <a:lnTo>
                    <a:pt x="209" y="252"/>
                  </a:lnTo>
                  <a:lnTo>
                    <a:pt x="211" y="241"/>
                  </a:lnTo>
                  <a:lnTo>
                    <a:pt x="215" y="232"/>
                  </a:lnTo>
                  <a:lnTo>
                    <a:pt x="221" y="222"/>
                  </a:lnTo>
                  <a:lnTo>
                    <a:pt x="227" y="214"/>
                  </a:lnTo>
                  <a:lnTo>
                    <a:pt x="234" y="206"/>
                  </a:lnTo>
                  <a:lnTo>
                    <a:pt x="251" y="193"/>
                  </a:lnTo>
                  <a:lnTo>
                    <a:pt x="269" y="178"/>
                  </a:lnTo>
                  <a:lnTo>
                    <a:pt x="277" y="172"/>
                  </a:lnTo>
                  <a:lnTo>
                    <a:pt x="286" y="164"/>
                  </a:lnTo>
                  <a:lnTo>
                    <a:pt x="293" y="156"/>
                  </a:lnTo>
                  <a:lnTo>
                    <a:pt x="299" y="148"/>
                  </a:lnTo>
                  <a:lnTo>
                    <a:pt x="305" y="137"/>
                  </a:lnTo>
                  <a:lnTo>
                    <a:pt x="310" y="126"/>
                  </a:lnTo>
                  <a:lnTo>
                    <a:pt x="313" y="116"/>
                  </a:lnTo>
                  <a:lnTo>
                    <a:pt x="313" y="102"/>
                  </a:lnTo>
                  <a:lnTo>
                    <a:pt x="313" y="89"/>
                  </a:lnTo>
                  <a:lnTo>
                    <a:pt x="309" y="74"/>
                  </a:lnTo>
                  <a:lnTo>
                    <a:pt x="303" y="57"/>
                  </a:lnTo>
                  <a:lnTo>
                    <a:pt x="297" y="40"/>
                  </a:lnTo>
                  <a:lnTo>
                    <a:pt x="289" y="25"/>
                  </a:lnTo>
                  <a:lnTo>
                    <a:pt x="281" y="12"/>
                  </a:lnTo>
                  <a:lnTo>
                    <a:pt x="275" y="6"/>
                  </a:lnTo>
                  <a:lnTo>
                    <a:pt x="270" y="4"/>
                  </a:lnTo>
                  <a:lnTo>
                    <a:pt x="265" y="1"/>
                  </a:lnTo>
                  <a:lnTo>
                    <a:pt x="259" y="0"/>
                  </a:lnTo>
                  <a:lnTo>
                    <a:pt x="254" y="2"/>
                  </a:lnTo>
                  <a:lnTo>
                    <a:pt x="249" y="6"/>
                  </a:lnTo>
                  <a:lnTo>
                    <a:pt x="245" y="12"/>
                  </a:lnTo>
                  <a:lnTo>
                    <a:pt x="239" y="20"/>
                  </a:lnTo>
                  <a:lnTo>
                    <a:pt x="235" y="28"/>
                  </a:lnTo>
                  <a:lnTo>
                    <a:pt x="231" y="36"/>
                  </a:lnTo>
                  <a:lnTo>
                    <a:pt x="230" y="42"/>
                  </a:lnTo>
                  <a:lnTo>
                    <a:pt x="229" y="48"/>
                  </a:lnTo>
                  <a:lnTo>
                    <a:pt x="230" y="54"/>
                  </a:lnTo>
                  <a:lnTo>
                    <a:pt x="233" y="61"/>
                  </a:lnTo>
                  <a:lnTo>
                    <a:pt x="237" y="68"/>
                  </a:lnTo>
                  <a:lnTo>
                    <a:pt x="241" y="74"/>
                  </a:lnTo>
                  <a:lnTo>
                    <a:pt x="245" y="82"/>
                  </a:lnTo>
                  <a:lnTo>
                    <a:pt x="249" y="92"/>
                  </a:lnTo>
                  <a:lnTo>
                    <a:pt x="251" y="102"/>
                  </a:lnTo>
                  <a:lnTo>
                    <a:pt x="253" y="114"/>
                  </a:lnTo>
                  <a:lnTo>
                    <a:pt x="253" y="128"/>
                  </a:lnTo>
                  <a:lnTo>
                    <a:pt x="251" y="140"/>
                  </a:lnTo>
                  <a:lnTo>
                    <a:pt x="250" y="149"/>
                  </a:lnTo>
                  <a:lnTo>
                    <a:pt x="246" y="158"/>
                  </a:lnTo>
                  <a:lnTo>
                    <a:pt x="242" y="165"/>
                  </a:lnTo>
                  <a:lnTo>
                    <a:pt x="235" y="170"/>
                  </a:lnTo>
                  <a:lnTo>
                    <a:pt x="227" y="174"/>
                  </a:lnTo>
                  <a:lnTo>
                    <a:pt x="217" y="174"/>
                  </a:lnTo>
                  <a:lnTo>
                    <a:pt x="211" y="174"/>
                  </a:lnTo>
                  <a:lnTo>
                    <a:pt x="206" y="173"/>
                  </a:lnTo>
                  <a:lnTo>
                    <a:pt x="203" y="172"/>
                  </a:lnTo>
                  <a:lnTo>
                    <a:pt x="201" y="169"/>
                  </a:lnTo>
                  <a:lnTo>
                    <a:pt x="199" y="162"/>
                  </a:lnTo>
                  <a:lnTo>
                    <a:pt x="199" y="150"/>
                  </a:lnTo>
                  <a:lnTo>
                    <a:pt x="179" y="154"/>
                  </a:lnTo>
                  <a:lnTo>
                    <a:pt x="171" y="157"/>
                  </a:lnTo>
                  <a:lnTo>
                    <a:pt x="169" y="157"/>
                  </a:lnTo>
                  <a:lnTo>
                    <a:pt x="166" y="157"/>
                  </a:lnTo>
                  <a:lnTo>
                    <a:pt x="162" y="154"/>
                  </a:lnTo>
                  <a:lnTo>
                    <a:pt x="157" y="150"/>
                  </a:lnTo>
                  <a:lnTo>
                    <a:pt x="159" y="140"/>
                  </a:lnTo>
                  <a:lnTo>
                    <a:pt x="163" y="129"/>
                  </a:lnTo>
                  <a:lnTo>
                    <a:pt x="167" y="118"/>
                  </a:lnTo>
                  <a:lnTo>
                    <a:pt x="171" y="108"/>
                  </a:lnTo>
                  <a:lnTo>
                    <a:pt x="181" y="90"/>
                  </a:lnTo>
                  <a:lnTo>
                    <a:pt x="186" y="78"/>
                  </a:lnTo>
                  <a:lnTo>
                    <a:pt x="186" y="54"/>
                  </a:lnTo>
                  <a:lnTo>
                    <a:pt x="181" y="57"/>
                  </a:lnTo>
                  <a:lnTo>
                    <a:pt x="175" y="60"/>
                  </a:lnTo>
                  <a:lnTo>
                    <a:pt x="170" y="64"/>
                  </a:lnTo>
                  <a:lnTo>
                    <a:pt x="166" y="68"/>
                  </a:lnTo>
                  <a:lnTo>
                    <a:pt x="159" y="76"/>
                  </a:lnTo>
                  <a:lnTo>
                    <a:pt x="154" y="85"/>
                  </a:lnTo>
                  <a:lnTo>
                    <a:pt x="149" y="93"/>
                  </a:lnTo>
                  <a:lnTo>
                    <a:pt x="143" y="102"/>
                  </a:lnTo>
                  <a:lnTo>
                    <a:pt x="141" y="105"/>
                  </a:lnTo>
                  <a:lnTo>
                    <a:pt x="137" y="109"/>
                  </a:lnTo>
                  <a:lnTo>
                    <a:pt x="131" y="112"/>
                  </a:lnTo>
                  <a:lnTo>
                    <a:pt x="126" y="114"/>
                  </a:lnTo>
                  <a:lnTo>
                    <a:pt x="126" y="78"/>
                  </a:lnTo>
                  <a:lnTo>
                    <a:pt x="134" y="72"/>
                  </a:lnTo>
                  <a:lnTo>
                    <a:pt x="139" y="65"/>
                  </a:lnTo>
                  <a:lnTo>
                    <a:pt x="142" y="60"/>
                  </a:lnTo>
                  <a:lnTo>
                    <a:pt x="143" y="52"/>
                  </a:lnTo>
                  <a:lnTo>
                    <a:pt x="142" y="44"/>
                  </a:lnTo>
                  <a:lnTo>
                    <a:pt x="139" y="36"/>
                  </a:lnTo>
                  <a:lnTo>
                    <a:pt x="137" y="25"/>
                  </a:lnTo>
                  <a:lnTo>
                    <a:pt x="133" y="12"/>
                  </a:lnTo>
                  <a:lnTo>
                    <a:pt x="126" y="25"/>
                  </a:lnTo>
                  <a:lnTo>
                    <a:pt x="121" y="42"/>
                  </a:lnTo>
                  <a:lnTo>
                    <a:pt x="115" y="62"/>
                  </a:lnTo>
                  <a:lnTo>
                    <a:pt x="110" y="82"/>
                  </a:lnTo>
                  <a:lnTo>
                    <a:pt x="107" y="105"/>
                  </a:lnTo>
                  <a:lnTo>
                    <a:pt x="105" y="125"/>
                  </a:lnTo>
                  <a:lnTo>
                    <a:pt x="103" y="145"/>
                  </a:lnTo>
                  <a:lnTo>
                    <a:pt x="102" y="162"/>
                  </a:lnTo>
                  <a:lnTo>
                    <a:pt x="90" y="162"/>
                  </a:lnTo>
                  <a:lnTo>
                    <a:pt x="79" y="161"/>
                  </a:lnTo>
                  <a:lnTo>
                    <a:pt x="75" y="160"/>
                  </a:lnTo>
                  <a:lnTo>
                    <a:pt x="71" y="157"/>
                  </a:lnTo>
                  <a:lnTo>
                    <a:pt x="69" y="154"/>
                  </a:lnTo>
                  <a:lnTo>
                    <a:pt x="66" y="150"/>
                  </a:lnTo>
                  <a:lnTo>
                    <a:pt x="62" y="160"/>
                  </a:lnTo>
                  <a:lnTo>
                    <a:pt x="58" y="169"/>
                  </a:lnTo>
                  <a:lnTo>
                    <a:pt x="55" y="178"/>
                  </a:lnTo>
                  <a:lnTo>
                    <a:pt x="54" y="186"/>
                  </a:lnTo>
                  <a:lnTo>
                    <a:pt x="54" y="206"/>
                  </a:lnTo>
                  <a:lnTo>
                    <a:pt x="55" y="222"/>
                  </a:lnTo>
                  <a:lnTo>
                    <a:pt x="58" y="238"/>
                  </a:lnTo>
                  <a:lnTo>
                    <a:pt x="61" y="253"/>
                  </a:lnTo>
                  <a:lnTo>
                    <a:pt x="62" y="268"/>
                  </a:lnTo>
                  <a:lnTo>
                    <a:pt x="65" y="283"/>
                  </a:lnTo>
                  <a:lnTo>
                    <a:pt x="66" y="301"/>
                  </a:lnTo>
                  <a:lnTo>
                    <a:pt x="66" y="319"/>
                  </a:lnTo>
                  <a:lnTo>
                    <a:pt x="66" y="331"/>
                  </a:lnTo>
                  <a:lnTo>
                    <a:pt x="63" y="343"/>
                  </a:lnTo>
                  <a:lnTo>
                    <a:pt x="61" y="353"/>
                  </a:lnTo>
                  <a:lnTo>
                    <a:pt x="55" y="361"/>
                  </a:lnTo>
                  <a:lnTo>
                    <a:pt x="51" y="367"/>
                  </a:lnTo>
                  <a:lnTo>
                    <a:pt x="45" y="374"/>
                  </a:lnTo>
                  <a:lnTo>
                    <a:pt x="39" y="379"/>
                  </a:lnTo>
                  <a:lnTo>
                    <a:pt x="33" y="385"/>
                  </a:lnTo>
                  <a:lnTo>
                    <a:pt x="21" y="394"/>
                  </a:lnTo>
                  <a:lnTo>
                    <a:pt x="10" y="403"/>
                  </a:lnTo>
                  <a:lnTo>
                    <a:pt x="6" y="409"/>
                  </a:lnTo>
                  <a:lnTo>
                    <a:pt x="4" y="414"/>
                  </a:lnTo>
                  <a:lnTo>
                    <a:pt x="1" y="421"/>
                  </a:lnTo>
                  <a:lnTo>
                    <a:pt x="0" y="427"/>
                  </a:lnTo>
                  <a:lnTo>
                    <a:pt x="1" y="431"/>
                  </a:lnTo>
                  <a:lnTo>
                    <a:pt x="4" y="435"/>
                  </a:lnTo>
                  <a:lnTo>
                    <a:pt x="8" y="439"/>
                  </a:lnTo>
                  <a:lnTo>
                    <a:pt x="12" y="442"/>
                  </a:lnTo>
                  <a:lnTo>
                    <a:pt x="23" y="447"/>
                  </a:lnTo>
                  <a:lnTo>
                    <a:pt x="38" y="451"/>
                  </a:lnTo>
                  <a:lnTo>
                    <a:pt x="69" y="457"/>
                  </a:lnTo>
                  <a:lnTo>
                    <a:pt x="90" y="458"/>
                  </a:lnTo>
                  <a:lnTo>
                    <a:pt x="98" y="457"/>
                  </a:lnTo>
                  <a:lnTo>
                    <a:pt x="106" y="455"/>
                  </a:lnTo>
                  <a:lnTo>
                    <a:pt x="113" y="454"/>
                  </a:lnTo>
                  <a:lnTo>
                    <a:pt x="118" y="451"/>
                  </a:lnTo>
                  <a:lnTo>
                    <a:pt x="123" y="447"/>
                  </a:lnTo>
                  <a:lnTo>
                    <a:pt x="129" y="443"/>
                  </a:lnTo>
                  <a:lnTo>
                    <a:pt x="133" y="439"/>
                  </a:lnTo>
                  <a:lnTo>
                    <a:pt x="135" y="434"/>
                  </a:lnTo>
                  <a:lnTo>
                    <a:pt x="142" y="423"/>
                  </a:lnTo>
                  <a:lnTo>
                    <a:pt x="146" y="410"/>
                  </a:lnTo>
                  <a:lnTo>
                    <a:pt x="150" y="397"/>
                  </a:lnTo>
                  <a:lnTo>
                    <a:pt x="151" y="382"/>
                  </a:lnTo>
                  <a:lnTo>
                    <a:pt x="157" y="354"/>
                  </a:lnTo>
                  <a:lnTo>
                    <a:pt x="162" y="330"/>
                  </a:lnTo>
                  <a:lnTo>
                    <a:pt x="166" y="321"/>
                  </a:lnTo>
                  <a:lnTo>
                    <a:pt x="170" y="314"/>
                  </a:lnTo>
                  <a:lnTo>
                    <a:pt x="174" y="311"/>
                  </a:lnTo>
                  <a:lnTo>
                    <a:pt x="178" y="309"/>
                  </a:lnTo>
                  <a:lnTo>
                    <a:pt x="182" y="307"/>
                  </a:lnTo>
                  <a:lnTo>
                    <a:pt x="186" y="307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 cap="flat" cmpd="sng">
              <a:solidFill>
                <a:schemeClr val="accent1">
                  <a:lumMod val="20000"/>
                  <a:lumOff val="80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95" b="0" i="0" u="none" strike="noStrike" kern="1200" cap="none" spc="0" normalizeH="0" baseline="0" noProof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7" name="Freeform 134"/>
            <p:cNvSpPr>
              <a:spLocks/>
            </p:cNvSpPr>
            <p:nvPr/>
          </p:nvSpPr>
          <p:spPr bwMode="auto">
            <a:xfrm>
              <a:off x="4728507" y="2228310"/>
              <a:ext cx="9433" cy="6367"/>
            </a:xfrm>
            <a:custGeom>
              <a:avLst/>
              <a:gdLst>
                <a:gd name="T0" fmla="*/ 79 w 133"/>
                <a:gd name="T1" fmla="*/ 19 h 91"/>
                <a:gd name="T2" fmla="*/ 55 w 133"/>
                <a:gd name="T3" fmla="*/ 19 h 91"/>
                <a:gd name="T4" fmla="*/ 34 w 133"/>
                <a:gd name="T5" fmla="*/ 16 h 91"/>
                <a:gd name="T6" fmla="*/ 24 w 133"/>
                <a:gd name="T7" fmla="*/ 13 h 91"/>
                <a:gd name="T8" fmla="*/ 16 w 133"/>
                <a:gd name="T9" fmla="*/ 11 h 91"/>
                <a:gd name="T10" fmla="*/ 8 w 133"/>
                <a:gd name="T11" fmla="*/ 7 h 91"/>
                <a:gd name="T12" fmla="*/ 0 w 133"/>
                <a:gd name="T13" fmla="*/ 0 h 91"/>
                <a:gd name="T14" fmla="*/ 2 w 133"/>
                <a:gd name="T15" fmla="*/ 19 h 91"/>
                <a:gd name="T16" fmla="*/ 3 w 133"/>
                <a:gd name="T17" fmla="*/ 35 h 91"/>
                <a:gd name="T18" fmla="*/ 7 w 133"/>
                <a:gd name="T19" fmla="*/ 51 h 91"/>
                <a:gd name="T20" fmla="*/ 11 w 133"/>
                <a:gd name="T21" fmla="*/ 64 h 91"/>
                <a:gd name="T22" fmla="*/ 14 w 133"/>
                <a:gd name="T23" fmla="*/ 69 h 91"/>
                <a:gd name="T24" fmla="*/ 16 w 133"/>
                <a:gd name="T25" fmla="*/ 75 h 91"/>
                <a:gd name="T26" fmla="*/ 20 w 133"/>
                <a:gd name="T27" fmla="*/ 80 h 91"/>
                <a:gd name="T28" fmla="*/ 24 w 133"/>
                <a:gd name="T29" fmla="*/ 83 h 91"/>
                <a:gd name="T30" fmla="*/ 28 w 133"/>
                <a:gd name="T31" fmla="*/ 87 h 91"/>
                <a:gd name="T32" fmla="*/ 32 w 133"/>
                <a:gd name="T33" fmla="*/ 89 h 91"/>
                <a:gd name="T34" fmla="*/ 38 w 133"/>
                <a:gd name="T35" fmla="*/ 91 h 91"/>
                <a:gd name="T36" fmla="*/ 43 w 133"/>
                <a:gd name="T37" fmla="*/ 91 h 91"/>
                <a:gd name="T38" fmla="*/ 48 w 133"/>
                <a:gd name="T39" fmla="*/ 91 h 91"/>
                <a:gd name="T40" fmla="*/ 55 w 133"/>
                <a:gd name="T41" fmla="*/ 89 h 91"/>
                <a:gd name="T42" fmla="*/ 61 w 133"/>
                <a:gd name="T43" fmla="*/ 87 h 91"/>
                <a:gd name="T44" fmla="*/ 68 w 133"/>
                <a:gd name="T45" fmla="*/ 84 h 91"/>
                <a:gd name="T46" fmla="*/ 81 w 133"/>
                <a:gd name="T47" fmla="*/ 76 h 91"/>
                <a:gd name="T48" fmla="*/ 95 w 133"/>
                <a:gd name="T49" fmla="*/ 65 h 91"/>
                <a:gd name="T50" fmla="*/ 107 w 133"/>
                <a:gd name="T51" fmla="*/ 55 h 91"/>
                <a:gd name="T52" fmla="*/ 119 w 133"/>
                <a:gd name="T53" fmla="*/ 43 h 91"/>
                <a:gd name="T54" fmla="*/ 127 w 133"/>
                <a:gd name="T55" fmla="*/ 31 h 91"/>
                <a:gd name="T56" fmla="*/ 133 w 133"/>
                <a:gd name="T57" fmla="*/ 19 h 91"/>
                <a:gd name="T58" fmla="*/ 117 w 133"/>
                <a:gd name="T59" fmla="*/ 19 h 91"/>
                <a:gd name="T60" fmla="*/ 99 w 133"/>
                <a:gd name="T61" fmla="*/ 19 h 91"/>
                <a:gd name="T62" fmla="*/ 85 w 133"/>
                <a:gd name="T63" fmla="*/ 19 h 91"/>
                <a:gd name="T64" fmla="*/ 79 w 133"/>
                <a:gd name="T65" fmla="*/ 19 h 9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33"/>
                <a:gd name="T100" fmla="*/ 0 h 91"/>
                <a:gd name="T101" fmla="*/ 133 w 133"/>
                <a:gd name="T102" fmla="*/ 91 h 91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33" h="91">
                  <a:moveTo>
                    <a:pt x="79" y="19"/>
                  </a:moveTo>
                  <a:lnTo>
                    <a:pt x="55" y="19"/>
                  </a:lnTo>
                  <a:lnTo>
                    <a:pt x="34" y="16"/>
                  </a:lnTo>
                  <a:lnTo>
                    <a:pt x="24" y="13"/>
                  </a:lnTo>
                  <a:lnTo>
                    <a:pt x="16" y="11"/>
                  </a:lnTo>
                  <a:lnTo>
                    <a:pt x="8" y="7"/>
                  </a:lnTo>
                  <a:lnTo>
                    <a:pt x="0" y="0"/>
                  </a:lnTo>
                  <a:lnTo>
                    <a:pt x="2" y="19"/>
                  </a:lnTo>
                  <a:lnTo>
                    <a:pt x="3" y="35"/>
                  </a:lnTo>
                  <a:lnTo>
                    <a:pt x="7" y="51"/>
                  </a:lnTo>
                  <a:lnTo>
                    <a:pt x="11" y="64"/>
                  </a:lnTo>
                  <a:lnTo>
                    <a:pt x="14" y="69"/>
                  </a:lnTo>
                  <a:lnTo>
                    <a:pt x="16" y="75"/>
                  </a:lnTo>
                  <a:lnTo>
                    <a:pt x="20" y="80"/>
                  </a:lnTo>
                  <a:lnTo>
                    <a:pt x="24" y="83"/>
                  </a:lnTo>
                  <a:lnTo>
                    <a:pt x="28" y="87"/>
                  </a:lnTo>
                  <a:lnTo>
                    <a:pt x="32" y="89"/>
                  </a:lnTo>
                  <a:lnTo>
                    <a:pt x="38" y="91"/>
                  </a:lnTo>
                  <a:lnTo>
                    <a:pt x="43" y="91"/>
                  </a:lnTo>
                  <a:lnTo>
                    <a:pt x="48" y="91"/>
                  </a:lnTo>
                  <a:lnTo>
                    <a:pt x="55" y="89"/>
                  </a:lnTo>
                  <a:lnTo>
                    <a:pt x="61" y="87"/>
                  </a:lnTo>
                  <a:lnTo>
                    <a:pt x="68" y="84"/>
                  </a:lnTo>
                  <a:lnTo>
                    <a:pt x="81" y="76"/>
                  </a:lnTo>
                  <a:lnTo>
                    <a:pt x="95" y="65"/>
                  </a:lnTo>
                  <a:lnTo>
                    <a:pt x="107" y="55"/>
                  </a:lnTo>
                  <a:lnTo>
                    <a:pt x="119" y="43"/>
                  </a:lnTo>
                  <a:lnTo>
                    <a:pt x="127" y="31"/>
                  </a:lnTo>
                  <a:lnTo>
                    <a:pt x="133" y="19"/>
                  </a:lnTo>
                  <a:lnTo>
                    <a:pt x="117" y="19"/>
                  </a:lnTo>
                  <a:lnTo>
                    <a:pt x="99" y="19"/>
                  </a:lnTo>
                  <a:lnTo>
                    <a:pt x="85" y="19"/>
                  </a:lnTo>
                  <a:lnTo>
                    <a:pt x="79" y="19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accent1">
                  <a:lumMod val="20000"/>
                  <a:lumOff val="8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95" b="0" i="0" u="none" strike="noStrike" kern="1200" cap="none" spc="0" normalizeH="0" baseline="0" noProof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8" name="Freeform 68"/>
            <p:cNvSpPr>
              <a:spLocks/>
            </p:cNvSpPr>
            <p:nvPr/>
          </p:nvSpPr>
          <p:spPr bwMode="auto">
            <a:xfrm>
              <a:off x="4805147" y="2390550"/>
              <a:ext cx="34193" cy="33014"/>
            </a:xfrm>
            <a:custGeom>
              <a:avLst/>
              <a:gdLst>
                <a:gd name="T0" fmla="*/ 195 w 476"/>
                <a:gd name="T1" fmla="*/ 25 h 464"/>
                <a:gd name="T2" fmla="*/ 215 w 476"/>
                <a:gd name="T3" fmla="*/ 55 h 464"/>
                <a:gd name="T4" fmla="*/ 242 w 476"/>
                <a:gd name="T5" fmla="*/ 72 h 464"/>
                <a:gd name="T6" fmla="*/ 286 w 476"/>
                <a:gd name="T7" fmla="*/ 51 h 464"/>
                <a:gd name="T8" fmla="*/ 298 w 476"/>
                <a:gd name="T9" fmla="*/ 29 h 464"/>
                <a:gd name="T10" fmla="*/ 316 w 476"/>
                <a:gd name="T11" fmla="*/ 17 h 464"/>
                <a:gd name="T12" fmla="*/ 368 w 476"/>
                <a:gd name="T13" fmla="*/ 12 h 464"/>
                <a:gd name="T14" fmla="*/ 378 w 476"/>
                <a:gd name="T15" fmla="*/ 36 h 464"/>
                <a:gd name="T16" fmla="*/ 375 w 476"/>
                <a:gd name="T17" fmla="*/ 69 h 464"/>
                <a:gd name="T18" fmla="*/ 383 w 476"/>
                <a:gd name="T19" fmla="*/ 88 h 464"/>
                <a:gd name="T20" fmla="*/ 402 w 476"/>
                <a:gd name="T21" fmla="*/ 96 h 464"/>
                <a:gd name="T22" fmla="*/ 438 w 476"/>
                <a:gd name="T23" fmla="*/ 96 h 464"/>
                <a:gd name="T24" fmla="*/ 458 w 476"/>
                <a:gd name="T25" fmla="*/ 97 h 464"/>
                <a:gd name="T26" fmla="*/ 468 w 476"/>
                <a:gd name="T27" fmla="*/ 104 h 464"/>
                <a:gd name="T28" fmla="*/ 475 w 476"/>
                <a:gd name="T29" fmla="*/ 152 h 464"/>
                <a:gd name="T30" fmla="*/ 440 w 476"/>
                <a:gd name="T31" fmla="*/ 204 h 464"/>
                <a:gd name="T32" fmla="*/ 383 w 476"/>
                <a:gd name="T33" fmla="*/ 251 h 464"/>
                <a:gd name="T34" fmla="*/ 359 w 476"/>
                <a:gd name="T35" fmla="*/ 285 h 464"/>
                <a:gd name="T36" fmla="*/ 356 w 476"/>
                <a:gd name="T37" fmla="*/ 317 h 464"/>
                <a:gd name="T38" fmla="*/ 356 w 476"/>
                <a:gd name="T39" fmla="*/ 385 h 464"/>
                <a:gd name="T40" fmla="*/ 354 w 476"/>
                <a:gd name="T41" fmla="*/ 432 h 464"/>
                <a:gd name="T42" fmla="*/ 343 w 476"/>
                <a:gd name="T43" fmla="*/ 452 h 464"/>
                <a:gd name="T44" fmla="*/ 327 w 476"/>
                <a:gd name="T45" fmla="*/ 461 h 464"/>
                <a:gd name="T46" fmla="*/ 302 w 476"/>
                <a:gd name="T47" fmla="*/ 464 h 464"/>
                <a:gd name="T48" fmla="*/ 276 w 476"/>
                <a:gd name="T49" fmla="*/ 460 h 464"/>
                <a:gd name="T50" fmla="*/ 234 w 476"/>
                <a:gd name="T51" fmla="*/ 439 h 464"/>
                <a:gd name="T52" fmla="*/ 199 w 476"/>
                <a:gd name="T53" fmla="*/ 407 h 464"/>
                <a:gd name="T54" fmla="*/ 187 w 476"/>
                <a:gd name="T55" fmla="*/ 385 h 464"/>
                <a:gd name="T56" fmla="*/ 186 w 476"/>
                <a:gd name="T57" fmla="*/ 352 h 464"/>
                <a:gd name="T58" fmla="*/ 186 w 476"/>
                <a:gd name="T59" fmla="*/ 335 h 464"/>
                <a:gd name="T60" fmla="*/ 180 w 476"/>
                <a:gd name="T61" fmla="*/ 324 h 464"/>
                <a:gd name="T62" fmla="*/ 163 w 476"/>
                <a:gd name="T63" fmla="*/ 313 h 464"/>
                <a:gd name="T64" fmla="*/ 135 w 476"/>
                <a:gd name="T65" fmla="*/ 291 h 464"/>
                <a:gd name="T66" fmla="*/ 111 w 476"/>
                <a:gd name="T67" fmla="*/ 263 h 464"/>
                <a:gd name="T68" fmla="*/ 96 w 476"/>
                <a:gd name="T69" fmla="*/ 255 h 464"/>
                <a:gd name="T70" fmla="*/ 46 w 476"/>
                <a:gd name="T71" fmla="*/ 251 h 464"/>
                <a:gd name="T72" fmla="*/ 20 w 476"/>
                <a:gd name="T73" fmla="*/ 243 h 464"/>
                <a:gd name="T74" fmla="*/ 2 w 476"/>
                <a:gd name="T75" fmla="*/ 216 h 464"/>
                <a:gd name="T76" fmla="*/ 2 w 476"/>
                <a:gd name="T77" fmla="*/ 183 h 464"/>
                <a:gd name="T78" fmla="*/ 16 w 476"/>
                <a:gd name="T79" fmla="*/ 165 h 464"/>
                <a:gd name="T80" fmla="*/ 40 w 476"/>
                <a:gd name="T81" fmla="*/ 160 h 464"/>
                <a:gd name="T82" fmla="*/ 68 w 476"/>
                <a:gd name="T83" fmla="*/ 156 h 464"/>
                <a:gd name="T84" fmla="*/ 91 w 476"/>
                <a:gd name="T85" fmla="*/ 147 h 464"/>
                <a:gd name="T86" fmla="*/ 103 w 476"/>
                <a:gd name="T87" fmla="*/ 120 h 464"/>
                <a:gd name="T88" fmla="*/ 122 w 476"/>
                <a:gd name="T89" fmla="*/ 64 h 464"/>
                <a:gd name="T90" fmla="*/ 151 w 476"/>
                <a:gd name="T91" fmla="*/ 23 h 464"/>
                <a:gd name="T92" fmla="*/ 187 w 476"/>
                <a:gd name="T93" fmla="*/ 7 h 46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476"/>
                <a:gd name="T142" fmla="*/ 0 h 464"/>
                <a:gd name="T143" fmla="*/ 476 w 476"/>
                <a:gd name="T144" fmla="*/ 464 h 46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476" h="464">
                  <a:moveTo>
                    <a:pt x="187" y="7"/>
                  </a:moveTo>
                  <a:lnTo>
                    <a:pt x="191" y="16"/>
                  </a:lnTo>
                  <a:lnTo>
                    <a:pt x="195" y="25"/>
                  </a:lnTo>
                  <a:lnTo>
                    <a:pt x="200" y="36"/>
                  </a:lnTo>
                  <a:lnTo>
                    <a:pt x="207" y="45"/>
                  </a:lnTo>
                  <a:lnTo>
                    <a:pt x="215" y="55"/>
                  </a:lnTo>
                  <a:lnTo>
                    <a:pt x="224" y="63"/>
                  </a:lnTo>
                  <a:lnTo>
                    <a:pt x="232" y="69"/>
                  </a:lnTo>
                  <a:lnTo>
                    <a:pt x="242" y="72"/>
                  </a:lnTo>
                  <a:lnTo>
                    <a:pt x="284" y="72"/>
                  </a:lnTo>
                  <a:lnTo>
                    <a:pt x="284" y="61"/>
                  </a:lnTo>
                  <a:lnTo>
                    <a:pt x="286" y="51"/>
                  </a:lnTo>
                  <a:lnTo>
                    <a:pt x="290" y="43"/>
                  </a:lnTo>
                  <a:lnTo>
                    <a:pt x="292" y="35"/>
                  </a:lnTo>
                  <a:lnTo>
                    <a:pt x="298" y="29"/>
                  </a:lnTo>
                  <a:lnTo>
                    <a:pt x="303" y="24"/>
                  </a:lnTo>
                  <a:lnTo>
                    <a:pt x="310" y="20"/>
                  </a:lnTo>
                  <a:lnTo>
                    <a:pt x="316" y="17"/>
                  </a:lnTo>
                  <a:lnTo>
                    <a:pt x="332" y="13"/>
                  </a:lnTo>
                  <a:lnTo>
                    <a:pt x="350" y="12"/>
                  </a:lnTo>
                  <a:lnTo>
                    <a:pt x="368" y="12"/>
                  </a:lnTo>
                  <a:lnTo>
                    <a:pt x="386" y="12"/>
                  </a:lnTo>
                  <a:lnTo>
                    <a:pt x="382" y="25"/>
                  </a:lnTo>
                  <a:lnTo>
                    <a:pt x="378" y="36"/>
                  </a:lnTo>
                  <a:lnTo>
                    <a:pt x="375" y="48"/>
                  </a:lnTo>
                  <a:lnTo>
                    <a:pt x="374" y="60"/>
                  </a:lnTo>
                  <a:lnTo>
                    <a:pt x="375" y="69"/>
                  </a:lnTo>
                  <a:lnTo>
                    <a:pt x="376" y="76"/>
                  </a:lnTo>
                  <a:lnTo>
                    <a:pt x="379" y="83"/>
                  </a:lnTo>
                  <a:lnTo>
                    <a:pt x="383" y="88"/>
                  </a:lnTo>
                  <a:lnTo>
                    <a:pt x="388" y="91"/>
                  </a:lnTo>
                  <a:lnTo>
                    <a:pt x="395" y="95"/>
                  </a:lnTo>
                  <a:lnTo>
                    <a:pt x="402" y="96"/>
                  </a:lnTo>
                  <a:lnTo>
                    <a:pt x="410" y="96"/>
                  </a:lnTo>
                  <a:lnTo>
                    <a:pt x="426" y="96"/>
                  </a:lnTo>
                  <a:lnTo>
                    <a:pt x="438" y="96"/>
                  </a:lnTo>
                  <a:lnTo>
                    <a:pt x="447" y="96"/>
                  </a:lnTo>
                  <a:lnTo>
                    <a:pt x="452" y="96"/>
                  </a:lnTo>
                  <a:lnTo>
                    <a:pt x="458" y="97"/>
                  </a:lnTo>
                  <a:lnTo>
                    <a:pt x="462" y="99"/>
                  </a:lnTo>
                  <a:lnTo>
                    <a:pt x="466" y="101"/>
                  </a:lnTo>
                  <a:lnTo>
                    <a:pt x="468" y="104"/>
                  </a:lnTo>
                  <a:lnTo>
                    <a:pt x="471" y="113"/>
                  </a:lnTo>
                  <a:lnTo>
                    <a:pt x="474" y="125"/>
                  </a:lnTo>
                  <a:lnTo>
                    <a:pt x="475" y="152"/>
                  </a:lnTo>
                  <a:lnTo>
                    <a:pt x="476" y="181"/>
                  </a:lnTo>
                  <a:lnTo>
                    <a:pt x="459" y="191"/>
                  </a:lnTo>
                  <a:lnTo>
                    <a:pt x="440" y="204"/>
                  </a:lnTo>
                  <a:lnTo>
                    <a:pt x="420" y="219"/>
                  </a:lnTo>
                  <a:lnTo>
                    <a:pt x="400" y="235"/>
                  </a:lnTo>
                  <a:lnTo>
                    <a:pt x="383" y="251"/>
                  </a:lnTo>
                  <a:lnTo>
                    <a:pt x="368" y="268"/>
                  </a:lnTo>
                  <a:lnTo>
                    <a:pt x="363" y="276"/>
                  </a:lnTo>
                  <a:lnTo>
                    <a:pt x="359" y="285"/>
                  </a:lnTo>
                  <a:lnTo>
                    <a:pt x="356" y="293"/>
                  </a:lnTo>
                  <a:lnTo>
                    <a:pt x="356" y="301"/>
                  </a:lnTo>
                  <a:lnTo>
                    <a:pt x="356" y="317"/>
                  </a:lnTo>
                  <a:lnTo>
                    <a:pt x="356" y="335"/>
                  </a:lnTo>
                  <a:lnTo>
                    <a:pt x="356" y="356"/>
                  </a:lnTo>
                  <a:lnTo>
                    <a:pt x="356" y="385"/>
                  </a:lnTo>
                  <a:lnTo>
                    <a:pt x="356" y="403"/>
                  </a:lnTo>
                  <a:lnTo>
                    <a:pt x="355" y="419"/>
                  </a:lnTo>
                  <a:lnTo>
                    <a:pt x="354" y="432"/>
                  </a:lnTo>
                  <a:lnTo>
                    <a:pt x="350" y="443"/>
                  </a:lnTo>
                  <a:lnTo>
                    <a:pt x="347" y="448"/>
                  </a:lnTo>
                  <a:lnTo>
                    <a:pt x="343" y="452"/>
                  </a:lnTo>
                  <a:lnTo>
                    <a:pt x="339" y="456"/>
                  </a:lnTo>
                  <a:lnTo>
                    <a:pt x="334" y="459"/>
                  </a:lnTo>
                  <a:lnTo>
                    <a:pt x="327" y="461"/>
                  </a:lnTo>
                  <a:lnTo>
                    <a:pt x="320" y="463"/>
                  </a:lnTo>
                  <a:lnTo>
                    <a:pt x="311" y="464"/>
                  </a:lnTo>
                  <a:lnTo>
                    <a:pt x="302" y="464"/>
                  </a:lnTo>
                  <a:lnTo>
                    <a:pt x="294" y="464"/>
                  </a:lnTo>
                  <a:lnTo>
                    <a:pt x="286" y="461"/>
                  </a:lnTo>
                  <a:lnTo>
                    <a:pt x="276" y="460"/>
                  </a:lnTo>
                  <a:lnTo>
                    <a:pt x="268" y="457"/>
                  </a:lnTo>
                  <a:lnTo>
                    <a:pt x="250" y="448"/>
                  </a:lnTo>
                  <a:lnTo>
                    <a:pt x="234" y="439"/>
                  </a:lnTo>
                  <a:lnTo>
                    <a:pt x="218" y="427"/>
                  </a:lnTo>
                  <a:lnTo>
                    <a:pt x="204" y="413"/>
                  </a:lnTo>
                  <a:lnTo>
                    <a:pt x="199" y="407"/>
                  </a:lnTo>
                  <a:lnTo>
                    <a:pt x="194" y="399"/>
                  </a:lnTo>
                  <a:lnTo>
                    <a:pt x="190" y="392"/>
                  </a:lnTo>
                  <a:lnTo>
                    <a:pt x="187" y="385"/>
                  </a:lnTo>
                  <a:lnTo>
                    <a:pt x="184" y="373"/>
                  </a:lnTo>
                  <a:lnTo>
                    <a:pt x="184" y="361"/>
                  </a:lnTo>
                  <a:lnTo>
                    <a:pt x="186" y="352"/>
                  </a:lnTo>
                  <a:lnTo>
                    <a:pt x="187" y="343"/>
                  </a:lnTo>
                  <a:lnTo>
                    <a:pt x="187" y="339"/>
                  </a:lnTo>
                  <a:lnTo>
                    <a:pt x="186" y="335"/>
                  </a:lnTo>
                  <a:lnTo>
                    <a:pt x="186" y="331"/>
                  </a:lnTo>
                  <a:lnTo>
                    <a:pt x="183" y="327"/>
                  </a:lnTo>
                  <a:lnTo>
                    <a:pt x="180" y="324"/>
                  </a:lnTo>
                  <a:lnTo>
                    <a:pt x="176" y="320"/>
                  </a:lnTo>
                  <a:lnTo>
                    <a:pt x="170" y="316"/>
                  </a:lnTo>
                  <a:lnTo>
                    <a:pt x="163" y="313"/>
                  </a:lnTo>
                  <a:lnTo>
                    <a:pt x="152" y="308"/>
                  </a:lnTo>
                  <a:lnTo>
                    <a:pt x="143" y="300"/>
                  </a:lnTo>
                  <a:lnTo>
                    <a:pt x="135" y="291"/>
                  </a:lnTo>
                  <a:lnTo>
                    <a:pt x="127" y="281"/>
                  </a:lnTo>
                  <a:lnTo>
                    <a:pt x="119" y="272"/>
                  </a:lnTo>
                  <a:lnTo>
                    <a:pt x="111" y="263"/>
                  </a:lnTo>
                  <a:lnTo>
                    <a:pt x="106" y="260"/>
                  </a:lnTo>
                  <a:lnTo>
                    <a:pt x="102" y="257"/>
                  </a:lnTo>
                  <a:lnTo>
                    <a:pt x="96" y="255"/>
                  </a:lnTo>
                  <a:lnTo>
                    <a:pt x="91" y="253"/>
                  </a:lnTo>
                  <a:lnTo>
                    <a:pt x="66" y="251"/>
                  </a:lnTo>
                  <a:lnTo>
                    <a:pt x="46" y="251"/>
                  </a:lnTo>
                  <a:lnTo>
                    <a:pt x="36" y="249"/>
                  </a:lnTo>
                  <a:lnTo>
                    <a:pt x="27" y="247"/>
                  </a:lnTo>
                  <a:lnTo>
                    <a:pt x="20" y="243"/>
                  </a:lnTo>
                  <a:lnTo>
                    <a:pt x="12" y="235"/>
                  </a:lnTo>
                  <a:lnTo>
                    <a:pt x="6" y="224"/>
                  </a:lnTo>
                  <a:lnTo>
                    <a:pt x="2" y="216"/>
                  </a:lnTo>
                  <a:lnTo>
                    <a:pt x="0" y="207"/>
                  </a:lnTo>
                  <a:lnTo>
                    <a:pt x="0" y="193"/>
                  </a:lnTo>
                  <a:lnTo>
                    <a:pt x="2" y="183"/>
                  </a:lnTo>
                  <a:lnTo>
                    <a:pt x="4" y="175"/>
                  </a:lnTo>
                  <a:lnTo>
                    <a:pt x="10" y="169"/>
                  </a:lnTo>
                  <a:lnTo>
                    <a:pt x="16" y="165"/>
                  </a:lnTo>
                  <a:lnTo>
                    <a:pt x="23" y="163"/>
                  </a:lnTo>
                  <a:lnTo>
                    <a:pt x="31" y="161"/>
                  </a:lnTo>
                  <a:lnTo>
                    <a:pt x="40" y="160"/>
                  </a:lnTo>
                  <a:lnTo>
                    <a:pt x="50" y="159"/>
                  </a:lnTo>
                  <a:lnTo>
                    <a:pt x="59" y="157"/>
                  </a:lnTo>
                  <a:lnTo>
                    <a:pt x="68" y="156"/>
                  </a:lnTo>
                  <a:lnTo>
                    <a:pt x="76" y="155"/>
                  </a:lnTo>
                  <a:lnTo>
                    <a:pt x="84" y="151"/>
                  </a:lnTo>
                  <a:lnTo>
                    <a:pt x="91" y="147"/>
                  </a:lnTo>
                  <a:lnTo>
                    <a:pt x="96" y="140"/>
                  </a:lnTo>
                  <a:lnTo>
                    <a:pt x="100" y="132"/>
                  </a:lnTo>
                  <a:lnTo>
                    <a:pt x="103" y="120"/>
                  </a:lnTo>
                  <a:lnTo>
                    <a:pt x="108" y="99"/>
                  </a:lnTo>
                  <a:lnTo>
                    <a:pt x="114" y="80"/>
                  </a:lnTo>
                  <a:lnTo>
                    <a:pt x="122" y="64"/>
                  </a:lnTo>
                  <a:lnTo>
                    <a:pt x="130" y="49"/>
                  </a:lnTo>
                  <a:lnTo>
                    <a:pt x="140" y="36"/>
                  </a:lnTo>
                  <a:lnTo>
                    <a:pt x="151" y="23"/>
                  </a:lnTo>
                  <a:lnTo>
                    <a:pt x="162" y="12"/>
                  </a:lnTo>
                  <a:lnTo>
                    <a:pt x="175" y="0"/>
                  </a:lnTo>
                  <a:lnTo>
                    <a:pt x="187" y="7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accent1">
                  <a:lumMod val="20000"/>
                  <a:lumOff val="8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95" b="0" i="0" u="none" strike="noStrike" kern="1200" cap="none" spc="0" normalizeH="0" baseline="0" noProof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9" name="Freeform 59"/>
            <p:cNvSpPr>
              <a:spLocks/>
            </p:cNvSpPr>
            <p:nvPr/>
          </p:nvSpPr>
          <p:spPr bwMode="auto">
            <a:xfrm>
              <a:off x="4837689" y="2436298"/>
              <a:ext cx="78054" cy="73810"/>
            </a:xfrm>
            <a:custGeom>
              <a:avLst/>
              <a:gdLst>
                <a:gd name="T0" fmla="*/ 695 w 1084"/>
                <a:gd name="T1" fmla="*/ 323 h 1024"/>
                <a:gd name="T2" fmla="*/ 769 w 1084"/>
                <a:gd name="T3" fmla="*/ 359 h 1024"/>
                <a:gd name="T4" fmla="*/ 928 w 1084"/>
                <a:gd name="T5" fmla="*/ 392 h 1024"/>
                <a:gd name="T6" fmla="*/ 929 w 1084"/>
                <a:gd name="T7" fmla="*/ 378 h 1024"/>
                <a:gd name="T8" fmla="*/ 921 w 1084"/>
                <a:gd name="T9" fmla="*/ 394 h 1024"/>
                <a:gd name="T10" fmla="*/ 889 w 1084"/>
                <a:gd name="T11" fmla="*/ 424 h 1024"/>
                <a:gd name="T12" fmla="*/ 889 w 1084"/>
                <a:gd name="T13" fmla="*/ 462 h 1024"/>
                <a:gd name="T14" fmla="*/ 917 w 1084"/>
                <a:gd name="T15" fmla="*/ 507 h 1024"/>
                <a:gd name="T16" fmla="*/ 996 w 1084"/>
                <a:gd name="T17" fmla="*/ 591 h 1024"/>
                <a:gd name="T18" fmla="*/ 1041 w 1084"/>
                <a:gd name="T19" fmla="*/ 716 h 1024"/>
                <a:gd name="T20" fmla="*/ 1084 w 1084"/>
                <a:gd name="T21" fmla="*/ 801 h 1024"/>
                <a:gd name="T22" fmla="*/ 1058 w 1084"/>
                <a:gd name="T23" fmla="*/ 825 h 1024"/>
                <a:gd name="T24" fmla="*/ 980 w 1084"/>
                <a:gd name="T25" fmla="*/ 848 h 1024"/>
                <a:gd name="T26" fmla="*/ 889 w 1084"/>
                <a:gd name="T27" fmla="*/ 872 h 1024"/>
                <a:gd name="T28" fmla="*/ 834 w 1084"/>
                <a:gd name="T29" fmla="*/ 864 h 1024"/>
                <a:gd name="T30" fmla="*/ 792 w 1084"/>
                <a:gd name="T31" fmla="*/ 856 h 1024"/>
                <a:gd name="T32" fmla="*/ 725 w 1084"/>
                <a:gd name="T33" fmla="*/ 881 h 1024"/>
                <a:gd name="T34" fmla="*/ 667 w 1084"/>
                <a:gd name="T35" fmla="*/ 889 h 1024"/>
                <a:gd name="T36" fmla="*/ 636 w 1084"/>
                <a:gd name="T37" fmla="*/ 907 h 1024"/>
                <a:gd name="T38" fmla="*/ 605 w 1084"/>
                <a:gd name="T39" fmla="*/ 968 h 1024"/>
                <a:gd name="T40" fmla="*/ 580 w 1084"/>
                <a:gd name="T41" fmla="*/ 1011 h 1024"/>
                <a:gd name="T42" fmla="*/ 551 w 1084"/>
                <a:gd name="T43" fmla="*/ 1024 h 1024"/>
                <a:gd name="T44" fmla="*/ 504 w 1084"/>
                <a:gd name="T45" fmla="*/ 1015 h 1024"/>
                <a:gd name="T46" fmla="*/ 471 w 1084"/>
                <a:gd name="T47" fmla="*/ 911 h 1024"/>
                <a:gd name="T48" fmla="*/ 471 w 1084"/>
                <a:gd name="T49" fmla="*/ 845 h 1024"/>
                <a:gd name="T50" fmla="*/ 461 w 1084"/>
                <a:gd name="T51" fmla="*/ 827 h 1024"/>
                <a:gd name="T52" fmla="*/ 380 w 1084"/>
                <a:gd name="T53" fmla="*/ 687 h 1024"/>
                <a:gd name="T54" fmla="*/ 323 w 1084"/>
                <a:gd name="T55" fmla="*/ 679 h 1024"/>
                <a:gd name="T56" fmla="*/ 311 w 1084"/>
                <a:gd name="T57" fmla="*/ 641 h 1024"/>
                <a:gd name="T58" fmla="*/ 299 w 1084"/>
                <a:gd name="T59" fmla="*/ 597 h 1024"/>
                <a:gd name="T60" fmla="*/ 253 w 1084"/>
                <a:gd name="T61" fmla="*/ 596 h 1024"/>
                <a:gd name="T62" fmla="*/ 220 w 1084"/>
                <a:gd name="T63" fmla="*/ 583 h 1024"/>
                <a:gd name="T64" fmla="*/ 213 w 1084"/>
                <a:gd name="T65" fmla="*/ 548 h 1024"/>
                <a:gd name="T66" fmla="*/ 244 w 1084"/>
                <a:gd name="T67" fmla="*/ 513 h 1024"/>
                <a:gd name="T68" fmla="*/ 259 w 1084"/>
                <a:gd name="T69" fmla="*/ 482 h 1024"/>
                <a:gd name="T70" fmla="*/ 233 w 1084"/>
                <a:gd name="T71" fmla="*/ 415 h 1024"/>
                <a:gd name="T72" fmla="*/ 152 w 1084"/>
                <a:gd name="T73" fmla="*/ 362 h 1024"/>
                <a:gd name="T74" fmla="*/ 109 w 1084"/>
                <a:gd name="T75" fmla="*/ 318 h 1024"/>
                <a:gd name="T76" fmla="*/ 48 w 1084"/>
                <a:gd name="T77" fmla="*/ 291 h 1024"/>
                <a:gd name="T78" fmla="*/ 8 w 1084"/>
                <a:gd name="T79" fmla="*/ 266 h 1024"/>
                <a:gd name="T80" fmla="*/ 3 w 1084"/>
                <a:gd name="T81" fmla="*/ 204 h 1024"/>
                <a:gd name="T82" fmla="*/ 18 w 1084"/>
                <a:gd name="T83" fmla="*/ 154 h 1024"/>
                <a:gd name="T84" fmla="*/ 19 w 1084"/>
                <a:gd name="T85" fmla="*/ 96 h 1024"/>
                <a:gd name="T86" fmla="*/ 176 w 1084"/>
                <a:gd name="T87" fmla="*/ 2 h 1024"/>
                <a:gd name="T88" fmla="*/ 217 w 1084"/>
                <a:gd name="T89" fmla="*/ 7 h 1024"/>
                <a:gd name="T90" fmla="*/ 283 w 1084"/>
                <a:gd name="T91" fmla="*/ 68 h 1024"/>
                <a:gd name="T92" fmla="*/ 324 w 1084"/>
                <a:gd name="T93" fmla="*/ 111 h 1024"/>
                <a:gd name="T94" fmla="*/ 393 w 1084"/>
                <a:gd name="T95" fmla="*/ 124 h 1024"/>
                <a:gd name="T96" fmla="*/ 425 w 1084"/>
                <a:gd name="T97" fmla="*/ 152 h 1024"/>
                <a:gd name="T98" fmla="*/ 443 w 1084"/>
                <a:gd name="T99" fmla="*/ 198 h 1024"/>
                <a:gd name="T100" fmla="*/ 487 w 1084"/>
                <a:gd name="T101" fmla="*/ 224 h 1024"/>
                <a:gd name="T102" fmla="*/ 588 w 1084"/>
                <a:gd name="T103" fmla="*/ 242 h 1024"/>
                <a:gd name="T104" fmla="*/ 655 w 1084"/>
                <a:gd name="T105" fmla="*/ 262 h 1024"/>
                <a:gd name="T106" fmla="*/ 687 w 1084"/>
                <a:gd name="T107" fmla="*/ 295 h 102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084"/>
                <a:gd name="T163" fmla="*/ 0 h 1024"/>
                <a:gd name="T164" fmla="*/ 1084 w 1084"/>
                <a:gd name="T165" fmla="*/ 1024 h 1024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084" h="1024">
                  <a:moveTo>
                    <a:pt x="687" y="307"/>
                  </a:moveTo>
                  <a:lnTo>
                    <a:pt x="688" y="311"/>
                  </a:lnTo>
                  <a:lnTo>
                    <a:pt x="689" y="315"/>
                  </a:lnTo>
                  <a:lnTo>
                    <a:pt x="692" y="319"/>
                  </a:lnTo>
                  <a:lnTo>
                    <a:pt x="695" y="323"/>
                  </a:lnTo>
                  <a:lnTo>
                    <a:pt x="705" y="331"/>
                  </a:lnTo>
                  <a:lnTo>
                    <a:pt x="717" y="339"/>
                  </a:lnTo>
                  <a:lnTo>
                    <a:pt x="733" y="346"/>
                  </a:lnTo>
                  <a:lnTo>
                    <a:pt x="751" y="352"/>
                  </a:lnTo>
                  <a:lnTo>
                    <a:pt x="769" y="359"/>
                  </a:lnTo>
                  <a:lnTo>
                    <a:pt x="789" y="366"/>
                  </a:lnTo>
                  <a:lnTo>
                    <a:pt x="830" y="376"/>
                  </a:lnTo>
                  <a:lnTo>
                    <a:pt x="869" y="384"/>
                  </a:lnTo>
                  <a:lnTo>
                    <a:pt x="904" y="390"/>
                  </a:lnTo>
                  <a:lnTo>
                    <a:pt x="928" y="392"/>
                  </a:lnTo>
                  <a:lnTo>
                    <a:pt x="930" y="390"/>
                  </a:lnTo>
                  <a:lnTo>
                    <a:pt x="933" y="388"/>
                  </a:lnTo>
                  <a:lnTo>
                    <a:pt x="933" y="386"/>
                  </a:lnTo>
                  <a:lnTo>
                    <a:pt x="932" y="384"/>
                  </a:lnTo>
                  <a:lnTo>
                    <a:pt x="929" y="378"/>
                  </a:lnTo>
                  <a:lnTo>
                    <a:pt x="928" y="368"/>
                  </a:lnTo>
                  <a:lnTo>
                    <a:pt x="926" y="376"/>
                  </a:lnTo>
                  <a:lnTo>
                    <a:pt x="925" y="383"/>
                  </a:lnTo>
                  <a:lnTo>
                    <a:pt x="924" y="390"/>
                  </a:lnTo>
                  <a:lnTo>
                    <a:pt x="921" y="394"/>
                  </a:lnTo>
                  <a:lnTo>
                    <a:pt x="914" y="402"/>
                  </a:lnTo>
                  <a:lnTo>
                    <a:pt x="906" y="408"/>
                  </a:lnTo>
                  <a:lnTo>
                    <a:pt x="898" y="414"/>
                  </a:lnTo>
                  <a:lnTo>
                    <a:pt x="892" y="420"/>
                  </a:lnTo>
                  <a:lnTo>
                    <a:pt x="889" y="424"/>
                  </a:lnTo>
                  <a:lnTo>
                    <a:pt x="888" y="428"/>
                  </a:lnTo>
                  <a:lnTo>
                    <a:pt x="886" y="434"/>
                  </a:lnTo>
                  <a:lnTo>
                    <a:pt x="885" y="440"/>
                  </a:lnTo>
                  <a:lnTo>
                    <a:pt x="886" y="451"/>
                  </a:lnTo>
                  <a:lnTo>
                    <a:pt x="889" y="462"/>
                  </a:lnTo>
                  <a:lnTo>
                    <a:pt x="892" y="471"/>
                  </a:lnTo>
                  <a:lnTo>
                    <a:pt x="897" y="480"/>
                  </a:lnTo>
                  <a:lnTo>
                    <a:pt x="902" y="490"/>
                  </a:lnTo>
                  <a:lnTo>
                    <a:pt x="909" y="499"/>
                  </a:lnTo>
                  <a:lnTo>
                    <a:pt x="917" y="507"/>
                  </a:lnTo>
                  <a:lnTo>
                    <a:pt x="925" y="515"/>
                  </a:lnTo>
                  <a:lnTo>
                    <a:pt x="957" y="543"/>
                  </a:lnTo>
                  <a:lnTo>
                    <a:pt x="981" y="567"/>
                  </a:lnTo>
                  <a:lnTo>
                    <a:pt x="989" y="579"/>
                  </a:lnTo>
                  <a:lnTo>
                    <a:pt x="996" y="591"/>
                  </a:lnTo>
                  <a:lnTo>
                    <a:pt x="1002" y="605"/>
                  </a:lnTo>
                  <a:lnTo>
                    <a:pt x="1009" y="620"/>
                  </a:lnTo>
                  <a:lnTo>
                    <a:pt x="1020" y="651"/>
                  </a:lnTo>
                  <a:lnTo>
                    <a:pt x="1030" y="684"/>
                  </a:lnTo>
                  <a:lnTo>
                    <a:pt x="1041" y="716"/>
                  </a:lnTo>
                  <a:lnTo>
                    <a:pt x="1053" y="748"/>
                  </a:lnTo>
                  <a:lnTo>
                    <a:pt x="1060" y="763"/>
                  </a:lnTo>
                  <a:lnTo>
                    <a:pt x="1068" y="776"/>
                  </a:lnTo>
                  <a:lnTo>
                    <a:pt x="1076" y="789"/>
                  </a:lnTo>
                  <a:lnTo>
                    <a:pt x="1084" y="801"/>
                  </a:lnTo>
                  <a:lnTo>
                    <a:pt x="1078" y="804"/>
                  </a:lnTo>
                  <a:lnTo>
                    <a:pt x="1073" y="807"/>
                  </a:lnTo>
                  <a:lnTo>
                    <a:pt x="1068" y="811"/>
                  </a:lnTo>
                  <a:lnTo>
                    <a:pt x="1065" y="815"/>
                  </a:lnTo>
                  <a:lnTo>
                    <a:pt x="1058" y="825"/>
                  </a:lnTo>
                  <a:lnTo>
                    <a:pt x="1054" y="837"/>
                  </a:lnTo>
                  <a:lnTo>
                    <a:pt x="1038" y="840"/>
                  </a:lnTo>
                  <a:lnTo>
                    <a:pt x="1024" y="843"/>
                  </a:lnTo>
                  <a:lnTo>
                    <a:pt x="1001" y="844"/>
                  </a:lnTo>
                  <a:lnTo>
                    <a:pt x="980" y="848"/>
                  </a:lnTo>
                  <a:lnTo>
                    <a:pt x="961" y="853"/>
                  </a:lnTo>
                  <a:lnTo>
                    <a:pt x="944" y="859"/>
                  </a:lnTo>
                  <a:lnTo>
                    <a:pt x="926" y="864"/>
                  </a:lnTo>
                  <a:lnTo>
                    <a:pt x="908" y="869"/>
                  </a:lnTo>
                  <a:lnTo>
                    <a:pt x="889" y="872"/>
                  </a:lnTo>
                  <a:lnTo>
                    <a:pt x="868" y="873"/>
                  </a:lnTo>
                  <a:lnTo>
                    <a:pt x="858" y="872"/>
                  </a:lnTo>
                  <a:lnTo>
                    <a:pt x="850" y="871"/>
                  </a:lnTo>
                  <a:lnTo>
                    <a:pt x="842" y="868"/>
                  </a:lnTo>
                  <a:lnTo>
                    <a:pt x="834" y="864"/>
                  </a:lnTo>
                  <a:lnTo>
                    <a:pt x="828" y="861"/>
                  </a:lnTo>
                  <a:lnTo>
                    <a:pt x="821" y="859"/>
                  </a:lnTo>
                  <a:lnTo>
                    <a:pt x="815" y="856"/>
                  </a:lnTo>
                  <a:lnTo>
                    <a:pt x="807" y="855"/>
                  </a:lnTo>
                  <a:lnTo>
                    <a:pt x="792" y="856"/>
                  </a:lnTo>
                  <a:lnTo>
                    <a:pt x="779" y="860"/>
                  </a:lnTo>
                  <a:lnTo>
                    <a:pt x="765" y="865"/>
                  </a:lnTo>
                  <a:lnTo>
                    <a:pt x="752" y="871"/>
                  </a:lnTo>
                  <a:lnTo>
                    <a:pt x="739" y="876"/>
                  </a:lnTo>
                  <a:lnTo>
                    <a:pt x="725" y="881"/>
                  </a:lnTo>
                  <a:lnTo>
                    <a:pt x="709" y="884"/>
                  </a:lnTo>
                  <a:lnTo>
                    <a:pt x="693" y="885"/>
                  </a:lnTo>
                  <a:lnTo>
                    <a:pt x="683" y="885"/>
                  </a:lnTo>
                  <a:lnTo>
                    <a:pt x="675" y="887"/>
                  </a:lnTo>
                  <a:lnTo>
                    <a:pt x="667" y="889"/>
                  </a:lnTo>
                  <a:lnTo>
                    <a:pt x="659" y="892"/>
                  </a:lnTo>
                  <a:lnTo>
                    <a:pt x="652" y="895"/>
                  </a:lnTo>
                  <a:lnTo>
                    <a:pt x="647" y="899"/>
                  </a:lnTo>
                  <a:lnTo>
                    <a:pt x="641" y="903"/>
                  </a:lnTo>
                  <a:lnTo>
                    <a:pt x="636" y="907"/>
                  </a:lnTo>
                  <a:lnTo>
                    <a:pt x="628" y="917"/>
                  </a:lnTo>
                  <a:lnTo>
                    <a:pt x="621" y="929"/>
                  </a:lnTo>
                  <a:lnTo>
                    <a:pt x="616" y="941"/>
                  </a:lnTo>
                  <a:lnTo>
                    <a:pt x="611" y="955"/>
                  </a:lnTo>
                  <a:lnTo>
                    <a:pt x="605" y="968"/>
                  </a:lnTo>
                  <a:lnTo>
                    <a:pt x="601" y="980"/>
                  </a:lnTo>
                  <a:lnTo>
                    <a:pt x="596" y="992"/>
                  </a:lnTo>
                  <a:lnTo>
                    <a:pt x="588" y="1003"/>
                  </a:lnTo>
                  <a:lnTo>
                    <a:pt x="585" y="1007"/>
                  </a:lnTo>
                  <a:lnTo>
                    <a:pt x="580" y="1011"/>
                  </a:lnTo>
                  <a:lnTo>
                    <a:pt x="576" y="1015"/>
                  </a:lnTo>
                  <a:lnTo>
                    <a:pt x="571" y="1019"/>
                  </a:lnTo>
                  <a:lnTo>
                    <a:pt x="564" y="1020"/>
                  </a:lnTo>
                  <a:lnTo>
                    <a:pt x="557" y="1023"/>
                  </a:lnTo>
                  <a:lnTo>
                    <a:pt x="551" y="1024"/>
                  </a:lnTo>
                  <a:lnTo>
                    <a:pt x="543" y="1024"/>
                  </a:lnTo>
                  <a:lnTo>
                    <a:pt x="533" y="1023"/>
                  </a:lnTo>
                  <a:lnTo>
                    <a:pt x="524" y="1021"/>
                  </a:lnTo>
                  <a:lnTo>
                    <a:pt x="513" y="1017"/>
                  </a:lnTo>
                  <a:lnTo>
                    <a:pt x="504" y="1015"/>
                  </a:lnTo>
                  <a:lnTo>
                    <a:pt x="488" y="1007"/>
                  </a:lnTo>
                  <a:lnTo>
                    <a:pt x="476" y="1000"/>
                  </a:lnTo>
                  <a:lnTo>
                    <a:pt x="475" y="965"/>
                  </a:lnTo>
                  <a:lnTo>
                    <a:pt x="473" y="936"/>
                  </a:lnTo>
                  <a:lnTo>
                    <a:pt x="471" y="911"/>
                  </a:lnTo>
                  <a:lnTo>
                    <a:pt x="469" y="891"/>
                  </a:lnTo>
                  <a:lnTo>
                    <a:pt x="468" y="873"/>
                  </a:lnTo>
                  <a:lnTo>
                    <a:pt x="468" y="859"/>
                  </a:lnTo>
                  <a:lnTo>
                    <a:pt x="469" y="852"/>
                  </a:lnTo>
                  <a:lnTo>
                    <a:pt x="471" y="845"/>
                  </a:lnTo>
                  <a:lnTo>
                    <a:pt x="473" y="837"/>
                  </a:lnTo>
                  <a:lnTo>
                    <a:pt x="476" y="831"/>
                  </a:lnTo>
                  <a:lnTo>
                    <a:pt x="467" y="831"/>
                  </a:lnTo>
                  <a:lnTo>
                    <a:pt x="463" y="828"/>
                  </a:lnTo>
                  <a:lnTo>
                    <a:pt x="461" y="827"/>
                  </a:lnTo>
                  <a:lnTo>
                    <a:pt x="457" y="825"/>
                  </a:lnTo>
                  <a:lnTo>
                    <a:pt x="443" y="796"/>
                  </a:lnTo>
                  <a:lnTo>
                    <a:pt x="416" y="749"/>
                  </a:lnTo>
                  <a:lnTo>
                    <a:pt x="391" y="705"/>
                  </a:lnTo>
                  <a:lnTo>
                    <a:pt x="380" y="687"/>
                  </a:lnTo>
                  <a:lnTo>
                    <a:pt x="368" y="687"/>
                  </a:lnTo>
                  <a:lnTo>
                    <a:pt x="344" y="687"/>
                  </a:lnTo>
                  <a:lnTo>
                    <a:pt x="335" y="685"/>
                  </a:lnTo>
                  <a:lnTo>
                    <a:pt x="328" y="683"/>
                  </a:lnTo>
                  <a:lnTo>
                    <a:pt x="323" y="679"/>
                  </a:lnTo>
                  <a:lnTo>
                    <a:pt x="319" y="672"/>
                  </a:lnTo>
                  <a:lnTo>
                    <a:pt x="316" y="665"/>
                  </a:lnTo>
                  <a:lnTo>
                    <a:pt x="313" y="659"/>
                  </a:lnTo>
                  <a:lnTo>
                    <a:pt x="312" y="649"/>
                  </a:lnTo>
                  <a:lnTo>
                    <a:pt x="311" y="641"/>
                  </a:lnTo>
                  <a:lnTo>
                    <a:pt x="308" y="625"/>
                  </a:lnTo>
                  <a:lnTo>
                    <a:pt x="307" y="611"/>
                  </a:lnTo>
                  <a:lnTo>
                    <a:pt x="304" y="604"/>
                  </a:lnTo>
                  <a:lnTo>
                    <a:pt x="303" y="600"/>
                  </a:lnTo>
                  <a:lnTo>
                    <a:pt x="299" y="597"/>
                  </a:lnTo>
                  <a:lnTo>
                    <a:pt x="295" y="596"/>
                  </a:lnTo>
                  <a:lnTo>
                    <a:pt x="289" y="596"/>
                  </a:lnTo>
                  <a:lnTo>
                    <a:pt x="281" y="596"/>
                  </a:lnTo>
                  <a:lnTo>
                    <a:pt x="269" y="596"/>
                  </a:lnTo>
                  <a:lnTo>
                    <a:pt x="253" y="596"/>
                  </a:lnTo>
                  <a:lnTo>
                    <a:pt x="247" y="596"/>
                  </a:lnTo>
                  <a:lnTo>
                    <a:pt x="239" y="595"/>
                  </a:lnTo>
                  <a:lnTo>
                    <a:pt x="232" y="591"/>
                  </a:lnTo>
                  <a:lnTo>
                    <a:pt x="225" y="587"/>
                  </a:lnTo>
                  <a:lnTo>
                    <a:pt x="220" y="583"/>
                  </a:lnTo>
                  <a:lnTo>
                    <a:pt x="215" y="576"/>
                  </a:lnTo>
                  <a:lnTo>
                    <a:pt x="212" y="568"/>
                  </a:lnTo>
                  <a:lnTo>
                    <a:pt x="211" y="560"/>
                  </a:lnTo>
                  <a:lnTo>
                    <a:pt x="212" y="553"/>
                  </a:lnTo>
                  <a:lnTo>
                    <a:pt x="213" y="548"/>
                  </a:lnTo>
                  <a:lnTo>
                    <a:pt x="216" y="543"/>
                  </a:lnTo>
                  <a:lnTo>
                    <a:pt x="219" y="537"/>
                  </a:lnTo>
                  <a:lnTo>
                    <a:pt x="227" y="529"/>
                  </a:lnTo>
                  <a:lnTo>
                    <a:pt x="235" y="521"/>
                  </a:lnTo>
                  <a:lnTo>
                    <a:pt x="244" y="513"/>
                  </a:lnTo>
                  <a:lnTo>
                    <a:pt x="252" y="504"/>
                  </a:lnTo>
                  <a:lnTo>
                    <a:pt x="255" y="500"/>
                  </a:lnTo>
                  <a:lnTo>
                    <a:pt x="257" y="495"/>
                  </a:lnTo>
                  <a:lnTo>
                    <a:pt x="259" y="488"/>
                  </a:lnTo>
                  <a:lnTo>
                    <a:pt x="259" y="482"/>
                  </a:lnTo>
                  <a:lnTo>
                    <a:pt x="257" y="466"/>
                  </a:lnTo>
                  <a:lnTo>
                    <a:pt x="255" y="450"/>
                  </a:lnTo>
                  <a:lnTo>
                    <a:pt x="249" y="438"/>
                  </a:lnTo>
                  <a:lnTo>
                    <a:pt x="241" y="426"/>
                  </a:lnTo>
                  <a:lnTo>
                    <a:pt x="233" y="415"/>
                  </a:lnTo>
                  <a:lnTo>
                    <a:pt x="223" y="406"/>
                  </a:lnTo>
                  <a:lnTo>
                    <a:pt x="212" y="398"/>
                  </a:lnTo>
                  <a:lnTo>
                    <a:pt x="200" y="390"/>
                  </a:lnTo>
                  <a:lnTo>
                    <a:pt x="176" y="376"/>
                  </a:lnTo>
                  <a:lnTo>
                    <a:pt x="152" y="362"/>
                  </a:lnTo>
                  <a:lnTo>
                    <a:pt x="141" y="354"/>
                  </a:lnTo>
                  <a:lnTo>
                    <a:pt x="131" y="346"/>
                  </a:lnTo>
                  <a:lnTo>
                    <a:pt x="123" y="336"/>
                  </a:lnTo>
                  <a:lnTo>
                    <a:pt x="115" y="326"/>
                  </a:lnTo>
                  <a:lnTo>
                    <a:pt x="109" y="318"/>
                  </a:lnTo>
                  <a:lnTo>
                    <a:pt x="103" y="311"/>
                  </a:lnTo>
                  <a:lnTo>
                    <a:pt x="95" y="306"/>
                  </a:lnTo>
                  <a:lnTo>
                    <a:pt x="87" y="302"/>
                  </a:lnTo>
                  <a:lnTo>
                    <a:pt x="68" y="296"/>
                  </a:lnTo>
                  <a:lnTo>
                    <a:pt x="48" y="291"/>
                  </a:lnTo>
                  <a:lnTo>
                    <a:pt x="39" y="288"/>
                  </a:lnTo>
                  <a:lnTo>
                    <a:pt x="30" y="284"/>
                  </a:lnTo>
                  <a:lnTo>
                    <a:pt x="22" y="279"/>
                  </a:lnTo>
                  <a:lnTo>
                    <a:pt x="15" y="274"/>
                  </a:lnTo>
                  <a:lnTo>
                    <a:pt x="8" y="266"/>
                  </a:lnTo>
                  <a:lnTo>
                    <a:pt x="4" y="255"/>
                  </a:lnTo>
                  <a:lnTo>
                    <a:pt x="2" y="243"/>
                  </a:lnTo>
                  <a:lnTo>
                    <a:pt x="0" y="230"/>
                  </a:lnTo>
                  <a:lnTo>
                    <a:pt x="2" y="216"/>
                  </a:lnTo>
                  <a:lnTo>
                    <a:pt x="3" y="204"/>
                  </a:lnTo>
                  <a:lnTo>
                    <a:pt x="6" y="192"/>
                  </a:lnTo>
                  <a:lnTo>
                    <a:pt x="10" y="183"/>
                  </a:lnTo>
                  <a:lnTo>
                    <a:pt x="12" y="172"/>
                  </a:lnTo>
                  <a:lnTo>
                    <a:pt x="15" y="163"/>
                  </a:lnTo>
                  <a:lnTo>
                    <a:pt x="18" y="154"/>
                  </a:lnTo>
                  <a:lnTo>
                    <a:pt x="19" y="144"/>
                  </a:lnTo>
                  <a:lnTo>
                    <a:pt x="19" y="140"/>
                  </a:lnTo>
                  <a:lnTo>
                    <a:pt x="19" y="130"/>
                  </a:lnTo>
                  <a:lnTo>
                    <a:pt x="19" y="114"/>
                  </a:lnTo>
                  <a:lnTo>
                    <a:pt x="19" y="96"/>
                  </a:lnTo>
                  <a:lnTo>
                    <a:pt x="132" y="18"/>
                  </a:lnTo>
                  <a:lnTo>
                    <a:pt x="149" y="12"/>
                  </a:lnTo>
                  <a:lnTo>
                    <a:pt x="163" y="7"/>
                  </a:lnTo>
                  <a:lnTo>
                    <a:pt x="169" y="4"/>
                  </a:lnTo>
                  <a:lnTo>
                    <a:pt x="176" y="2"/>
                  </a:lnTo>
                  <a:lnTo>
                    <a:pt x="184" y="0"/>
                  </a:lnTo>
                  <a:lnTo>
                    <a:pt x="193" y="0"/>
                  </a:lnTo>
                  <a:lnTo>
                    <a:pt x="201" y="0"/>
                  </a:lnTo>
                  <a:lnTo>
                    <a:pt x="209" y="3"/>
                  </a:lnTo>
                  <a:lnTo>
                    <a:pt x="217" y="7"/>
                  </a:lnTo>
                  <a:lnTo>
                    <a:pt x="225" y="11"/>
                  </a:lnTo>
                  <a:lnTo>
                    <a:pt x="241" y="23"/>
                  </a:lnTo>
                  <a:lnTo>
                    <a:pt x="256" y="38"/>
                  </a:lnTo>
                  <a:lnTo>
                    <a:pt x="271" y="52"/>
                  </a:lnTo>
                  <a:lnTo>
                    <a:pt x="283" y="68"/>
                  </a:lnTo>
                  <a:lnTo>
                    <a:pt x="293" y="84"/>
                  </a:lnTo>
                  <a:lnTo>
                    <a:pt x="301" y="96"/>
                  </a:lnTo>
                  <a:lnTo>
                    <a:pt x="308" y="103"/>
                  </a:lnTo>
                  <a:lnTo>
                    <a:pt x="315" y="107"/>
                  </a:lnTo>
                  <a:lnTo>
                    <a:pt x="324" y="111"/>
                  </a:lnTo>
                  <a:lnTo>
                    <a:pt x="333" y="114"/>
                  </a:lnTo>
                  <a:lnTo>
                    <a:pt x="353" y="118"/>
                  </a:lnTo>
                  <a:lnTo>
                    <a:pt x="373" y="120"/>
                  </a:lnTo>
                  <a:lnTo>
                    <a:pt x="384" y="123"/>
                  </a:lnTo>
                  <a:lnTo>
                    <a:pt x="393" y="124"/>
                  </a:lnTo>
                  <a:lnTo>
                    <a:pt x="401" y="128"/>
                  </a:lnTo>
                  <a:lnTo>
                    <a:pt x="409" y="132"/>
                  </a:lnTo>
                  <a:lnTo>
                    <a:pt x="416" y="138"/>
                  </a:lnTo>
                  <a:lnTo>
                    <a:pt x="421" y="144"/>
                  </a:lnTo>
                  <a:lnTo>
                    <a:pt x="425" y="152"/>
                  </a:lnTo>
                  <a:lnTo>
                    <a:pt x="428" y="163"/>
                  </a:lnTo>
                  <a:lnTo>
                    <a:pt x="429" y="174"/>
                  </a:lnTo>
                  <a:lnTo>
                    <a:pt x="433" y="182"/>
                  </a:lnTo>
                  <a:lnTo>
                    <a:pt x="437" y="190"/>
                  </a:lnTo>
                  <a:lnTo>
                    <a:pt x="443" y="198"/>
                  </a:lnTo>
                  <a:lnTo>
                    <a:pt x="448" y="204"/>
                  </a:lnTo>
                  <a:lnTo>
                    <a:pt x="455" y="210"/>
                  </a:lnTo>
                  <a:lnTo>
                    <a:pt x="461" y="214"/>
                  </a:lnTo>
                  <a:lnTo>
                    <a:pt x="469" y="218"/>
                  </a:lnTo>
                  <a:lnTo>
                    <a:pt x="487" y="224"/>
                  </a:lnTo>
                  <a:lnTo>
                    <a:pt x="505" y="230"/>
                  </a:lnTo>
                  <a:lnTo>
                    <a:pt x="525" y="234"/>
                  </a:lnTo>
                  <a:lnTo>
                    <a:pt x="545" y="236"/>
                  </a:lnTo>
                  <a:lnTo>
                    <a:pt x="567" y="239"/>
                  </a:lnTo>
                  <a:lnTo>
                    <a:pt x="588" y="242"/>
                  </a:lnTo>
                  <a:lnTo>
                    <a:pt x="609" y="246"/>
                  </a:lnTo>
                  <a:lnTo>
                    <a:pt x="628" y="250"/>
                  </a:lnTo>
                  <a:lnTo>
                    <a:pt x="637" y="254"/>
                  </a:lnTo>
                  <a:lnTo>
                    <a:pt x="647" y="258"/>
                  </a:lnTo>
                  <a:lnTo>
                    <a:pt x="655" y="262"/>
                  </a:lnTo>
                  <a:lnTo>
                    <a:pt x="663" y="267"/>
                  </a:lnTo>
                  <a:lnTo>
                    <a:pt x="669" y="272"/>
                  </a:lnTo>
                  <a:lnTo>
                    <a:pt x="676" y="279"/>
                  </a:lnTo>
                  <a:lnTo>
                    <a:pt x="681" y="287"/>
                  </a:lnTo>
                  <a:lnTo>
                    <a:pt x="687" y="295"/>
                  </a:lnTo>
                  <a:lnTo>
                    <a:pt x="687" y="307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accent1">
                  <a:lumMod val="20000"/>
                  <a:lumOff val="8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95" b="0" i="0" u="none" strike="noStrike" kern="1200" cap="none" spc="0" normalizeH="0" baseline="0" noProof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0" name="Freeform 64"/>
            <p:cNvSpPr>
              <a:spLocks/>
            </p:cNvSpPr>
            <p:nvPr/>
          </p:nvSpPr>
          <p:spPr bwMode="auto">
            <a:xfrm>
              <a:off x="4826606" y="2403520"/>
              <a:ext cx="34429" cy="39617"/>
            </a:xfrm>
            <a:custGeom>
              <a:avLst/>
              <a:gdLst>
                <a:gd name="T0" fmla="*/ 455 w 475"/>
                <a:gd name="T1" fmla="*/ 107 h 553"/>
                <a:gd name="T2" fmla="*/ 434 w 475"/>
                <a:gd name="T3" fmla="*/ 131 h 553"/>
                <a:gd name="T4" fmla="*/ 427 w 475"/>
                <a:gd name="T5" fmla="*/ 163 h 553"/>
                <a:gd name="T6" fmla="*/ 427 w 475"/>
                <a:gd name="T7" fmla="*/ 299 h 553"/>
                <a:gd name="T8" fmla="*/ 425 w 475"/>
                <a:gd name="T9" fmla="*/ 375 h 553"/>
                <a:gd name="T10" fmla="*/ 411 w 475"/>
                <a:gd name="T11" fmla="*/ 399 h 553"/>
                <a:gd name="T12" fmla="*/ 391 w 475"/>
                <a:gd name="T13" fmla="*/ 417 h 553"/>
                <a:gd name="T14" fmla="*/ 357 w 475"/>
                <a:gd name="T15" fmla="*/ 441 h 553"/>
                <a:gd name="T16" fmla="*/ 343 w 475"/>
                <a:gd name="T17" fmla="*/ 457 h 553"/>
                <a:gd name="T18" fmla="*/ 319 w 475"/>
                <a:gd name="T19" fmla="*/ 461 h 553"/>
                <a:gd name="T20" fmla="*/ 282 w 475"/>
                <a:gd name="T21" fmla="*/ 475 h 553"/>
                <a:gd name="T22" fmla="*/ 170 w 475"/>
                <a:gd name="T23" fmla="*/ 532 h 553"/>
                <a:gd name="T24" fmla="*/ 162 w 475"/>
                <a:gd name="T25" fmla="*/ 516 h 553"/>
                <a:gd name="T26" fmla="*/ 146 w 475"/>
                <a:gd name="T27" fmla="*/ 512 h 553"/>
                <a:gd name="T28" fmla="*/ 116 w 475"/>
                <a:gd name="T29" fmla="*/ 508 h 553"/>
                <a:gd name="T30" fmla="*/ 102 w 475"/>
                <a:gd name="T31" fmla="*/ 493 h 553"/>
                <a:gd name="T32" fmla="*/ 70 w 475"/>
                <a:gd name="T33" fmla="*/ 408 h 553"/>
                <a:gd name="T34" fmla="*/ 30 w 475"/>
                <a:gd name="T35" fmla="*/ 336 h 553"/>
                <a:gd name="T36" fmla="*/ 9 w 475"/>
                <a:gd name="T37" fmla="*/ 283 h 553"/>
                <a:gd name="T38" fmla="*/ 32 w 475"/>
                <a:gd name="T39" fmla="*/ 278 h 553"/>
                <a:gd name="T40" fmla="*/ 45 w 475"/>
                <a:gd name="T41" fmla="*/ 267 h 553"/>
                <a:gd name="T42" fmla="*/ 53 w 475"/>
                <a:gd name="T43" fmla="*/ 238 h 553"/>
                <a:gd name="T44" fmla="*/ 54 w 475"/>
                <a:gd name="T45" fmla="*/ 175 h 553"/>
                <a:gd name="T46" fmla="*/ 54 w 475"/>
                <a:gd name="T47" fmla="*/ 120 h 553"/>
                <a:gd name="T48" fmla="*/ 61 w 475"/>
                <a:gd name="T49" fmla="*/ 95 h 553"/>
                <a:gd name="T50" fmla="*/ 98 w 475"/>
                <a:gd name="T51" fmla="*/ 54 h 553"/>
                <a:gd name="T52" fmla="*/ 157 w 475"/>
                <a:gd name="T53" fmla="*/ 10 h 553"/>
                <a:gd name="T54" fmla="*/ 185 w 475"/>
                <a:gd name="T55" fmla="*/ 16 h 553"/>
                <a:gd name="T56" fmla="*/ 198 w 475"/>
                <a:gd name="T57" fmla="*/ 23 h 553"/>
                <a:gd name="T58" fmla="*/ 215 w 475"/>
                <a:gd name="T59" fmla="*/ 22 h 553"/>
                <a:gd name="T60" fmla="*/ 230 w 475"/>
                <a:gd name="T61" fmla="*/ 11 h 553"/>
                <a:gd name="T62" fmla="*/ 246 w 475"/>
                <a:gd name="T63" fmla="*/ 6 h 553"/>
                <a:gd name="T64" fmla="*/ 261 w 475"/>
                <a:gd name="T65" fmla="*/ 12 h 553"/>
                <a:gd name="T66" fmla="*/ 281 w 475"/>
                <a:gd name="T67" fmla="*/ 42 h 553"/>
                <a:gd name="T68" fmla="*/ 305 w 475"/>
                <a:gd name="T69" fmla="*/ 71 h 553"/>
                <a:gd name="T70" fmla="*/ 325 w 475"/>
                <a:gd name="T71" fmla="*/ 78 h 553"/>
                <a:gd name="T72" fmla="*/ 345 w 475"/>
                <a:gd name="T73" fmla="*/ 75 h 553"/>
                <a:gd name="T74" fmla="*/ 361 w 475"/>
                <a:gd name="T75" fmla="*/ 60 h 553"/>
                <a:gd name="T76" fmla="*/ 374 w 475"/>
                <a:gd name="T77" fmla="*/ 46 h 553"/>
                <a:gd name="T78" fmla="*/ 391 w 475"/>
                <a:gd name="T79" fmla="*/ 42 h 553"/>
                <a:gd name="T80" fmla="*/ 411 w 475"/>
                <a:gd name="T81" fmla="*/ 46 h 553"/>
                <a:gd name="T82" fmla="*/ 435 w 475"/>
                <a:gd name="T83" fmla="*/ 62 h 553"/>
                <a:gd name="T84" fmla="*/ 459 w 475"/>
                <a:gd name="T85" fmla="*/ 88 h 55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475"/>
                <a:gd name="T130" fmla="*/ 0 h 553"/>
                <a:gd name="T131" fmla="*/ 475 w 475"/>
                <a:gd name="T132" fmla="*/ 553 h 553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475" h="553">
                  <a:moveTo>
                    <a:pt x="475" y="96"/>
                  </a:moveTo>
                  <a:lnTo>
                    <a:pt x="465" y="102"/>
                  </a:lnTo>
                  <a:lnTo>
                    <a:pt x="455" y="107"/>
                  </a:lnTo>
                  <a:lnTo>
                    <a:pt x="447" y="115"/>
                  </a:lnTo>
                  <a:lnTo>
                    <a:pt x="439" y="123"/>
                  </a:lnTo>
                  <a:lnTo>
                    <a:pt x="434" y="131"/>
                  </a:lnTo>
                  <a:lnTo>
                    <a:pt x="430" y="142"/>
                  </a:lnTo>
                  <a:lnTo>
                    <a:pt x="427" y="151"/>
                  </a:lnTo>
                  <a:lnTo>
                    <a:pt x="427" y="163"/>
                  </a:lnTo>
                  <a:lnTo>
                    <a:pt x="427" y="211"/>
                  </a:lnTo>
                  <a:lnTo>
                    <a:pt x="427" y="254"/>
                  </a:lnTo>
                  <a:lnTo>
                    <a:pt x="427" y="299"/>
                  </a:lnTo>
                  <a:lnTo>
                    <a:pt x="427" y="355"/>
                  </a:lnTo>
                  <a:lnTo>
                    <a:pt x="426" y="366"/>
                  </a:lnTo>
                  <a:lnTo>
                    <a:pt x="425" y="375"/>
                  </a:lnTo>
                  <a:lnTo>
                    <a:pt x="421" y="384"/>
                  </a:lnTo>
                  <a:lnTo>
                    <a:pt x="417" y="392"/>
                  </a:lnTo>
                  <a:lnTo>
                    <a:pt x="411" y="399"/>
                  </a:lnTo>
                  <a:lnTo>
                    <a:pt x="405" y="405"/>
                  </a:lnTo>
                  <a:lnTo>
                    <a:pt x="399" y="412"/>
                  </a:lnTo>
                  <a:lnTo>
                    <a:pt x="391" y="417"/>
                  </a:lnTo>
                  <a:lnTo>
                    <a:pt x="378" y="428"/>
                  </a:lnTo>
                  <a:lnTo>
                    <a:pt x="363" y="437"/>
                  </a:lnTo>
                  <a:lnTo>
                    <a:pt x="357" y="441"/>
                  </a:lnTo>
                  <a:lnTo>
                    <a:pt x="351" y="447"/>
                  </a:lnTo>
                  <a:lnTo>
                    <a:pt x="347" y="452"/>
                  </a:lnTo>
                  <a:lnTo>
                    <a:pt x="343" y="457"/>
                  </a:lnTo>
                  <a:lnTo>
                    <a:pt x="334" y="457"/>
                  </a:lnTo>
                  <a:lnTo>
                    <a:pt x="326" y="459"/>
                  </a:lnTo>
                  <a:lnTo>
                    <a:pt x="319" y="461"/>
                  </a:lnTo>
                  <a:lnTo>
                    <a:pt x="313" y="464"/>
                  </a:lnTo>
                  <a:lnTo>
                    <a:pt x="299" y="469"/>
                  </a:lnTo>
                  <a:lnTo>
                    <a:pt x="282" y="475"/>
                  </a:lnTo>
                  <a:lnTo>
                    <a:pt x="169" y="553"/>
                  </a:lnTo>
                  <a:lnTo>
                    <a:pt x="170" y="541"/>
                  </a:lnTo>
                  <a:lnTo>
                    <a:pt x="170" y="532"/>
                  </a:lnTo>
                  <a:lnTo>
                    <a:pt x="169" y="525"/>
                  </a:lnTo>
                  <a:lnTo>
                    <a:pt x="166" y="520"/>
                  </a:lnTo>
                  <a:lnTo>
                    <a:pt x="162" y="516"/>
                  </a:lnTo>
                  <a:lnTo>
                    <a:pt x="157" y="513"/>
                  </a:lnTo>
                  <a:lnTo>
                    <a:pt x="153" y="513"/>
                  </a:lnTo>
                  <a:lnTo>
                    <a:pt x="146" y="512"/>
                  </a:lnTo>
                  <a:lnTo>
                    <a:pt x="134" y="512"/>
                  </a:lnTo>
                  <a:lnTo>
                    <a:pt x="122" y="511"/>
                  </a:lnTo>
                  <a:lnTo>
                    <a:pt x="116" y="508"/>
                  </a:lnTo>
                  <a:lnTo>
                    <a:pt x="110" y="505"/>
                  </a:lnTo>
                  <a:lnTo>
                    <a:pt x="106" y="500"/>
                  </a:lnTo>
                  <a:lnTo>
                    <a:pt x="102" y="493"/>
                  </a:lnTo>
                  <a:lnTo>
                    <a:pt x="93" y="461"/>
                  </a:lnTo>
                  <a:lnTo>
                    <a:pt x="82" y="433"/>
                  </a:lnTo>
                  <a:lnTo>
                    <a:pt x="70" y="408"/>
                  </a:lnTo>
                  <a:lnTo>
                    <a:pt x="58" y="384"/>
                  </a:lnTo>
                  <a:lnTo>
                    <a:pt x="45" y="360"/>
                  </a:lnTo>
                  <a:lnTo>
                    <a:pt x="30" y="336"/>
                  </a:lnTo>
                  <a:lnTo>
                    <a:pt x="16" y="311"/>
                  </a:lnTo>
                  <a:lnTo>
                    <a:pt x="0" y="283"/>
                  </a:lnTo>
                  <a:lnTo>
                    <a:pt x="9" y="283"/>
                  </a:lnTo>
                  <a:lnTo>
                    <a:pt x="18" y="282"/>
                  </a:lnTo>
                  <a:lnTo>
                    <a:pt x="25" y="280"/>
                  </a:lnTo>
                  <a:lnTo>
                    <a:pt x="32" y="278"/>
                  </a:lnTo>
                  <a:lnTo>
                    <a:pt x="37" y="275"/>
                  </a:lnTo>
                  <a:lnTo>
                    <a:pt x="41" y="271"/>
                  </a:lnTo>
                  <a:lnTo>
                    <a:pt x="45" y="267"/>
                  </a:lnTo>
                  <a:lnTo>
                    <a:pt x="48" y="262"/>
                  </a:lnTo>
                  <a:lnTo>
                    <a:pt x="52" y="251"/>
                  </a:lnTo>
                  <a:lnTo>
                    <a:pt x="53" y="238"/>
                  </a:lnTo>
                  <a:lnTo>
                    <a:pt x="54" y="222"/>
                  </a:lnTo>
                  <a:lnTo>
                    <a:pt x="54" y="204"/>
                  </a:lnTo>
                  <a:lnTo>
                    <a:pt x="54" y="175"/>
                  </a:lnTo>
                  <a:lnTo>
                    <a:pt x="54" y="154"/>
                  </a:lnTo>
                  <a:lnTo>
                    <a:pt x="54" y="136"/>
                  </a:lnTo>
                  <a:lnTo>
                    <a:pt x="54" y="120"/>
                  </a:lnTo>
                  <a:lnTo>
                    <a:pt x="54" y="112"/>
                  </a:lnTo>
                  <a:lnTo>
                    <a:pt x="57" y="104"/>
                  </a:lnTo>
                  <a:lnTo>
                    <a:pt x="61" y="95"/>
                  </a:lnTo>
                  <a:lnTo>
                    <a:pt x="66" y="87"/>
                  </a:lnTo>
                  <a:lnTo>
                    <a:pt x="81" y="70"/>
                  </a:lnTo>
                  <a:lnTo>
                    <a:pt x="98" y="54"/>
                  </a:lnTo>
                  <a:lnTo>
                    <a:pt x="118" y="38"/>
                  </a:lnTo>
                  <a:lnTo>
                    <a:pt x="138" y="23"/>
                  </a:lnTo>
                  <a:lnTo>
                    <a:pt x="157" y="10"/>
                  </a:lnTo>
                  <a:lnTo>
                    <a:pt x="174" y="0"/>
                  </a:lnTo>
                  <a:lnTo>
                    <a:pt x="180" y="8"/>
                  </a:lnTo>
                  <a:lnTo>
                    <a:pt x="185" y="16"/>
                  </a:lnTo>
                  <a:lnTo>
                    <a:pt x="189" y="19"/>
                  </a:lnTo>
                  <a:lnTo>
                    <a:pt x="193" y="22"/>
                  </a:lnTo>
                  <a:lnTo>
                    <a:pt x="198" y="23"/>
                  </a:lnTo>
                  <a:lnTo>
                    <a:pt x="205" y="24"/>
                  </a:lnTo>
                  <a:lnTo>
                    <a:pt x="210" y="23"/>
                  </a:lnTo>
                  <a:lnTo>
                    <a:pt x="215" y="22"/>
                  </a:lnTo>
                  <a:lnTo>
                    <a:pt x="221" y="18"/>
                  </a:lnTo>
                  <a:lnTo>
                    <a:pt x="226" y="15"/>
                  </a:lnTo>
                  <a:lnTo>
                    <a:pt x="230" y="11"/>
                  </a:lnTo>
                  <a:lnTo>
                    <a:pt x="235" y="8"/>
                  </a:lnTo>
                  <a:lnTo>
                    <a:pt x="241" y="7"/>
                  </a:lnTo>
                  <a:lnTo>
                    <a:pt x="246" y="6"/>
                  </a:lnTo>
                  <a:lnTo>
                    <a:pt x="251" y="7"/>
                  </a:lnTo>
                  <a:lnTo>
                    <a:pt x="257" y="8"/>
                  </a:lnTo>
                  <a:lnTo>
                    <a:pt x="261" y="12"/>
                  </a:lnTo>
                  <a:lnTo>
                    <a:pt x="266" y="18"/>
                  </a:lnTo>
                  <a:lnTo>
                    <a:pt x="273" y="28"/>
                  </a:lnTo>
                  <a:lnTo>
                    <a:pt x="281" y="42"/>
                  </a:lnTo>
                  <a:lnTo>
                    <a:pt x="290" y="55"/>
                  </a:lnTo>
                  <a:lnTo>
                    <a:pt x="299" y="67"/>
                  </a:lnTo>
                  <a:lnTo>
                    <a:pt x="305" y="71"/>
                  </a:lnTo>
                  <a:lnTo>
                    <a:pt x="310" y="75"/>
                  </a:lnTo>
                  <a:lnTo>
                    <a:pt x="317" y="78"/>
                  </a:lnTo>
                  <a:lnTo>
                    <a:pt x="325" y="78"/>
                  </a:lnTo>
                  <a:lnTo>
                    <a:pt x="333" y="78"/>
                  </a:lnTo>
                  <a:lnTo>
                    <a:pt x="339" y="76"/>
                  </a:lnTo>
                  <a:lnTo>
                    <a:pt x="345" y="75"/>
                  </a:lnTo>
                  <a:lnTo>
                    <a:pt x="350" y="72"/>
                  </a:lnTo>
                  <a:lnTo>
                    <a:pt x="355" y="67"/>
                  </a:lnTo>
                  <a:lnTo>
                    <a:pt x="361" y="60"/>
                  </a:lnTo>
                  <a:lnTo>
                    <a:pt x="365" y="54"/>
                  </a:lnTo>
                  <a:lnTo>
                    <a:pt x="370" y="47"/>
                  </a:lnTo>
                  <a:lnTo>
                    <a:pt x="374" y="46"/>
                  </a:lnTo>
                  <a:lnTo>
                    <a:pt x="378" y="43"/>
                  </a:lnTo>
                  <a:lnTo>
                    <a:pt x="383" y="42"/>
                  </a:lnTo>
                  <a:lnTo>
                    <a:pt x="391" y="42"/>
                  </a:lnTo>
                  <a:lnTo>
                    <a:pt x="398" y="42"/>
                  </a:lnTo>
                  <a:lnTo>
                    <a:pt x="405" y="43"/>
                  </a:lnTo>
                  <a:lnTo>
                    <a:pt x="411" y="46"/>
                  </a:lnTo>
                  <a:lnTo>
                    <a:pt x="417" y="48"/>
                  </a:lnTo>
                  <a:lnTo>
                    <a:pt x="426" y="54"/>
                  </a:lnTo>
                  <a:lnTo>
                    <a:pt x="435" y="62"/>
                  </a:lnTo>
                  <a:lnTo>
                    <a:pt x="442" y="71"/>
                  </a:lnTo>
                  <a:lnTo>
                    <a:pt x="450" y="80"/>
                  </a:lnTo>
                  <a:lnTo>
                    <a:pt x="459" y="88"/>
                  </a:lnTo>
                  <a:lnTo>
                    <a:pt x="469" y="96"/>
                  </a:lnTo>
                  <a:lnTo>
                    <a:pt x="475" y="96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accent1">
                  <a:lumMod val="20000"/>
                  <a:lumOff val="8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95" b="0" i="0" u="none" strike="noStrike" kern="1200" cap="none" spc="0" normalizeH="0" baseline="0" noProof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1" name="Freeform 65"/>
            <p:cNvSpPr>
              <a:spLocks/>
            </p:cNvSpPr>
            <p:nvPr/>
          </p:nvSpPr>
          <p:spPr bwMode="auto">
            <a:xfrm>
              <a:off x="4791233" y="2408000"/>
              <a:ext cx="47870" cy="50464"/>
            </a:xfrm>
            <a:custGeom>
              <a:avLst/>
              <a:gdLst>
                <a:gd name="T0" fmla="*/ 663 w 664"/>
                <a:gd name="T1" fmla="*/ 505 h 698"/>
                <a:gd name="T2" fmla="*/ 663 w 664"/>
                <a:gd name="T3" fmla="*/ 459 h 698"/>
                <a:gd name="T4" fmla="*/ 647 w 664"/>
                <a:gd name="T5" fmla="*/ 447 h 698"/>
                <a:gd name="T6" fmla="*/ 610 w 664"/>
                <a:gd name="T7" fmla="*/ 442 h 698"/>
                <a:gd name="T8" fmla="*/ 587 w 664"/>
                <a:gd name="T9" fmla="*/ 395 h 698"/>
                <a:gd name="T10" fmla="*/ 539 w 664"/>
                <a:gd name="T11" fmla="*/ 294 h 698"/>
                <a:gd name="T12" fmla="*/ 486 w 664"/>
                <a:gd name="T13" fmla="*/ 217 h 698"/>
                <a:gd name="T14" fmla="*/ 442 w 664"/>
                <a:gd name="T15" fmla="*/ 201 h 698"/>
                <a:gd name="T16" fmla="*/ 391 w 664"/>
                <a:gd name="T17" fmla="*/ 160 h 698"/>
                <a:gd name="T18" fmla="*/ 376 w 664"/>
                <a:gd name="T19" fmla="*/ 126 h 698"/>
                <a:gd name="T20" fmla="*/ 379 w 664"/>
                <a:gd name="T21" fmla="*/ 92 h 698"/>
                <a:gd name="T22" fmla="*/ 372 w 664"/>
                <a:gd name="T23" fmla="*/ 77 h 698"/>
                <a:gd name="T24" fmla="*/ 344 w 664"/>
                <a:gd name="T25" fmla="*/ 61 h 698"/>
                <a:gd name="T26" fmla="*/ 311 w 664"/>
                <a:gd name="T27" fmla="*/ 25 h 698"/>
                <a:gd name="T28" fmla="*/ 288 w 664"/>
                <a:gd name="T29" fmla="*/ 8 h 698"/>
                <a:gd name="T30" fmla="*/ 252 w 664"/>
                <a:gd name="T31" fmla="*/ 5 h 698"/>
                <a:gd name="T32" fmla="*/ 220 w 664"/>
                <a:gd name="T33" fmla="*/ 4 h 698"/>
                <a:gd name="T34" fmla="*/ 202 w 664"/>
                <a:gd name="T35" fmla="*/ 26 h 698"/>
                <a:gd name="T36" fmla="*/ 155 w 664"/>
                <a:gd name="T37" fmla="*/ 97 h 698"/>
                <a:gd name="T38" fmla="*/ 135 w 664"/>
                <a:gd name="T39" fmla="*/ 148 h 698"/>
                <a:gd name="T40" fmla="*/ 119 w 664"/>
                <a:gd name="T41" fmla="*/ 178 h 698"/>
                <a:gd name="T42" fmla="*/ 120 w 664"/>
                <a:gd name="T43" fmla="*/ 198 h 698"/>
                <a:gd name="T44" fmla="*/ 152 w 664"/>
                <a:gd name="T45" fmla="*/ 237 h 698"/>
                <a:gd name="T46" fmla="*/ 126 w 664"/>
                <a:gd name="T47" fmla="*/ 262 h 698"/>
                <a:gd name="T48" fmla="*/ 120 w 664"/>
                <a:gd name="T49" fmla="*/ 293 h 698"/>
                <a:gd name="T50" fmla="*/ 123 w 664"/>
                <a:gd name="T51" fmla="*/ 337 h 698"/>
                <a:gd name="T52" fmla="*/ 96 w 664"/>
                <a:gd name="T53" fmla="*/ 381 h 698"/>
                <a:gd name="T54" fmla="*/ 51 w 664"/>
                <a:gd name="T55" fmla="*/ 425 h 698"/>
                <a:gd name="T56" fmla="*/ 11 w 664"/>
                <a:gd name="T57" fmla="*/ 474 h 698"/>
                <a:gd name="T58" fmla="*/ 0 w 664"/>
                <a:gd name="T59" fmla="*/ 514 h 698"/>
                <a:gd name="T60" fmla="*/ 10 w 664"/>
                <a:gd name="T61" fmla="*/ 569 h 698"/>
                <a:gd name="T62" fmla="*/ 36 w 664"/>
                <a:gd name="T63" fmla="*/ 646 h 698"/>
                <a:gd name="T64" fmla="*/ 47 w 664"/>
                <a:gd name="T65" fmla="*/ 641 h 698"/>
                <a:gd name="T66" fmla="*/ 71 w 664"/>
                <a:gd name="T67" fmla="*/ 639 h 698"/>
                <a:gd name="T68" fmla="*/ 111 w 664"/>
                <a:gd name="T69" fmla="*/ 657 h 698"/>
                <a:gd name="T70" fmla="*/ 160 w 664"/>
                <a:gd name="T71" fmla="*/ 693 h 698"/>
                <a:gd name="T72" fmla="*/ 206 w 664"/>
                <a:gd name="T73" fmla="*/ 698 h 698"/>
                <a:gd name="T74" fmla="*/ 247 w 664"/>
                <a:gd name="T75" fmla="*/ 686 h 698"/>
                <a:gd name="T76" fmla="*/ 287 w 664"/>
                <a:gd name="T77" fmla="*/ 682 h 698"/>
                <a:gd name="T78" fmla="*/ 308 w 664"/>
                <a:gd name="T79" fmla="*/ 682 h 698"/>
                <a:gd name="T80" fmla="*/ 335 w 664"/>
                <a:gd name="T81" fmla="*/ 631 h 698"/>
                <a:gd name="T82" fmla="*/ 390 w 664"/>
                <a:gd name="T83" fmla="*/ 554 h 698"/>
                <a:gd name="T84" fmla="*/ 443 w 664"/>
                <a:gd name="T85" fmla="*/ 518 h 698"/>
                <a:gd name="T86" fmla="*/ 535 w 664"/>
                <a:gd name="T87" fmla="*/ 518 h 698"/>
                <a:gd name="T88" fmla="*/ 567 w 664"/>
                <a:gd name="T89" fmla="*/ 541 h 698"/>
                <a:gd name="T90" fmla="*/ 619 w 664"/>
                <a:gd name="T91" fmla="*/ 590 h 698"/>
                <a:gd name="T92" fmla="*/ 647 w 664"/>
                <a:gd name="T93" fmla="*/ 595 h 698"/>
                <a:gd name="T94" fmla="*/ 662 w 664"/>
                <a:gd name="T95" fmla="*/ 546 h 698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664"/>
                <a:gd name="T145" fmla="*/ 0 h 698"/>
                <a:gd name="T146" fmla="*/ 664 w 664"/>
                <a:gd name="T147" fmla="*/ 698 h 698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664" h="698">
                  <a:moveTo>
                    <a:pt x="663" y="535"/>
                  </a:moveTo>
                  <a:lnTo>
                    <a:pt x="663" y="531"/>
                  </a:lnTo>
                  <a:lnTo>
                    <a:pt x="663" y="521"/>
                  </a:lnTo>
                  <a:lnTo>
                    <a:pt x="663" y="505"/>
                  </a:lnTo>
                  <a:lnTo>
                    <a:pt x="663" y="487"/>
                  </a:lnTo>
                  <a:lnTo>
                    <a:pt x="664" y="475"/>
                  </a:lnTo>
                  <a:lnTo>
                    <a:pt x="664" y="466"/>
                  </a:lnTo>
                  <a:lnTo>
                    <a:pt x="663" y="459"/>
                  </a:lnTo>
                  <a:lnTo>
                    <a:pt x="660" y="454"/>
                  </a:lnTo>
                  <a:lnTo>
                    <a:pt x="656" y="450"/>
                  </a:lnTo>
                  <a:lnTo>
                    <a:pt x="651" y="447"/>
                  </a:lnTo>
                  <a:lnTo>
                    <a:pt x="647" y="447"/>
                  </a:lnTo>
                  <a:lnTo>
                    <a:pt x="640" y="446"/>
                  </a:lnTo>
                  <a:lnTo>
                    <a:pt x="628" y="446"/>
                  </a:lnTo>
                  <a:lnTo>
                    <a:pt x="616" y="445"/>
                  </a:lnTo>
                  <a:lnTo>
                    <a:pt x="610" y="442"/>
                  </a:lnTo>
                  <a:lnTo>
                    <a:pt x="604" y="439"/>
                  </a:lnTo>
                  <a:lnTo>
                    <a:pt x="600" y="434"/>
                  </a:lnTo>
                  <a:lnTo>
                    <a:pt x="596" y="427"/>
                  </a:lnTo>
                  <a:lnTo>
                    <a:pt x="587" y="395"/>
                  </a:lnTo>
                  <a:lnTo>
                    <a:pt x="576" y="367"/>
                  </a:lnTo>
                  <a:lnTo>
                    <a:pt x="564" y="342"/>
                  </a:lnTo>
                  <a:lnTo>
                    <a:pt x="552" y="318"/>
                  </a:lnTo>
                  <a:lnTo>
                    <a:pt x="539" y="294"/>
                  </a:lnTo>
                  <a:lnTo>
                    <a:pt x="524" y="270"/>
                  </a:lnTo>
                  <a:lnTo>
                    <a:pt x="510" y="245"/>
                  </a:lnTo>
                  <a:lnTo>
                    <a:pt x="494" y="217"/>
                  </a:lnTo>
                  <a:lnTo>
                    <a:pt x="486" y="217"/>
                  </a:lnTo>
                  <a:lnTo>
                    <a:pt x="478" y="214"/>
                  </a:lnTo>
                  <a:lnTo>
                    <a:pt x="468" y="213"/>
                  </a:lnTo>
                  <a:lnTo>
                    <a:pt x="460" y="210"/>
                  </a:lnTo>
                  <a:lnTo>
                    <a:pt x="442" y="201"/>
                  </a:lnTo>
                  <a:lnTo>
                    <a:pt x="426" y="192"/>
                  </a:lnTo>
                  <a:lnTo>
                    <a:pt x="410" y="180"/>
                  </a:lnTo>
                  <a:lnTo>
                    <a:pt x="396" y="166"/>
                  </a:lnTo>
                  <a:lnTo>
                    <a:pt x="391" y="160"/>
                  </a:lnTo>
                  <a:lnTo>
                    <a:pt x="386" y="152"/>
                  </a:lnTo>
                  <a:lnTo>
                    <a:pt x="382" y="145"/>
                  </a:lnTo>
                  <a:lnTo>
                    <a:pt x="379" y="138"/>
                  </a:lnTo>
                  <a:lnTo>
                    <a:pt x="376" y="126"/>
                  </a:lnTo>
                  <a:lnTo>
                    <a:pt x="376" y="114"/>
                  </a:lnTo>
                  <a:lnTo>
                    <a:pt x="378" y="105"/>
                  </a:lnTo>
                  <a:lnTo>
                    <a:pt x="379" y="96"/>
                  </a:lnTo>
                  <a:lnTo>
                    <a:pt x="379" y="92"/>
                  </a:lnTo>
                  <a:lnTo>
                    <a:pt x="378" y="88"/>
                  </a:lnTo>
                  <a:lnTo>
                    <a:pt x="378" y="84"/>
                  </a:lnTo>
                  <a:lnTo>
                    <a:pt x="375" y="80"/>
                  </a:lnTo>
                  <a:lnTo>
                    <a:pt x="372" y="77"/>
                  </a:lnTo>
                  <a:lnTo>
                    <a:pt x="368" y="73"/>
                  </a:lnTo>
                  <a:lnTo>
                    <a:pt x="362" y="69"/>
                  </a:lnTo>
                  <a:lnTo>
                    <a:pt x="355" y="66"/>
                  </a:lnTo>
                  <a:lnTo>
                    <a:pt x="344" y="61"/>
                  </a:lnTo>
                  <a:lnTo>
                    <a:pt x="335" y="53"/>
                  </a:lnTo>
                  <a:lnTo>
                    <a:pt x="327" y="44"/>
                  </a:lnTo>
                  <a:lnTo>
                    <a:pt x="319" y="34"/>
                  </a:lnTo>
                  <a:lnTo>
                    <a:pt x="311" y="25"/>
                  </a:lnTo>
                  <a:lnTo>
                    <a:pt x="303" y="16"/>
                  </a:lnTo>
                  <a:lnTo>
                    <a:pt x="298" y="13"/>
                  </a:lnTo>
                  <a:lnTo>
                    <a:pt x="294" y="10"/>
                  </a:lnTo>
                  <a:lnTo>
                    <a:pt x="288" y="8"/>
                  </a:lnTo>
                  <a:lnTo>
                    <a:pt x="283" y="6"/>
                  </a:lnTo>
                  <a:lnTo>
                    <a:pt x="271" y="5"/>
                  </a:lnTo>
                  <a:lnTo>
                    <a:pt x="260" y="4"/>
                  </a:lnTo>
                  <a:lnTo>
                    <a:pt x="252" y="5"/>
                  </a:lnTo>
                  <a:lnTo>
                    <a:pt x="244" y="5"/>
                  </a:lnTo>
                  <a:lnTo>
                    <a:pt x="238" y="5"/>
                  </a:lnTo>
                  <a:lnTo>
                    <a:pt x="230" y="5"/>
                  </a:lnTo>
                  <a:lnTo>
                    <a:pt x="220" y="4"/>
                  </a:lnTo>
                  <a:lnTo>
                    <a:pt x="211" y="0"/>
                  </a:lnTo>
                  <a:lnTo>
                    <a:pt x="208" y="8"/>
                  </a:lnTo>
                  <a:lnTo>
                    <a:pt x="206" y="17"/>
                  </a:lnTo>
                  <a:lnTo>
                    <a:pt x="202" y="26"/>
                  </a:lnTo>
                  <a:lnTo>
                    <a:pt x="196" y="37"/>
                  </a:lnTo>
                  <a:lnTo>
                    <a:pt x="183" y="57"/>
                  </a:lnTo>
                  <a:lnTo>
                    <a:pt x="170" y="77"/>
                  </a:lnTo>
                  <a:lnTo>
                    <a:pt x="155" y="97"/>
                  </a:lnTo>
                  <a:lnTo>
                    <a:pt x="144" y="113"/>
                  </a:lnTo>
                  <a:lnTo>
                    <a:pt x="135" y="125"/>
                  </a:lnTo>
                  <a:lnTo>
                    <a:pt x="132" y="133"/>
                  </a:lnTo>
                  <a:lnTo>
                    <a:pt x="135" y="148"/>
                  </a:lnTo>
                  <a:lnTo>
                    <a:pt x="139" y="162"/>
                  </a:lnTo>
                  <a:lnTo>
                    <a:pt x="130" y="170"/>
                  </a:lnTo>
                  <a:lnTo>
                    <a:pt x="122" y="176"/>
                  </a:lnTo>
                  <a:lnTo>
                    <a:pt x="119" y="178"/>
                  </a:lnTo>
                  <a:lnTo>
                    <a:pt x="116" y="182"/>
                  </a:lnTo>
                  <a:lnTo>
                    <a:pt x="115" y="186"/>
                  </a:lnTo>
                  <a:lnTo>
                    <a:pt x="114" y="193"/>
                  </a:lnTo>
                  <a:lnTo>
                    <a:pt x="120" y="198"/>
                  </a:lnTo>
                  <a:lnTo>
                    <a:pt x="134" y="210"/>
                  </a:lnTo>
                  <a:lnTo>
                    <a:pt x="147" y="224"/>
                  </a:lnTo>
                  <a:lnTo>
                    <a:pt x="156" y="229"/>
                  </a:lnTo>
                  <a:lnTo>
                    <a:pt x="152" y="237"/>
                  </a:lnTo>
                  <a:lnTo>
                    <a:pt x="147" y="245"/>
                  </a:lnTo>
                  <a:lnTo>
                    <a:pt x="140" y="252"/>
                  </a:lnTo>
                  <a:lnTo>
                    <a:pt x="134" y="257"/>
                  </a:lnTo>
                  <a:lnTo>
                    <a:pt x="126" y="262"/>
                  </a:lnTo>
                  <a:lnTo>
                    <a:pt x="120" y="268"/>
                  </a:lnTo>
                  <a:lnTo>
                    <a:pt x="116" y="273"/>
                  </a:lnTo>
                  <a:lnTo>
                    <a:pt x="114" y="277"/>
                  </a:lnTo>
                  <a:lnTo>
                    <a:pt x="120" y="293"/>
                  </a:lnTo>
                  <a:lnTo>
                    <a:pt x="126" y="313"/>
                  </a:lnTo>
                  <a:lnTo>
                    <a:pt x="126" y="321"/>
                  </a:lnTo>
                  <a:lnTo>
                    <a:pt x="124" y="329"/>
                  </a:lnTo>
                  <a:lnTo>
                    <a:pt x="123" y="337"/>
                  </a:lnTo>
                  <a:lnTo>
                    <a:pt x="120" y="343"/>
                  </a:lnTo>
                  <a:lnTo>
                    <a:pt x="115" y="357"/>
                  </a:lnTo>
                  <a:lnTo>
                    <a:pt x="107" y="370"/>
                  </a:lnTo>
                  <a:lnTo>
                    <a:pt x="96" y="381"/>
                  </a:lnTo>
                  <a:lnTo>
                    <a:pt x="86" y="393"/>
                  </a:lnTo>
                  <a:lnTo>
                    <a:pt x="75" y="403"/>
                  </a:lnTo>
                  <a:lnTo>
                    <a:pt x="63" y="414"/>
                  </a:lnTo>
                  <a:lnTo>
                    <a:pt x="51" y="425"/>
                  </a:lnTo>
                  <a:lnTo>
                    <a:pt x="40" y="435"/>
                  </a:lnTo>
                  <a:lnTo>
                    <a:pt x="30" y="447"/>
                  </a:lnTo>
                  <a:lnTo>
                    <a:pt x="19" y="461"/>
                  </a:lnTo>
                  <a:lnTo>
                    <a:pt x="11" y="474"/>
                  </a:lnTo>
                  <a:lnTo>
                    <a:pt x="6" y="489"/>
                  </a:lnTo>
                  <a:lnTo>
                    <a:pt x="3" y="497"/>
                  </a:lnTo>
                  <a:lnTo>
                    <a:pt x="2" y="506"/>
                  </a:lnTo>
                  <a:lnTo>
                    <a:pt x="0" y="514"/>
                  </a:lnTo>
                  <a:lnTo>
                    <a:pt x="0" y="523"/>
                  </a:lnTo>
                  <a:lnTo>
                    <a:pt x="2" y="534"/>
                  </a:lnTo>
                  <a:lnTo>
                    <a:pt x="4" y="550"/>
                  </a:lnTo>
                  <a:lnTo>
                    <a:pt x="10" y="569"/>
                  </a:lnTo>
                  <a:lnTo>
                    <a:pt x="16" y="590"/>
                  </a:lnTo>
                  <a:lnTo>
                    <a:pt x="23" y="611"/>
                  </a:lnTo>
                  <a:lnTo>
                    <a:pt x="30" y="630"/>
                  </a:lnTo>
                  <a:lnTo>
                    <a:pt x="36" y="646"/>
                  </a:lnTo>
                  <a:lnTo>
                    <a:pt x="42" y="657"/>
                  </a:lnTo>
                  <a:lnTo>
                    <a:pt x="42" y="649"/>
                  </a:lnTo>
                  <a:lnTo>
                    <a:pt x="44" y="643"/>
                  </a:lnTo>
                  <a:lnTo>
                    <a:pt x="47" y="641"/>
                  </a:lnTo>
                  <a:lnTo>
                    <a:pt x="50" y="639"/>
                  </a:lnTo>
                  <a:lnTo>
                    <a:pt x="54" y="638"/>
                  </a:lnTo>
                  <a:lnTo>
                    <a:pt x="60" y="638"/>
                  </a:lnTo>
                  <a:lnTo>
                    <a:pt x="71" y="639"/>
                  </a:lnTo>
                  <a:lnTo>
                    <a:pt x="80" y="641"/>
                  </a:lnTo>
                  <a:lnTo>
                    <a:pt x="88" y="643"/>
                  </a:lnTo>
                  <a:lnTo>
                    <a:pt x="96" y="647"/>
                  </a:lnTo>
                  <a:lnTo>
                    <a:pt x="111" y="657"/>
                  </a:lnTo>
                  <a:lnTo>
                    <a:pt x="124" y="669"/>
                  </a:lnTo>
                  <a:lnTo>
                    <a:pt x="138" y="679"/>
                  </a:lnTo>
                  <a:lnTo>
                    <a:pt x="152" y="689"/>
                  </a:lnTo>
                  <a:lnTo>
                    <a:pt x="160" y="693"/>
                  </a:lnTo>
                  <a:lnTo>
                    <a:pt x="170" y="695"/>
                  </a:lnTo>
                  <a:lnTo>
                    <a:pt x="180" y="698"/>
                  </a:lnTo>
                  <a:lnTo>
                    <a:pt x="192" y="698"/>
                  </a:lnTo>
                  <a:lnTo>
                    <a:pt x="206" y="698"/>
                  </a:lnTo>
                  <a:lnTo>
                    <a:pt x="216" y="695"/>
                  </a:lnTo>
                  <a:lnTo>
                    <a:pt x="227" y="693"/>
                  </a:lnTo>
                  <a:lnTo>
                    <a:pt x="238" y="690"/>
                  </a:lnTo>
                  <a:lnTo>
                    <a:pt x="247" y="686"/>
                  </a:lnTo>
                  <a:lnTo>
                    <a:pt x="256" y="683"/>
                  </a:lnTo>
                  <a:lnTo>
                    <a:pt x="266" y="681"/>
                  </a:lnTo>
                  <a:lnTo>
                    <a:pt x="276" y="681"/>
                  </a:lnTo>
                  <a:lnTo>
                    <a:pt x="287" y="682"/>
                  </a:lnTo>
                  <a:lnTo>
                    <a:pt x="296" y="686"/>
                  </a:lnTo>
                  <a:lnTo>
                    <a:pt x="304" y="690"/>
                  </a:lnTo>
                  <a:lnTo>
                    <a:pt x="307" y="693"/>
                  </a:lnTo>
                  <a:lnTo>
                    <a:pt x="308" y="682"/>
                  </a:lnTo>
                  <a:lnTo>
                    <a:pt x="311" y="673"/>
                  </a:lnTo>
                  <a:lnTo>
                    <a:pt x="315" y="662"/>
                  </a:lnTo>
                  <a:lnTo>
                    <a:pt x="320" y="651"/>
                  </a:lnTo>
                  <a:lnTo>
                    <a:pt x="335" y="631"/>
                  </a:lnTo>
                  <a:lnTo>
                    <a:pt x="351" y="610"/>
                  </a:lnTo>
                  <a:lnTo>
                    <a:pt x="367" y="587"/>
                  </a:lnTo>
                  <a:lnTo>
                    <a:pt x="383" y="566"/>
                  </a:lnTo>
                  <a:lnTo>
                    <a:pt x="390" y="554"/>
                  </a:lnTo>
                  <a:lnTo>
                    <a:pt x="396" y="542"/>
                  </a:lnTo>
                  <a:lnTo>
                    <a:pt x="400" y="530"/>
                  </a:lnTo>
                  <a:lnTo>
                    <a:pt x="403" y="518"/>
                  </a:lnTo>
                  <a:lnTo>
                    <a:pt x="443" y="518"/>
                  </a:lnTo>
                  <a:lnTo>
                    <a:pt x="474" y="518"/>
                  </a:lnTo>
                  <a:lnTo>
                    <a:pt x="500" y="518"/>
                  </a:lnTo>
                  <a:lnTo>
                    <a:pt x="530" y="518"/>
                  </a:lnTo>
                  <a:lnTo>
                    <a:pt x="535" y="518"/>
                  </a:lnTo>
                  <a:lnTo>
                    <a:pt x="542" y="521"/>
                  </a:lnTo>
                  <a:lnTo>
                    <a:pt x="547" y="525"/>
                  </a:lnTo>
                  <a:lnTo>
                    <a:pt x="554" y="529"/>
                  </a:lnTo>
                  <a:lnTo>
                    <a:pt x="567" y="541"/>
                  </a:lnTo>
                  <a:lnTo>
                    <a:pt x="580" y="555"/>
                  </a:lnTo>
                  <a:lnTo>
                    <a:pt x="595" y="570"/>
                  </a:lnTo>
                  <a:lnTo>
                    <a:pt x="611" y="583"/>
                  </a:lnTo>
                  <a:lnTo>
                    <a:pt x="619" y="590"/>
                  </a:lnTo>
                  <a:lnTo>
                    <a:pt x="627" y="595"/>
                  </a:lnTo>
                  <a:lnTo>
                    <a:pt x="635" y="599"/>
                  </a:lnTo>
                  <a:lnTo>
                    <a:pt x="644" y="602"/>
                  </a:lnTo>
                  <a:lnTo>
                    <a:pt x="647" y="595"/>
                  </a:lnTo>
                  <a:lnTo>
                    <a:pt x="654" y="578"/>
                  </a:lnTo>
                  <a:lnTo>
                    <a:pt x="656" y="567"/>
                  </a:lnTo>
                  <a:lnTo>
                    <a:pt x="659" y="557"/>
                  </a:lnTo>
                  <a:lnTo>
                    <a:pt x="662" y="546"/>
                  </a:lnTo>
                  <a:lnTo>
                    <a:pt x="663" y="53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accent1">
                  <a:lumMod val="20000"/>
                  <a:lumOff val="8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95" b="0" i="0" u="none" strike="noStrike" kern="1200" cap="none" spc="0" normalizeH="0" baseline="0" noProof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2" name="Freeform 66"/>
            <p:cNvSpPr>
              <a:spLocks/>
            </p:cNvSpPr>
            <p:nvPr/>
          </p:nvSpPr>
          <p:spPr bwMode="auto">
            <a:xfrm>
              <a:off x="4786281" y="2366969"/>
              <a:ext cx="31835" cy="37259"/>
            </a:xfrm>
            <a:custGeom>
              <a:avLst/>
              <a:gdLst>
                <a:gd name="T0" fmla="*/ 346 w 440"/>
                <a:gd name="T1" fmla="*/ 63 h 518"/>
                <a:gd name="T2" fmla="*/ 350 w 440"/>
                <a:gd name="T3" fmla="*/ 113 h 518"/>
                <a:gd name="T4" fmla="*/ 361 w 440"/>
                <a:gd name="T5" fmla="*/ 163 h 518"/>
                <a:gd name="T6" fmla="*/ 374 w 440"/>
                <a:gd name="T7" fmla="*/ 181 h 518"/>
                <a:gd name="T8" fmla="*/ 404 w 440"/>
                <a:gd name="T9" fmla="*/ 207 h 518"/>
                <a:gd name="T10" fmla="*/ 428 w 440"/>
                <a:gd name="T11" fmla="*/ 239 h 518"/>
                <a:gd name="T12" fmla="*/ 433 w 440"/>
                <a:gd name="T13" fmla="*/ 265 h 518"/>
                <a:gd name="T14" fmla="*/ 433 w 440"/>
                <a:gd name="T15" fmla="*/ 279 h 518"/>
                <a:gd name="T16" fmla="*/ 434 w 440"/>
                <a:gd name="T17" fmla="*/ 306 h 518"/>
                <a:gd name="T18" fmla="*/ 424 w 440"/>
                <a:gd name="T19" fmla="*/ 337 h 518"/>
                <a:gd name="T20" fmla="*/ 389 w 440"/>
                <a:gd name="T21" fmla="*/ 374 h 518"/>
                <a:gd name="T22" fmla="*/ 366 w 440"/>
                <a:gd name="T23" fmla="*/ 424 h 518"/>
                <a:gd name="T24" fmla="*/ 354 w 440"/>
                <a:gd name="T25" fmla="*/ 465 h 518"/>
                <a:gd name="T26" fmla="*/ 334 w 440"/>
                <a:gd name="T27" fmla="*/ 480 h 518"/>
                <a:gd name="T28" fmla="*/ 308 w 440"/>
                <a:gd name="T29" fmla="*/ 484 h 518"/>
                <a:gd name="T30" fmla="*/ 281 w 440"/>
                <a:gd name="T31" fmla="*/ 488 h 518"/>
                <a:gd name="T32" fmla="*/ 262 w 440"/>
                <a:gd name="T33" fmla="*/ 500 h 518"/>
                <a:gd name="T34" fmla="*/ 246 w 440"/>
                <a:gd name="T35" fmla="*/ 512 h 518"/>
                <a:gd name="T36" fmla="*/ 216 w 440"/>
                <a:gd name="T37" fmla="*/ 476 h 518"/>
                <a:gd name="T38" fmla="*/ 200 w 440"/>
                <a:gd name="T39" fmla="*/ 437 h 518"/>
                <a:gd name="T40" fmla="*/ 190 w 440"/>
                <a:gd name="T41" fmla="*/ 382 h 518"/>
                <a:gd name="T42" fmla="*/ 178 w 440"/>
                <a:gd name="T43" fmla="*/ 324 h 518"/>
                <a:gd name="T44" fmla="*/ 165 w 440"/>
                <a:gd name="T45" fmla="*/ 291 h 518"/>
                <a:gd name="T46" fmla="*/ 152 w 440"/>
                <a:gd name="T47" fmla="*/ 281 h 518"/>
                <a:gd name="T48" fmla="*/ 116 w 440"/>
                <a:gd name="T49" fmla="*/ 269 h 518"/>
                <a:gd name="T50" fmla="*/ 98 w 440"/>
                <a:gd name="T51" fmla="*/ 263 h 518"/>
                <a:gd name="T52" fmla="*/ 92 w 440"/>
                <a:gd name="T53" fmla="*/ 237 h 518"/>
                <a:gd name="T54" fmla="*/ 80 w 440"/>
                <a:gd name="T55" fmla="*/ 196 h 518"/>
                <a:gd name="T56" fmla="*/ 65 w 440"/>
                <a:gd name="T57" fmla="*/ 172 h 518"/>
                <a:gd name="T58" fmla="*/ 44 w 440"/>
                <a:gd name="T59" fmla="*/ 155 h 518"/>
                <a:gd name="T60" fmla="*/ 13 w 440"/>
                <a:gd name="T61" fmla="*/ 145 h 518"/>
                <a:gd name="T62" fmla="*/ 34 w 440"/>
                <a:gd name="T63" fmla="*/ 128 h 518"/>
                <a:gd name="T64" fmla="*/ 70 w 440"/>
                <a:gd name="T65" fmla="*/ 104 h 518"/>
                <a:gd name="T66" fmla="*/ 85 w 440"/>
                <a:gd name="T67" fmla="*/ 83 h 518"/>
                <a:gd name="T68" fmla="*/ 94 w 440"/>
                <a:gd name="T69" fmla="*/ 55 h 518"/>
                <a:gd name="T70" fmla="*/ 121 w 440"/>
                <a:gd name="T71" fmla="*/ 48 h 518"/>
                <a:gd name="T72" fmla="*/ 141 w 440"/>
                <a:gd name="T73" fmla="*/ 53 h 518"/>
                <a:gd name="T74" fmla="*/ 158 w 440"/>
                <a:gd name="T75" fmla="*/ 52 h 518"/>
                <a:gd name="T76" fmla="*/ 169 w 440"/>
                <a:gd name="T77" fmla="*/ 40 h 518"/>
                <a:gd name="T78" fmla="*/ 184 w 440"/>
                <a:gd name="T79" fmla="*/ 13 h 518"/>
                <a:gd name="T80" fmla="*/ 208 w 440"/>
                <a:gd name="T81" fmla="*/ 8 h 518"/>
                <a:gd name="T82" fmla="*/ 244 w 440"/>
                <a:gd name="T83" fmla="*/ 24 h 518"/>
                <a:gd name="T84" fmla="*/ 289 w 440"/>
                <a:gd name="T85" fmla="*/ 29 h 518"/>
                <a:gd name="T86" fmla="*/ 322 w 440"/>
                <a:gd name="T87" fmla="*/ 29 h 518"/>
                <a:gd name="T88" fmla="*/ 337 w 440"/>
                <a:gd name="T89" fmla="*/ 31 h 51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40"/>
                <a:gd name="T136" fmla="*/ 0 h 518"/>
                <a:gd name="T137" fmla="*/ 440 w 440"/>
                <a:gd name="T138" fmla="*/ 518 h 518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40" h="518">
                  <a:moveTo>
                    <a:pt x="337" y="31"/>
                  </a:moveTo>
                  <a:lnTo>
                    <a:pt x="342" y="47"/>
                  </a:lnTo>
                  <a:lnTo>
                    <a:pt x="346" y="63"/>
                  </a:lnTo>
                  <a:lnTo>
                    <a:pt x="348" y="80"/>
                  </a:lnTo>
                  <a:lnTo>
                    <a:pt x="349" y="96"/>
                  </a:lnTo>
                  <a:lnTo>
                    <a:pt x="350" y="113"/>
                  </a:lnTo>
                  <a:lnTo>
                    <a:pt x="352" y="131"/>
                  </a:lnTo>
                  <a:lnTo>
                    <a:pt x="356" y="147"/>
                  </a:lnTo>
                  <a:lnTo>
                    <a:pt x="361" y="163"/>
                  </a:lnTo>
                  <a:lnTo>
                    <a:pt x="365" y="169"/>
                  </a:lnTo>
                  <a:lnTo>
                    <a:pt x="369" y="175"/>
                  </a:lnTo>
                  <a:lnTo>
                    <a:pt x="374" y="181"/>
                  </a:lnTo>
                  <a:lnTo>
                    <a:pt x="380" y="187"/>
                  </a:lnTo>
                  <a:lnTo>
                    <a:pt x="392" y="197"/>
                  </a:lnTo>
                  <a:lnTo>
                    <a:pt x="404" y="207"/>
                  </a:lnTo>
                  <a:lnTo>
                    <a:pt x="416" y="219"/>
                  </a:lnTo>
                  <a:lnTo>
                    <a:pt x="425" y="231"/>
                  </a:lnTo>
                  <a:lnTo>
                    <a:pt x="428" y="239"/>
                  </a:lnTo>
                  <a:lnTo>
                    <a:pt x="430" y="247"/>
                  </a:lnTo>
                  <a:lnTo>
                    <a:pt x="433" y="256"/>
                  </a:lnTo>
                  <a:lnTo>
                    <a:pt x="433" y="265"/>
                  </a:lnTo>
                  <a:lnTo>
                    <a:pt x="433" y="276"/>
                  </a:lnTo>
                  <a:lnTo>
                    <a:pt x="433" y="277"/>
                  </a:lnTo>
                  <a:lnTo>
                    <a:pt x="433" y="279"/>
                  </a:lnTo>
                  <a:lnTo>
                    <a:pt x="433" y="289"/>
                  </a:lnTo>
                  <a:lnTo>
                    <a:pt x="433" y="298"/>
                  </a:lnTo>
                  <a:lnTo>
                    <a:pt x="434" y="306"/>
                  </a:lnTo>
                  <a:lnTo>
                    <a:pt x="436" y="316"/>
                  </a:lnTo>
                  <a:lnTo>
                    <a:pt x="440" y="325"/>
                  </a:lnTo>
                  <a:lnTo>
                    <a:pt x="424" y="337"/>
                  </a:lnTo>
                  <a:lnTo>
                    <a:pt x="410" y="348"/>
                  </a:lnTo>
                  <a:lnTo>
                    <a:pt x="400" y="361"/>
                  </a:lnTo>
                  <a:lnTo>
                    <a:pt x="389" y="374"/>
                  </a:lnTo>
                  <a:lnTo>
                    <a:pt x="380" y="389"/>
                  </a:lnTo>
                  <a:lnTo>
                    <a:pt x="373" y="405"/>
                  </a:lnTo>
                  <a:lnTo>
                    <a:pt x="366" y="424"/>
                  </a:lnTo>
                  <a:lnTo>
                    <a:pt x="361" y="445"/>
                  </a:lnTo>
                  <a:lnTo>
                    <a:pt x="358" y="457"/>
                  </a:lnTo>
                  <a:lnTo>
                    <a:pt x="354" y="465"/>
                  </a:lnTo>
                  <a:lnTo>
                    <a:pt x="349" y="472"/>
                  </a:lnTo>
                  <a:lnTo>
                    <a:pt x="342" y="476"/>
                  </a:lnTo>
                  <a:lnTo>
                    <a:pt x="334" y="480"/>
                  </a:lnTo>
                  <a:lnTo>
                    <a:pt x="326" y="481"/>
                  </a:lnTo>
                  <a:lnTo>
                    <a:pt x="317" y="482"/>
                  </a:lnTo>
                  <a:lnTo>
                    <a:pt x="308" y="484"/>
                  </a:lnTo>
                  <a:lnTo>
                    <a:pt x="298" y="485"/>
                  </a:lnTo>
                  <a:lnTo>
                    <a:pt x="289" y="486"/>
                  </a:lnTo>
                  <a:lnTo>
                    <a:pt x="281" y="488"/>
                  </a:lnTo>
                  <a:lnTo>
                    <a:pt x="274" y="490"/>
                  </a:lnTo>
                  <a:lnTo>
                    <a:pt x="268" y="494"/>
                  </a:lnTo>
                  <a:lnTo>
                    <a:pt x="262" y="500"/>
                  </a:lnTo>
                  <a:lnTo>
                    <a:pt x="260" y="508"/>
                  </a:lnTo>
                  <a:lnTo>
                    <a:pt x="258" y="518"/>
                  </a:lnTo>
                  <a:lnTo>
                    <a:pt x="246" y="512"/>
                  </a:lnTo>
                  <a:lnTo>
                    <a:pt x="234" y="500"/>
                  </a:lnTo>
                  <a:lnTo>
                    <a:pt x="224" y="489"/>
                  </a:lnTo>
                  <a:lnTo>
                    <a:pt x="216" y="476"/>
                  </a:lnTo>
                  <a:lnTo>
                    <a:pt x="209" y="464"/>
                  </a:lnTo>
                  <a:lnTo>
                    <a:pt x="204" y="450"/>
                  </a:lnTo>
                  <a:lnTo>
                    <a:pt x="200" y="437"/>
                  </a:lnTo>
                  <a:lnTo>
                    <a:pt x="196" y="424"/>
                  </a:lnTo>
                  <a:lnTo>
                    <a:pt x="194" y="410"/>
                  </a:lnTo>
                  <a:lnTo>
                    <a:pt x="190" y="382"/>
                  </a:lnTo>
                  <a:lnTo>
                    <a:pt x="185" y="353"/>
                  </a:lnTo>
                  <a:lnTo>
                    <a:pt x="182" y="338"/>
                  </a:lnTo>
                  <a:lnTo>
                    <a:pt x="178" y="324"/>
                  </a:lnTo>
                  <a:lnTo>
                    <a:pt x="174" y="309"/>
                  </a:lnTo>
                  <a:lnTo>
                    <a:pt x="168" y="295"/>
                  </a:lnTo>
                  <a:lnTo>
                    <a:pt x="165" y="291"/>
                  </a:lnTo>
                  <a:lnTo>
                    <a:pt x="161" y="287"/>
                  </a:lnTo>
                  <a:lnTo>
                    <a:pt x="157" y="284"/>
                  </a:lnTo>
                  <a:lnTo>
                    <a:pt x="152" y="281"/>
                  </a:lnTo>
                  <a:lnTo>
                    <a:pt x="140" y="276"/>
                  </a:lnTo>
                  <a:lnTo>
                    <a:pt x="128" y="272"/>
                  </a:lnTo>
                  <a:lnTo>
                    <a:pt x="116" y="269"/>
                  </a:lnTo>
                  <a:lnTo>
                    <a:pt x="105" y="267"/>
                  </a:lnTo>
                  <a:lnTo>
                    <a:pt x="101" y="265"/>
                  </a:lnTo>
                  <a:lnTo>
                    <a:pt x="98" y="263"/>
                  </a:lnTo>
                  <a:lnTo>
                    <a:pt x="97" y="261"/>
                  </a:lnTo>
                  <a:lnTo>
                    <a:pt x="96" y="259"/>
                  </a:lnTo>
                  <a:lnTo>
                    <a:pt x="92" y="237"/>
                  </a:lnTo>
                  <a:lnTo>
                    <a:pt x="86" y="216"/>
                  </a:lnTo>
                  <a:lnTo>
                    <a:pt x="82" y="205"/>
                  </a:lnTo>
                  <a:lnTo>
                    <a:pt x="80" y="196"/>
                  </a:lnTo>
                  <a:lnTo>
                    <a:pt x="76" y="188"/>
                  </a:lnTo>
                  <a:lnTo>
                    <a:pt x="70" y="179"/>
                  </a:lnTo>
                  <a:lnTo>
                    <a:pt x="65" y="172"/>
                  </a:lnTo>
                  <a:lnTo>
                    <a:pt x="58" y="165"/>
                  </a:lnTo>
                  <a:lnTo>
                    <a:pt x="52" y="159"/>
                  </a:lnTo>
                  <a:lnTo>
                    <a:pt x="44" y="155"/>
                  </a:lnTo>
                  <a:lnTo>
                    <a:pt x="34" y="151"/>
                  </a:lnTo>
                  <a:lnTo>
                    <a:pt x="24" y="147"/>
                  </a:lnTo>
                  <a:lnTo>
                    <a:pt x="13" y="145"/>
                  </a:lnTo>
                  <a:lnTo>
                    <a:pt x="0" y="144"/>
                  </a:lnTo>
                  <a:lnTo>
                    <a:pt x="17" y="136"/>
                  </a:lnTo>
                  <a:lnTo>
                    <a:pt x="34" y="128"/>
                  </a:lnTo>
                  <a:lnTo>
                    <a:pt x="49" y="119"/>
                  </a:lnTo>
                  <a:lnTo>
                    <a:pt x="64" y="109"/>
                  </a:lnTo>
                  <a:lnTo>
                    <a:pt x="70" y="104"/>
                  </a:lnTo>
                  <a:lnTo>
                    <a:pt x="76" y="97"/>
                  </a:lnTo>
                  <a:lnTo>
                    <a:pt x="81" y="91"/>
                  </a:lnTo>
                  <a:lnTo>
                    <a:pt x="85" y="83"/>
                  </a:lnTo>
                  <a:lnTo>
                    <a:pt x="89" y="75"/>
                  </a:lnTo>
                  <a:lnTo>
                    <a:pt x="92" y="64"/>
                  </a:lnTo>
                  <a:lnTo>
                    <a:pt x="94" y="55"/>
                  </a:lnTo>
                  <a:lnTo>
                    <a:pt x="96" y="43"/>
                  </a:lnTo>
                  <a:lnTo>
                    <a:pt x="109" y="44"/>
                  </a:lnTo>
                  <a:lnTo>
                    <a:pt x="121" y="48"/>
                  </a:lnTo>
                  <a:lnTo>
                    <a:pt x="128" y="51"/>
                  </a:lnTo>
                  <a:lnTo>
                    <a:pt x="134" y="52"/>
                  </a:lnTo>
                  <a:lnTo>
                    <a:pt x="141" y="53"/>
                  </a:lnTo>
                  <a:lnTo>
                    <a:pt x="150" y="55"/>
                  </a:lnTo>
                  <a:lnTo>
                    <a:pt x="154" y="53"/>
                  </a:lnTo>
                  <a:lnTo>
                    <a:pt x="158" y="52"/>
                  </a:lnTo>
                  <a:lnTo>
                    <a:pt x="161" y="51"/>
                  </a:lnTo>
                  <a:lnTo>
                    <a:pt x="165" y="48"/>
                  </a:lnTo>
                  <a:lnTo>
                    <a:pt x="169" y="40"/>
                  </a:lnTo>
                  <a:lnTo>
                    <a:pt x="174" y="32"/>
                  </a:lnTo>
                  <a:lnTo>
                    <a:pt x="178" y="23"/>
                  </a:lnTo>
                  <a:lnTo>
                    <a:pt x="184" y="13"/>
                  </a:lnTo>
                  <a:lnTo>
                    <a:pt x="190" y="5"/>
                  </a:lnTo>
                  <a:lnTo>
                    <a:pt x="198" y="0"/>
                  </a:lnTo>
                  <a:lnTo>
                    <a:pt x="208" y="8"/>
                  </a:lnTo>
                  <a:lnTo>
                    <a:pt x="218" y="15"/>
                  </a:lnTo>
                  <a:lnTo>
                    <a:pt x="230" y="20"/>
                  </a:lnTo>
                  <a:lnTo>
                    <a:pt x="244" y="24"/>
                  </a:lnTo>
                  <a:lnTo>
                    <a:pt x="257" y="27"/>
                  </a:lnTo>
                  <a:lnTo>
                    <a:pt x="273" y="29"/>
                  </a:lnTo>
                  <a:lnTo>
                    <a:pt x="289" y="29"/>
                  </a:lnTo>
                  <a:lnTo>
                    <a:pt x="306" y="31"/>
                  </a:lnTo>
                  <a:lnTo>
                    <a:pt x="314" y="31"/>
                  </a:lnTo>
                  <a:lnTo>
                    <a:pt x="322" y="29"/>
                  </a:lnTo>
                  <a:lnTo>
                    <a:pt x="329" y="28"/>
                  </a:lnTo>
                  <a:lnTo>
                    <a:pt x="337" y="24"/>
                  </a:lnTo>
                  <a:lnTo>
                    <a:pt x="337" y="31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accent1">
                  <a:lumMod val="20000"/>
                  <a:lumOff val="8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95" b="0" i="0" u="none" strike="noStrike" kern="1200" cap="none" spc="0" normalizeH="0" baseline="0" noProof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3" name="Freeform 72"/>
            <p:cNvSpPr>
              <a:spLocks/>
            </p:cNvSpPr>
            <p:nvPr/>
          </p:nvSpPr>
          <p:spPr bwMode="auto">
            <a:xfrm>
              <a:off x="4817881" y="2507514"/>
              <a:ext cx="32778" cy="59897"/>
            </a:xfrm>
            <a:custGeom>
              <a:avLst/>
              <a:gdLst>
                <a:gd name="T0" fmla="*/ 336 w 458"/>
                <a:gd name="T1" fmla="*/ 194 h 830"/>
                <a:gd name="T2" fmla="*/ 327 w 458"/>
                <a:gd name="T3" fmla="*/ 149 h 830"/>
                <a:gd name="T4" fmla="*/ 348 w 458"/>
                <a:gd name="T5" fmla="*/ 112 h 830"/>
                <a:gd name="T6" fmla="*/ 368 w 458"/>
                <a:gd name="T7" fmla="*/ 80 h 830"/>
                <a:gd name="T8" fmla="*/ 353 w 458"/>
                <a:gd name="T9" fmla="*/ 29 h 830"/>
                <a:gd name="T10" fmla="*/ 334 w 458"/>
                <a:gd name="T11" fmla="*/ 7 h 830"/>
                <a:gd name="T12" fmla="*/ 299 w 458"/>
                <a:gd name="T13" fmla="*/ 0 h 830"/>
                <a:gd name="T14" fmla="*/ 273 w 458"/>
                <a:gd name="T15" fmla="*/ 8 h 830"/>
                <a:gd name="T16" fmla="*/ 233 w 458"/>
                <a:gd name="T17" fmla="*/ 12 h 830"/>
                <a:gd name="T18" fmla="*/ 189 w 458"/>
                <a:gd name="T19" fmla="*/ 4 h 830"/>
                <a:gd name="T20" fmla="*/ 143 w 458"/>
                <a:gd name="T21" fmla="*/ 0 h 830"/>
                <a:gd name="T22" fmla="*/ 117 w 458"/>
                <a:gd name="T23" fmla="*/ 11 h 830"/>
                <a:gd name="T24" fmla="*/ 129 w 458"/>
                <a:gd name="T25" fmla="*/ 95 h 830"/>
                <a:gd name="T26" fmla="*/ 153 w 458"/>
                <a:gd name="T27" fmla="*/ 181 h 830"/>
                <a:gd name="T28" fmla="*/ 157 w 458"/>
                <a:gd name="T29" fmla="*/ 256 h 830"/>
                <a:gd name="T30" fmla="*/ 164 w 458"/>
                <a:gd name="T31" fmla="*/ 294 h 830"/>
                <a:gd name="T32" fmla="*/ 179 w 458"/>
                <a:gd name="T33" fmla="*/ 313 h 830"/>
                <a:gd name="T34" fmla="*/ 208 w 458"/>
                <a:gd name="T35" fmla="*/ 324 h 830"/>
                <a:gd name="T36" fmla="*/ 192 w 458"/>
                <a:gd name="T37" fmla="*/ 390 h 830"/>
                <a:gd name="T38" fmla="*/ 181 w 458"/>
                <a:gd name="T39" fmla="*/ 416 h 830"/>
                <a:gd name="T40" fmla="*/ 191 w 458"/>
                <a:gd name="T41" fmla="*/ 469 h 830"/>
                <a:gd name="T42" fmla="*/ 199 w 458"/>
                <a:gd name="T43" fmla="*/ 524 h 830"/>
                <a:gd name="T44" fmla="*/ 188 w 458"/>
                <a:gd name="T45" fmla="*/ 538 h 830"/>
                <a:gd name="T46" fmla="*/ 139 w 458"/>
                <a:gd name="T47" fmla="*/ 566 h 830"/>
                <a:gd name="T48" fmla="*/ 84 w 458"/>
                <a:gd name="T49" fmla="*/ 554 h 830"/>
                <a:gd name="T50" fmla="*/ 65 w 458"/>
                <a:gd name="T51" fmla="*/ 565 h 830"/>
                <a:gd name="T52" fmla="*/ 60 w 458"/>
                <a:gd name="T53" fmla="*/ 590 h 830"/>
                <a:gd name="T54" fmla="*/ 72 w 458"/>
                <a:gd name="T55" fmla="*/ 624 h 830"/>
                <a:gd name="T56" fmla="*/ 84 w 458"/>
                <a:gd name="T57" fmla="*/ 656 h 830"/>
                <a:gd name="T58" fmla="*/ 72 w 458"/>
                <a:gd name="T59" fmla="*/ 686 h 830"/>
                <a:gd name="T60" fmla="*/ 13 w 458"/>
                <a:gd name="T61" fmla="*/ 722 h 830"/>
                <a:gd name="T62" fmla="*/ 0 w 458"/>
                <a:gd name="T63" fmla="*/ 753 h 830"/>
                <a:gd name="T64" fmla="*/ 9 w 458"/>
                <a:gd name="T65" fmla="*/ 771 h 830"/>
                <a:gd name="T66" fmla="*/ 48 w 458"/>
                <a:gd name="T67" fmla="*/ 793 h 830"/>
                <a:gd name="T68" fmla="*/ 100 w 458"/>
                <a:gd name="T69" fmla="*/ 807 h 830"/>
                <a:gd name="T70" fmla="*/ 160 w 458"/>
                <a:gd name="T71" fmla="*/ 823 h 830"/>
                <a:gd name="T72" fmla="*/ 229 w 458"/>
                <a:gd name="T73" fmla="*/ 826 h 830"/>
                <a:gd name="T74" fmla="*/ 328 w 458"/>
                <a:gd name="T75" fmla="*/ 821 h 830"/>
                <a:gd name="T76" fmla="*/ 388 w 458"/>
                <a:gd name="T77" fmla="*/ 814 h 830"/>
                <a:gd name="T78" fmla="*/ 368 w 458"/>
                <a:gd name="T79" fmla="*/ 674 h 830"/>
                <a:gd name="T80" fmla="*/ 409 w 458"/>
                <a:gd name="T81" fmla="*/ 698 h 830"/>
                <a:gd name="T82" fmla="*/ 446 w 458"/>
                <a:gd name="T83" fmla="*/ 722 h 830"/>
                <a:gd name="T84" fmla="*/ 458 w 458"/>
                <a:gd name="T85" fmla="*/ 654 h 830"/>
                <a:gd name="T86" fmla="*/ 458 w 458"/>
                <a:gd name="T87" fmla="*/ 481 h 830"/>
                <a:gd name="T88" fmla="*/ 448 w 458"/>
                <a:gd name="T89" fmla="*/ 438 h 830"/>
                <a:gd name="T90" fmla="*/ 421 w 458"/>
                <a:gd name="T91" fmla="*/ 404 h 830"/>
                <a:gd name="T92" fmla="*/ 394 w 458"/>
                <a:gd name="T93" fmla="*/ 392 h 830"/>
                <a:gd name="T94" fmla="*/ 348 w 458"/>
                <a:gd name="T95" fmla="*/ 378 h 830"/>
                <a:gd name="T96" fmla="*/ 328 w 458"/>
                <a:gd name="T97" fmla="*/ 356 h 830"/>
                <a:gd name="T98" fmla="*/ 328 w 458"/>
                <a:gd name="T99" fmla="*/ 321 h 830"/>
                <a:gd name="T100" fmla="*/ 349 w 458"/>
                <a:gd name="T101" fmla="*/ 286 h 830"/>
                <a:gd name="T102" fmla="*/ 385 w 458"/>
                <a:gd name="T103" fmla="*/ 241 h 83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458"/>
                <a:gd name="T157" fmla="*/ 0 h 830"/>
                <a:gd name="T158" fmla="*/ 458 w 458"/>
                <a:gd name="T159" fmla="*/ 830 h 83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458" h="830">
                  <a:moveTo>
                    <a:pt x="368" y="222"/>
                  </a:moveTo>
                  <a:lnTo>
                    <a:pt x="356" y="213"/>
                  </a:lnTo>
                  <a:lnTo>
                    <a:pt x="342" y="201"/>
                  </a:lnTo>
                  <a:lnTo>
                    <a:pt x="336" y="194"/>
                  </a:lnTo>
                  <a:lnTo>
                    <a:pt x="331" y="185"/>
                  </a:lnTo>
                  <a:lnTo>
                    <a:pt x="327" y="174"/>
                  </a:lnTo>
                  <a:lnTo>
                    <a:pt x="325" y="162"/>
                  </a:lnTo>
                  <a:lnTo>
                    <a:pt x="327" y="149"/>
                  </a:lnTo>
                  <a:lnTo>
                    <a:pt x="329" y="138"/>
                  </a:lnTo>
                  <a:lnTo>
                    <a:pt x="334" y="128"/>
                  </a:lnTo>
                  <a:lnTo>
                    <a:pt x="340" y="120"/>
                  </a:lnTo>
                  <a:lnTo>
                    <a:pt x="348" y="112"/>
                  </a:lnTo>
                  <a:lnTo>
                    <a:pt x="356" y="104"/>
                  </a:lnTo>
                  <a:lnTo>
                    <a:pt x="365" y="97"/>
                  </a:lnTo>
                  <a:lnTo>
                    <a:pt x="373" y="91"/>
                  </a:lnTo>
                  <a:lnTo>
                    <a:pt x="368" y="80"/>
                  </a:lnTo>
                  <a:lnTo>
                    <a:pt x="364" y="65"/>
                  </a:lnTo>
                  <a:lnTo>
                    <a:pt x="361" y="51"/>
                  </a:lnTo>
                  <a:lnTo>
                    <a:pt x="356" y="36"/>
                  </a:lnTo>
                  <a:lnTo>
                    <a:pt x="353" y="29"/>
                  </a:lnTo>
                  <a:lnTo>
                    <a:pt x="350" y="23"/>
                  </a:lnTo>
                  <a:lnTo>
                    <a:pt x="345" y="16"/>
                  </a:lnTo>
                  <a:lnTo>
                    <a:pt x="341" y="11"/>
                  </a:lnTo>
                  <a:lnTo>
                    <a:pt x="334" y="7"/>
                  </a:lnTo>
                  <a:lnTo>
                    <a:pt x="327" y="3"/>
                  </a:lnTo>
                  <a:lnTo>
                    <a:pt x="317" y="0"/>
                  </a:lnTo>
                  <a:lnTo>
                    <a:pt x="308" y="0"/>
                  </a:lnTo>
                  <a:lnTo>
                    <a:pt x="299" y="0"/>
                  </a:lnTo>
                  <a:lnTo>
                    <a:pt x="292" y="1"/>
                  </a:lnTo>
                  <a:lnTo>
                    <a:pt x="285" y="4"/>
                  </a:lnTo>
                  <a:lnTo>
                    <a:pt x="280" y="5"/>
                  </a:lnTo>
                  <a:lnTo>
                    <a:pt x="273" y="8"/>
                  </a:lnTo>
                  <a:lnTo>
                    <a:pt x="265" y="11"/>
                  </a:lnTo>
                  <a:lnTo>
                    <a:pt x="257" y="12"/>
                  </a:lnTo>
                  <a:lnTo>
                    <a:pt x="247" y="12"/>
                  </a:lnTo>
                  <a:lnTo>
                    <a:pt x="233" y="12"/>
                  </a:lnTo>
                  <a:lnTo>
                    <a:pt x="220" y="11"/>
                  </a:lnTo>
                  <a:lnTo>
                    <a:pt x="209" y="8"/>
                  </a:lnTo>
                  <a:lnTo>
                    <a:pt x="199" y="5"/>
                  </a:lnTo>
                  <a:lnTo>
                    <a:pt x="189" y="4"/>
                  </a:lnTo>
                  <a:lnTo>
                    <a:pt x="177" y="1"/>
                  </a:lnTo>
                  <a:lnTo>
                    <a:pt x="165" y="0"/>
                  </a:lnTo>
                  <a:lnTo>
                    <a:pt x="151" y="0"/>
                  </a:lnTo>
                  <a:lnTo>
                    <a:pt x="143" y="0"/>
                  </a:lnTo>
                  <a:lnTo>
                    <a:pt x="136" y="1"/>
                  </a:lnTo>
                  <a:lnTo>
                    <a:pt x="131" y="3"/>
                  </a:lnTo>
                  <a:lnTo>
                    <a:pt x="125" y="4"/>
                  </a:lnTo>
                  <a:lnTo>
                    <a:pt x="117" y="11"/>
                  </a:lnTo>
                  <a:lnTo>
                    <a:pt x="109" y="17"/>
                  </a:lnTo>
                  <a:lnTo>
                    <a:pt x="115" y="47"/>
                  </a:lnTo>
                  <a:lnTo>
                    <a:pt x="121" y="72"/>
                  </a:lnTo>
                  <a:lnTo>
                    <a:pt x="129" y="95"/>
                  </a:lnTo>
                  <a:lnTo>
                    <a:pt x="137" y="117"/>
                  </a:lnTo>
                  <a:lnTo>
                    <a:pt x="145" y="141"/>
                  </a:lnTo>
                  <a:lnTo>
                    <a:pt x="151" y="166"/>
                  </a:lnTo>
                  <a:lnTo>
                    <a:pt x="153" y="181"/>
                  </a:lnTo>
                  <a:lnTo>
                    <a:pt x="155" y="197"/>
                  </a:lnTo>
                  <a:lnTo>
                    <a:pt x="156" y="216"/>
                  </a:lnTo>
                  <a:lnTo>
                    <a:pt x="157" y="234"/>
                  </a:lnTo>
                  <a:lnTo>
                    <a:pt x="157" y="256"/>
                  </a:lnTo>
                  <a:lnTo>
                    <a:pt x="159" y="273"/>
                  </a:lnTo>
                  <a:lnTo>
                    <a:pt x="160" y="281"/>
                  </a:lnTo>
                  <a:lnTo>
                    <a:pt x="161" y="288"/>
                  </a:lnTo>
                  <a:lnTo>
                    <a:pt x="164" y="294"/>
                  </a:lnTo>
                  <a:lnTo>
                    <a:pt x="167" y="300"/>
                  </a:lnTo>
                  <a:lnTo>
                    <a:pt x="171" y="305"/>
                  </a:lnTo>
                  <a:lnTo>
                    <a:pt x="175" y="309"/>
                  </a:lnTo>
                  <a:lnTo>
                    <a:pt x="179" y="313"/>
                  </a:lnTo>
                  <a:lnTo>
                    <a:pt x="185" y="317"/>
                  </a:lnTo>
                  <a:lnTo>
                    <a:pt x="192" y="320"/>
                  </a:lnTo>
                  <a:lnTo>
                    <a:pt x="199" y="322"/>
                  </a:lnTo>
                  <a:lnTo>
                    <a:pt x="208" y="324"/>
                  </a:lnTo>
                  <a:lnTo>
                    <a:pt x="217" y="325"/>
                  </a:lnTo>
                  <a:lnTo>
                    <a:pt x="217" y="361"/>
                  </a:lnTo>
                  <a:lnTo>
                    <a:pt x="204" y="377"/>
                  </a:lnTo>
                  <a:lnTo>
                    <a:pt x="192" y="390"/>
                  </a:lnTo>
                  <a:lnTo>
                    <a:pt x="188" y="397"/>
                  </a:lnTo>
                  <a:lnTo>
                    <a:pt x="184" y="402"/>
                  </a:lnTo>
                  <a:lnTo>
                    <a:pt x="181" y="409"/>
                  </a:lnTo>
                  <a:lnTo>
                    <a:pt x="181" y="416"/>
                  </a:lnTo>
                  <a:lnTo>
                    <a:pt x="181" y="430"/>
                  </a:lnTo>
                  <a:lnTo>
                    <a:pt x="184" y="444"/>
                  </a:lnTo>
                  <a:lnTo>
                    <a:pt x="187" y="457"/>
                  </a:lnTo>
                  <a:lnTo>
                    <a:pt x="191" y="469"/>
                  </a:lnTo>
                  <a:lnTo>
                    <a:pt x="193" y="482"/>
                  </a:lnTo>
                  <a:lnTo>
                    <a:pt x="196" y="494"/>
                  </a:lnTo>
                  <a:lnTo>
                    <a:pt x="199" y="509"/>
                  </a:lnTo>
                  <a:lnTo>
                    <a:pt x="199" y="524"/>
                  </a:lnTo>
                  <a:lnTo>
                    <a:pt x="199" y="528"/>
                  </a:lnTo>
                  <a:lnTo>
                    <a:pt x="196" y="530"/>
                  </a:lnTo>
                  <a:lnTo>
                    <a:pt x="193" y="534"/>
                  </a:lnTo>
                  <a:lnTo>
                    <a:pt x="188" y="538"/>
                  </a:lnTo>
                  <a:lnTo>
                    <a:pt x="177" y="546"/>
                  </a:lnTo>
                  <a:lnTo>
                    <a:pt x="164" y="554"/>
                  </a:lnTo>
                  <a:lnTo>
                    <a:pt x="151" y="561"/>
                  </a:lnTo>
                  <a:lnTo>
                    <a:pt x="139" y="566"/>
                  </a:lnTo>
                  <a:lnTo>
                    <a:pt x="128" y="570"/>
                  </a:lnTo>
                  <a:lnTo>
                    <a:pt x="121" y="572"/>
                  </a:lnTo>
                  <a:lnTo>
                    <a:pt x="103" y="562"/>
                  </a:lnTo>
                  <a:lnTo>
                    <a:pt x="84" y="554"/>
                  </a:lnTo>
                  <a:lnTo>
                    <a:pt x="79" y="554"/>
                  </a:lnTo>
                  <a:lnTo>
                    <a:pt x="73" y="557"/>
                  </a:lnTo>
                  <a:lnTo>
                    <a:pt x="69" y="561"/>
                  </a:lnTo>
                  <a:lnTo>
                    <a:pt x="65" y="565"/>
                  </a:lnTo>
                  <a:lnTo>
                    <a:pt x="64" y="570"/>
                  </a:lnTo>
                  <a:lnTo>
                    <a:pt x="61" y="577"/>
                  </a:lnTo>
                  <a:lnTo>
                    <a:pt x="61" y="584"/>
                  </a:lnTo>
                  <a:lnTo>
                    <a:pt x="60" y="590"/>
                  </a:lnTo>
                  <a:lnTo>
                    <a:pt x="61" y="598"/>
                  </a:lnTo>
                  <a:lnTo>
                    <a:pt x="64" y="608"/>
                  </a:lnTo>
                  <a:lnTo>
                    <a:pt x="68" y="616"/>
                  </a:lnTo>
                  <a:lnTo>
                    <a:pt x="72" y="624"/>
                  </a:lnTo>
                  <a:lnTo>
                    <a:pt x="77" y="630"/>
                  </a:lnTo>
                  <a:lnTo>
                    <a:pt x="81" y="640"/>
                  </a:lnTo>
                  <a:lnTo>
                    <a:pt x="84" y="648"/>
                  </a:lnTo>
                  <a:lnTo>
                    <a:pt x="84" y="656"/>
                  </a:lnTo>
                  <a:lnTo>
                    <a:pt x="84" y="665"/>
                  </a:lnTo>
                  <a:lnTo>
                    <a:pt x="81" y="673"/>
                  </a:lnTo>
                  <a:lnTo>
                    <a:pt x="77" y="681"/>
                  </a:lnTo>
                  <a:lnTo>
                    <a:pt x="72" y="686"/>
                  </a:lnTo>
                  <a:lnTo>
                    <a:pt x="57" y="695"/>
                  </a:lnTo>
                  <a:lnTo>
                    <a:pt x="43" y="705"/>
                  </a:lnTo>
                  <a:lnTo>
                    <a:pt x="27" y="713"/>
                  </a:lnTo>
                  <a:lnTo>
                    <a:pt x="13" y="722"/>
                  </a:lnTo>
                  <a:lnTo>
                    <a:pt x="8" y="727"/>
                  </a:lnTo>
                  <a:lnTo>
                    <a:pt x="4" y="735"/>
                  </a:lnTo>
                  <a:lnTo>
                    <a:pt x="1" y="743"/>
                  </a:lnTo>
                  <a:lnTo>
                    <a:pt x="0" y="753"/>
                  </a:lnTo>
                  <a:lnTo>
                    <a:pt x="1" y="758"/>
                  </a:lnTo>
                  <a:lnTo>
                    <a:pt x="3" y="762"/>
                  </a:lnTo>
                  <a:lnTo>
                    <a:pt x="5" y="767"/>
                  </a:lnTo>
                  <a:lnTo>
                    <a:pt x="9" y="771"/>
                  </a:lnTo>
                  <a:lnTo>
                    <a:pt x="17" y="778"/>
                  </a:lnTo>
                  <a:lnTo>
                    <a:pt x="28" y="783"/>
                  </a:lnTo>
                  <a:lnTo>
                    <a:pt x="39" y="787"/>
                  </a:lnTo>
                  <a:lnTo>
                    <a:pt x="48" y="793"/>
                  </a:lnTo>
                  <a:lnTo>
                    <a:pt x="56" y="797"/>
                  </a:lnTo>
                  <a:lnTo>
                    <a:pt x="60" y="801"/>
                  </a:lnTo>
                  <a:lnTo>
                    <a:pt x="84" y="806"/>
                  </a:lnTo>
                  <a:lnTo>
                    <a:pt x="100" y="807"/>
                  </a:lnTo>
                  <a:lnTo>
                    <a:pt x="115" y="810"/>
                  </a:lnTo>
                  <a:lnTo>
                    <a:pt x="131" y="814"/>
                  </a:lnTo>
                  <a:lnTo>
                    <a:pt x="145" y="818"/>
                  </a:lnTo>
                  <a:lnTo>
                    <a:pt x="160" y="823"/>
                  </a:lnTo>
                  <a:lnTo>
                    <a:pt x="175" y="827"/>
                  </a:lnTo>
                  <a:lnTo>
                    <a:pt x="189" y="830"/>
                  </a:lnTo>
                  <a:lnTo>
                    <a:pt x="205" y="830"/>
                  </a:lnTo>
                  <a:lnTo>
                    <a:pt x="229" y="826"/>
                  </a:lnTo>
                  <a:lnTo>
                    <a:pt x="255" y="823"/>
                  </a:lnTo>
                  <a:lnTo>
                    <a:pt x="279" y="822"/>
                  </a:lnTo>
                  <a:lnTo>
                    <a:pt x="304" y="821"/>
                  </a:lnTo>
                  <a:lnTo>
                    <a:pt x="328" y="821"/>
                  </a:lnTo>
                  <a:lnTo>
                    <a:pt x="352" y="821"/>
                  </a:lnTo>
                  <a:lnTo>
                    <a:pt x="374" y="822"/>
                  </a:lnTo>
                  <a:lnTo>
                    <a:pt x="397" y="825"/>
                  </a:lnTo>
                  <a:lnTo>
                    <a:pt x="388" y="814"/>
                  </a:lnTo>
                  <a:lnTo>
                    <a:pt x="382" y="806"/>
                  </a:lnTo>
                  <a:lnTo>
                    <a:pt x="377" y="799"/>
                  </a:lnTo>
                  <a:lnTo>
                    <a:pt x="368" y="789"/>
                  </a:lnTo>
                  <a:lnTo>
                    <a:pt x="368" y="674"/>
                  </a:lnTo>
                  <a:lnTo>
                    <a:pt x="381" y="680"/>
                  </a:lnTo>
                  <a:lnTo>
                    <a:pt x="393" y="685"/>
                  </a:lnTo>
                  <a:lnTo>
                    <a:pt x="401" y="691"/>
                  </a:lnTo>
                  <a:lnTo>
                    <a:pt x="409" y="698"/>
                  </a:lnTo>
                  <a:lnTo>
                    <a:pt x="416" y="705"/>
                  </a:lnTo>
                  <a:lnTo>
                    <a:pt x="424" y="711"/>
                  </a:lnTo>
                  <a:lnTo>
                    <a:pt x="434" y="717"/>
                  </a:lnTo>
                  <a:lnTo>
                    <a:pt x="446" y="722"/>
                  </a:lnTo>
                  <a:lnTo>
                    <a:pt x="452" y="703"/>
                  </a:lnTo>
                  <a:lnTo>
                    <a:pt x="456" y="686"/>
                  </a:lnTo>
                  <a:lnTo>
                    <a:pt x="457" y="670"/>
                  </a:lnTo>
                  <a:lnTo>
                    <a:pt x="458" y="654"/>
                  </a:lnTo>
                  <a:lnTo>
                    <a:pt x="458" y="621"/>
                  </a:lnTo>
                  <a:lnTo>
                    <a:pt x="458" y="578"/>
                  </a:lnTo>
                  <a:lnTo>
                    <a:pt x="458" y="529"/>
                  </a:lnTo>
                  <a:lnTo>
                    <a:pt x="458" y="481"/>
                  </a:lnTo>
                  <a:lnTo>
                    <a:pt x="457" y="470"/>
                  </a:lnTo>
                  <a:lnTo>
                    <a:pt x="454" y="460"/>
                  </a:lnTo>
                  <a:lnTo>
                    <a:pt x="452" y="449"/>
                  </a:lnTo>
                  <a:lnTo>
                    <a:pt x="448" y="438"/>
                  </a:lnTo>
                  <a:lnTo>
                    <a:pt x="442" y="429"/>
                  </a:lnTo>
                  <a:lnTo>
                    <a:pt x="437" y="420"/>
                  </a:lnTo>
                  <a:lnTo>
                    <a:pt x="430" y="412"/>
                  </a:lnTo>
                  <a:lnTo>
                    <a:pt x="421" y="404"/>
                  </a:lnTo>
                  <a:lnTo>
                    <a:pt x="416" y="400"/>
                  </a:lnTo>
                  <a:lnTo>
                    <a:pt x="409" y="396"/>
                  </a:lnTo>
                  <a:lnTo>
                    <a:pt x="401" y="393"/>
                  </a:lnTo>
                  <a:lnTo>
                    <a:pt x="394" y="392"/>
                  </a:lnTo>
                  <a:lnTo>
                    <a:pt x="378" y="388"/>
                  </a:lnTo>
                  <a:lnTo>
                    <a:pt x="362" y="384"/>
                  </a:lnTo>
                  <a:lnTo>
                    <a:pt x="354" y="381"/>
                  </a:lnTo>
                  <a:lnTo>
                    <a:pt x="348" y="378"/>
                  </a:lnTo>
                  <a:lnTo>
                    <a:pt x="341" y="374"/>
                  </a:lnTo>
                  <a:lnTo>
                    <a:pt x="336" y="369"/>
                  </a:lnTo>
                  <a:lnTo>
                    <a:pt x="332" y="364"/>
                  </a:lnTo>
                  <a:lnTo>
                    <a:pt x="328" y="356"/>
                  </a:lnTo>
                  <a:lnTo>
                    <a:pt x="327" y="348"/>
                  </a:lnTo>
                  <a:lnTo>
                    <a:pt x="325" y="337"/>
                  </a:lnTo>
                  <a:lnTo>
                    <a:pt x="327" y="328"/>
                  </a:lnTo>
                  <a:lnTo>
                    <a:pt x="328" y="321"/>
                  </a:lnTo>
                  <a:lnTo>
                    <a:pt x="329" y="314"/>
                  </a:lnTo>
                  <a:lnTo>
                    <a:pt x="332" y="308"/>
                  </a:lnTo>
                  <a:lnTo>
                    <a:pt x="340" y="297"/>
                  </a:lnTo>
                  <a:lnTo>
                    <a:pt x="349" y="286"/>
                  </a:lnTo>
                  <a:lnTo>
                    <a:pt x="358" y="277"/>
                  </a:lnTo>
                  <a:lnTo>
                    <a:pt x="369" y="266"/>
                  </a:lnTo>
                  <a:lnTo>
                    <a:pt x="378" y="254"/>
                  </a:lnTo>
                  <a:lnTo>
                    <a:pt x="385" y="241"/>
                  </a:lnTo>
                  <a:lnTo>
                    <a:pt x="368" y="222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accent1">
                  <a:lumMod val="20000"/>
                  <a:lumOff val="8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95" b="0" i="0" u="none" strike="noStrike" kern="1200" cap="none" spc="0" normalizeH="0" baseline="0" noProof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4" name="Freeform 111"/>
            <p:cNvSpPr>
              <a:spLocks/>
            </p:cNvSpPr>
            <p:nvPr/>
          </p:nvSpPr>
          <p:spPr bwMode="auto">
            <a:xfrm>
              <a:off x="4770482" y="2504213"/>
              <a:ext cx="62962" cy="70273"/>
            </a:xfrm>
            <a:custGeom>
              <a:avLst/>
              <a:gdLst>
                <a:gd name="T0" fmla="*/ 488 w 873"/>
                <a:gd name="T1" fmla="*/ 110 h 976"/>
                <a:gd name="T2" fmla="*/ 513 w 873"/>
                <a:gd name="T3" fmla="*/ 127 h 976"/>
                <a:gd name="T4" fmla="*/ 565 w 873"/>
                <a:gd name="T5" fmla="*/ 110 h 976"/>
                <a:gd name="T6" fmla="*/ 552 w 873"/>
                <a:gd name="T7" fmla="*/ 189 h 976"/>
                <a:gd name="T8" fmla="*/ 403 w 873"/>
                <a:gd name="T9" fmla="*/ 260 h 976"/>
                <a:gd name="T10" fmla="*/ 384 w 873"/>
                <a:gd name="T11" fmla="*/ 291 h 976"/>
                <a:gd name="T12" fmla="*/ 373 w 873"/>
                <a:gd name="T13" fmla="*/ 329 h 976"/>
                <a:gd name="T14" fmla="*/ 336 w 873"/>
                <a:gd name="T15" fmla="*/ 335 h 976"/>
                <a:gd name="T16" fmla="*/ 295 w 873"/>
                <a:gd name="T17" fmla="*/ 320 h 976"/>
                <a:gd name="T18" fmla="*/ 267 w 873"/>
                <a:gd name="T19" fmla="*/ 307 h 976"/>
                <a:gd name="T20" fmla="*/ 244 w 873"/>
                <a:gd name="T21" fmla="*/ 231 h 976"/>
                <a:gd name="T22" fmla="*/ 187 w 873"/>
                <a:gd name="T23" fmla="*/ 164 h 976"/>
                <a:gd name="T24" fmla="*/ 163 w 873"/>
                <a:gd name="T25" fmla="*/ 98 h 976"/>
                <a:gd name="T26" fmla="*/ 114 w 873"/>
                <a:gd name="T27" fmla="*/ 143 h 976"/>
                <a:gd name="T28" fmla="*/ 79 w 873"/>
                <a:gd name="T29" fmla="*/ 138 h 976"/>
                <a:gd name="T30" fmla="*/ 35 w 873"/>
                <a:gd name="T31" fmla="*/ 122 h 976"/>
                <a:gd name="T32" fmla="*/ 2 w 873"/>
                <a:gd name="T33" fmla="*/ 148 h 976"/>
                <a:gd name="T34" fmla="*/ 22 w 873"/>
                <a:gd name="T35" fmla="*/ 200 h 976"/>
                <a:gd name="T36" fmla="*/ 67 w 873"/>
                <a:gd name="T37" fmla="*/ 207 h 976"/>
                <a:gd name="T38" fmla="*/ 102 w 873"/>
                <a:gd name="T39" fmla="*/ 221 h 976"/>
                <a:gd name="T40" fmla="*/ 148 w 873"/>
                <a:gd name="T41" fmla="*/ 245 h 976"/>
                <a:gd name="T42" fmla="*/ 196 w 873"/>
                <a:gd name="T43" fmla="*/ 283 h 976"/>
                <a:gd name="T44" fmla="*/ 240 w 873"/>
                <a:gd name="T45" fmla="*/ 344 h 976"/>
                <a:gd name="T46" fmla="*/ 288 w 873"/>
                <a:gd name="T47" fmla="*/ 392 h 976"/>
                <a:gd name="T48" fmla="*/ 289 w 873"/>
                <a:gd name="T49" fmla="*/ 452 h 976"/>
                <a:gd name="T50" fmla="*/ 277 w 873"/>
                <a:gd name="T51" fmla="*/ 499 h 976"/>
                <a:gd name="T52" fmla="*/ 307 w 873"/>
                <a:gd name="T53" fmla="*/ 581 h 976"/>
                <a:gd name="T54" fmla="*/ 392 w 873"/>
                <a:gd name="T55" fmla="*/ 703 h 976"/>
                <a:gd name="T56" fmla="*/ 403 w 873"/>
                <a:gd name="T57" fmla="*/ 765 h 976"/>
                <a:gd name="T58" fmla="*/ 409 w 873"/>
                <a:gd name="T59" fmla="*/ 817 h 976"/>
                <a:gd name="T60" fmla="*/ 491 w 873"/>
                <a:gd name="T61" fmla="*/ 878 h 976"/>
                <a:gd name="T62" fmla="*/ 521 w 873"/>
                <a:gd name="T63" fmla="*/ 941 h 976"/>
                <a:gd name="T64" fmla="*/ 560 w 873"/>
                <a:gd name="T65" fmla="*/ 970 h 976"/>
                <a:gd name="T66" fmla="*/ 645 w 873"/>
                <a:gd name="T67" fmla="*/ 922 h 976"/>
                <a:gd name="T68" fmla="*/ 699 w 873"/>
                <a:gd name="T69" fmla="*/ 865 h 976"/>
                <a:gd name="T70" fmla="*/ 693 w 873"/>
                <a:gd name="T71" fmla="*/ 832 h 976"/>
                <a:gd name="T72" fmla="*/ 656 w 873"/>
                <a:gd name="T73" fmla="*/ 796 h 976"/>
                <a:gd name="T74" fmla="*/ 699 w 873"/>
                <a:gd name="T75" fmla="*/ 748 h 976"/>
                <a:gd name="T76" fmla="*/ 740 w 873"/>
                <a:gd name="T77" fmla="*/ 699 h 976"/>
                <a:gd name="T78" fmla="*/ 720 w 873"/>
                <a:gd name="T79" fmla="*/ 651 h 976"/>
                <a:gd name="T80" fmla="*/ 721 w 873"/>
                <a:gd name="T81" fmla="*/ 608 h 976"/>
                <a:gd name="T82" fmla="*/ 777 w 873"/>
                <a:gd name="T83" fmla="*/ 615 h 976"/>
                <a:gd name="T84" fmla="*/ 844 w 873"/>
                <a:gd name="T85" fmla="*/ 581 h 976"/>
                <a:gd name="T86" fmla="*/ 852 w 873"/>
                <a:gd name="T87" fmla="*/ 537 h 976"/>
                <a:gd name="T88" fmla="*/ 837 w 873"/>
                <a:gd name="T89" fmla="*/ 459 h 976"/>
                <a:gd name="T90" fmla="*/ 873 w 873"/>
                <a:gd name="T91" fmla="*/ 404 h 976"/>
                <a:gd name="T92" fmla="*/ 835 w 873"/>
                <a:gd name="T93" fmla="*/ 356 h 976"/>
                <a:gd name="T94" fmla="*/ 816 w 873"/>
                <a:gd name="T95" fmla="*/ 324 h 976"/>
                <a:gd name="T96" fmla="*/ 809 w 873"/>
                <a:gd name="T97" fmla="*/ 224 h 976"/>
                <a:gd name="T98" fmla="*/ 771 w 873"/>
                <a:gd name="T99" fmla="*/ 90 h 976"/>
                <a:gd name="T100" fmla="*/ 717 w 873"/>
                <a:gd name="T101" fmla="*/ 78 h 976"/>
                <a:gd name="T102" fmla="*/ 683 w 873"/>
                <a:gd name="T103" fmla="*/ 20 h 976"/>
                <a:gd name="T104" fmla="*/ 653 w 873"/>
                <a:gd name="T105" fmla="*/ 52 h 976"/>
                <a:gd name="T106" fmla="*/ 621 w 873"/>
                <a:gd name="T107" fmla="*/ 72 h 976"/>
                <a:gd name="T108" fmla="*/ 563 w 873"/>
                <a:gd name="T109" fmla="*/ 50 h 976"/>
                <a:gd name="T110" fmla="*/ 504 w 873"/>
                <a:gd name="T111" fmla="*/ 62 h 97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873"/>
                <a:gd name="T169" fmla="*/ 0 h 976"/>
                <a:gd name="T170" fmla="*/ 873 w 873"/>
                <a:gd name="T171" fmla="*/ 976 h 97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873" h="976">
                  <a:moveTo>
                    <a:pt x="481" y="91"/>
                  </a:moveTo>
                  <a:lnTo>
                    <a:pt x="483" y="100"/>
                  </a:lnTo>
                  <a:lnTo>
                    <a:pt x="484" y="104"/>
                  </a:lnTo>
                  <a:lnTo>
                    <a:pt x="487" y="104"/>
                  </a:lnTo>
                  <a:lnTo>
                    <a:pt x="488" y="103"/>
                  </a:lnTo>
                  <a:lnTo>
                    <a:pt x="488" y="110"/>
                  </a:lnTo>
                  <a:lnTo>
                    <a:pt x="489" y="118"/>
                  </a:lnTo>
                  <a:lnTo>
                    <a:pt x="492" y="122"/>
                  </a:lnTo>
                  <a:lnTo>
                    <a:pt x="495" y="124"/>
                  </a:lnTo>
                  <a:lnTo>
                    <a:pt x="500" y="127"/>
                  </a:lnTo>
                  <a:lnTo>
                    <a:pt x="505" y="127"/>
                  </a:lnTo>
                  <a:lnTo>
                    <a:pt x="513" y="127"/>
                  </a:lnTo>
                  <a:lnTo>
                    <a:pt x="519" y="126"/>
                  </a:lnTo>
                  <a:lnTo>
                    <a:pt x="523" y="124"/>
                  </a:lnTo>
                  <a:lnTo>
                    <a:pt x="525" y="123"/>
                  </a:lnTo>
                  <a:lnTo>
                    <a:pt x="529" y="118"/>
                  </a:lnTo>
                  <a:lnTo>
                    <a:pt x="536" y="110"/>
                  </a:lnTo>
                  <a:lnTo>
                    <a:pt x="565" y="110"/>
                  </a:lnTo>
                  <a:lnTo>
                    <a:pt x="565" y="123"/>
                  </a:lnTo>
                  <a:lnTo>
                    <a:pt x="565" y="134"/>
                  </a:lnTo>
                  <a:lnTo>
                    <a:pt x="565" y="149"/>
                  </a:lnTo>
                  <a:lnTo>
                    <a:pt x="563" y="165"/>
                  </a:lnTo>
                  <a:lnTo>
                    <a:pt x="557" y="177"/>
                  </a:lnTo>
                  <a:lnTo>
                    <a:pt x="552" y="189"/>
                  </a:lnTo>
                  <a:lnTo>
                    <a:pt x="544" y="199"/>
                  </a:lnTo>
                  <a:lnTo>
                    <a:pt x="535" y="208"/>
                  </a:lnTo>
                  <a:lnTo>
                    <a:pt x="525" y="215"/>
                  </a:lnTo>
                  <a:lnTo>
                    <a:pt x="513" y="221"/>
                  </a:lnTo>
                  <a:lnTo>
                    <a:pt x="461" y="240"/>
                  </a:lnTo>
                  <a:lnTo>
                    <a:pt x="403" y="260"/>
                  </a:lnTo>
                  <a:lnTo>
                    <a:pt x="396" y="263"/>
                  </a:lnTo>
                  <a:lnTo>
                    <a:pt x="391" y="267"/>
                  </a:lnTo>
                  <a:lnTo>
                    <a:pt x="388" y="272"/>
                  </a:lnTo>
                  <a:lnTo>
                    <a:pt x="387" y="279"/>
                  </a:lnTo>
                  <a:lnTo>
                    <a:pt x="385" y="284"/>
                  </a:lnTo>
                  <a:lnTo>
                    <a:pt x="384" y="291"/>
                  </a:lnTo>
                  <a:lnTo>
                    <a:pt x="383" y="296"/>
                  </a:lnTo>
                  <a:lnTo>
                    <a:pt x="379" y="301"/>
                  </a:lnTo>
                  <a:lnTo>
                    <a:pt x="379" y="311"/>
                  </a:lnTo>
                  <a:lnTo>
                    <a:pt x="377" y="317"/>
                  </a:lnTo>
                  <a:lnTo>
                    <a:pt x="376" y="324"/>
                  </a:lnTo>
                  <a:lnTo>
                    <a:pt x="373" y="329"/>
                  </a:lnTo>
                  <a:lnTo>
                    <a:pt x="369" y="332"/>
                  </a:lnTo>
                  <a:lnTo>
                    <a:pt x="364" y="336"/>
                  </a:lnTo>
                  <a:lnTo>
                    <a:pt x="357" y="337"/>
                  </a:lnTo>
                  <a:lnTo>
                    <a:pt x="349" y="337"/>
                  </a:lnTo>
                  <a:lnTo>
                    <a:pt x="343" y="337"/>
                  </a:lnTo>
                  <a:lnTo>
                    <a:pt x="336" y="335"/>
                  </a:lnTo>
                  <a:lnTo>
                    <a:pt x="331" y="332"/>
                  </a:lnTo>
                  <a:lnTo>
                    <a:pt x="324" y="329"/>
                  </a:lnTo>
                  <a:lnTo>
                    <a:pt x="317" y="325"/>
                  </a:lnTo>
                  <a:lnTo>
                    <a:pt x="311" y="323"/>
                  </a:lnTo>
                  <a:lnTo>
                    <a:pt x="303" y="320"/>
                  </a:lnTo>
                  <a:lnTo>
                    <a:pt x="295" y="320"/>
                  </a:lnTo>
                  <a:lnTo>
                    <a:pt x="288" y="319"/>
                  </a:lnTo>
                  <a:lnTo>
                    <a:pt x="281" y="319"/>
                  </a:lnTo>
                  <a:lnTo>
                    <a:pt x="276" y="316"/>
                  </a:lnTo>
                  <a:lnTo>
                    <a:pt x="272" y="313"/>
                  </a:lnTo>
                  <a:lnTo>
                    <a:pt x="269" y="311"/>
                  </a:lnTo>
                  <a:lnTo>
                    <a:pt x="267" y="307"/>
                  </a:lnTo>
                  <a:lnTo>
                    <a:pt x="264" y="301"/>
                  </a:lnTo>
                  <a:lnTo>
                    <a:pt x="263" y="297"/>
                  </a:lnTo>
                  <a:lnTo>
                    <a:pt x="259" y="273"/>
                  </a:lnTo>
                  <a:lnTo>
                    <a:pt x="253" y="248"/>
                  </a:lnTo>
                  <a:lnTo>
                    <a:pt x="249" y="239"/>
                  </a:lnTo>
                  <a:lnTo>
                    <a:pt x="244" y="231"/>
                  </a:lnTo>
                  <a:lnTo>
                    <a:pt x="237" y="221"/>
                  </a:lnTo>
                  <a:lnTo>
                    <a:pt x="231" y="213"/>
                  </a:lnTo>
                  <a:lnTo>
                    <a:pt x="216" y="197"/>
                  </a:lnTo>
                  <a:lnTo>
                    <a:pt x="202" y="181"/>
                  </a:lnTo>
                  <a:lnTo>
                    <a:pt x="194" y="172"/>
                  </a:lnTo>
                  <a:lnTo>
                    <a:pt x="187" y="164"/>
                  </a:lnTo>
                  <a:lnTo>
                    <a:pt x="180" y="155"/>
                  </a:lnTo>
                  <a:lnTo>
                    <a:pt x="174" y="144"/>
                  </a:lnTo>
                  <a:lnTo>
                    <a:pt x="170" y="134"/>
                  </a:lnTo>
                  <a:lnTo>
                    <a:pt x="166" y="123"/>
                  </a:lnTo>
                  <a:lnTo>
                    <a:pt x="163" y="110"/>
                  </a:lnTo>
                  <a:lnTo>
                    <a:pt x="163" y="98"/>
                  </a:lnTo>
                  <a:lnTo>
                    <a:pt x="139" y="98"/>
                  </a:lnTo>
                  <a:lnTo>
                    <a:pt x="131" y="112"/>
                  </a:lnTo>
                  <a:lnTo>
                    <a:pt x="124" y="128"/>
                  </a:lnTo>
                  <a:lnTo>
                    <a:pt x="122" y="135"/>
                  </a:lnTo>
                  <a:lnTo>
                    <a:pt x="116" y="140"/>
                  </a:lnTo>
                  <a:lnTo>
                    <a:pt x="114" y="143"/>
                  </a:lnTo>
                  <a:lnTo>
                    <a:pt x="111" y="144"/>
                  </a:lnTo>
                  <a:lnTo>
                    <a:pt x="107" y="144"/>
                  </a:lnTo>
                  <a:lnTo>
                    <a:pt x="103" y="145"/>
                  </a:lnTo>
                  <a:lnTo>
                    <a:pt x="94" y="144"/>
                  </a:lnTo>
                  <a:lnTo>
                    <a:pt x="86" y="141"/>
                  </a:lnTo>
                  <a:lnTo>
                    <a:pt x="79" y="138"/>
                  </a:lnTo>
                  <a:lnTo>
                    <a:pt x="72" y="134"/>
                  </a:lnTo>
                  <a:lnTo>
                    <a:pt x="66" y="128"/>
                  </a:lnTo>
                  <a:lnTo>
                    <a:pt x="59" y="124"/>
                  </a:lnTo>
                  <a:lnTo>
                    <a:pt x="51" y="122"/>
                  </a:lnTo>
                  <a:lnTo>
                    <a:pt x="42" y="122"/>
                  </a:lnTo>
                  <a:lnTo>
                    <a:pt x="35" y="122"/>
                  </a:lnTo>
                  <a:lnTo>
                    <a:pt x="28" y="123"/>
                  </a:lnTo>
                  <a:lnTo>
                    <a:pt x="20" y="126"/>
                  </a:lnTo>
                  <a:lnTo>
                    <a:pt x="14" y="130"/>
                  </a:lnTo>
                  <a:lnTo>
                    <a:pt x="8" y="135"/>
                  </a:lnTo>
                  <a:lnTo>
                    <a:pt x="4" y="141"/>
                  </a:lnTo>
                  <a:lnTo>
                    <a:pt x="2" y="148"/>
                  </a:lnTo>
                  <a:lnTo>
                    <a:pt x="0" y="157"/>
                  </a:lnTo>
                  <a:lnTo>
                    <a:pt x="2" y="167"/>
                  </a:lnTo>
                  <a:lnTo>
                    <a:pt x="4" y="176"/>
                  </a:lnTo>
                  <a:lnTo>
                    <a:pt x="8" y="185"/>
                  </a:lnTo>
                  <a:lnTo>
                    <a:pt x="15" y="193"/>
                  </a:lnTo>
                  <a:lnTo>
                    <a:pt x="22" y="200"/>
                  </a:lnTo>
                  <a:lnTo>
                    <a:pt x="31" y="207"/>
                  </a:lnTo>
                  <a:lnTo>
                    <a:pt x="39" y="209"/>
                  </a:lnTo>
                  <a:lnTo>
                    <a:pt x="48" y="211"/>
                  </a:lnTo>
                  <a:lnTo>
                    <a:pt x="56" y="211"/>
                  </a:lnTo>
                  <a:lnTo>
                    <a:pt x="63" y="209"/>
                  </a:lnTo>
                  <a:lnTo>
                    <a:pt x="67" y="207"/>
                  </a:lnTo>
                  <a:lnTo>
                    <a:pt x="72" y="204"/>
                  </a:lnTo>
                  <a:lnTo>
                    <a:pt x="82" y="199"/>
                  </a:lnTo>
                  <a:lnTo>
                    <a:pt x="96" y="193"/>
                  </a:lnTo>
                  <a:lnTo>
                    <a:pt x="98" y="204"/>
                  </a:lnTo>
                  <a:lnTo>
                    <a:pt x="100" y="215"/>
                  </a:lnTo>
                  <a:lnTo>
                    <a:pt x="102" y="221"/>
                  </a:lnTo>
                  <a:lnTo>
                    <a:pt x="106" y="228"/>
                  </a:lnTo>
                  <a:lnTo>
                    <a:pt x="108" y="233"/>
                  </a:lnTo>
                  <a:lnTo>
                    <a:pt x="112" y="236"/>
                  </a:lnTo>
                  <a:lnTo>
                    <a:pt x="118" y="239"/>
                  </a:lnTo>
                  <a:lnTo>
                    <a:pt x="123" y="241"/>
                  </a:lnTo>
                  <a:lnTo>
                    <a:pt x="148" y="245"/>
                  </a:lnTo>
                  <a:lnTo>
                    <a:pt x="180" y="253"/>
                  </a:lnTo>
                  <a:lnTo>
                    <a:pt x="187" y="257"/>
                  </a:lnTo>
                  <a:lnTo>
                    <a:pt x="190" y="263"/>
                  </a:lnTo>
                  <a:lnTo>
                    <a:pt x="192" y="267"/>
                  </a:lnTo>
                  <a:lnTo>
                    <a:pt x="194" y="272"/>
                  </a:lnTo>
                  <a:lnTo>
                    <a:pt x="196" y="283"/>
                  </a:lnTo>
                  <a:lnTo>
                    <a:pt x="199" y="296"/>
                  </a:lnTo>
                  <a:lnTo>
                    <a:pt x="204" y="305"/>
                  </a:lnTo>
                  <a:lnTo>
                    <a:pt x="210" y="315"/>
                  </a:lnTo>
                  <a:lnTo>
                    <a:pt x="216" y="323"/>
                  </a:lnTo>
                  <a:lnTo>
                    <a:pt x="224" y="329"/>
                  </a:lnTo>
                  <a:lnTo>
                    <a:pt x="240" y="344"/>
                  </a:lnTo>
                  <a:lnTo>
                    <a:pt x="256" y="356"/>
                  </a:lnTo>
                  <a:lnTo>
                    <a:pt x="264" y="363"/>
                  </a:lnTo>
                  <a:lnTo>
                    <a:pt x="271" y="369"/>
                  </a:lnTo>
                  <a:lnTo>
                    <a:pt x="277" y="377"/>
                  </a:lnTo>
                  <a:lnTo>
                    <a:pt x="283" y="384"/>
                  </a:lnTo>
                  <a:lnTo>
                    <a:pt x="288" y="392"/>
                  </a:lnTo>
                  <a:lnTo>
                    <a:pt x="292" y="401"/>
                  </a:lnTo>
                  <a:lnTo>
                    <a:pt x="295" y="411"/>
                  </a:lnTo>
                  <a:lnTo>
                    <a:pt x="295" y="423"/>
                  </a:lnTo>
                  <a:lnTo>
                    <a:pt x="295" y="435"/>
                  </a:lnTo>
                  <a:lnTo>
                    <a:pt x="292" y="444"/>
                  </a:lnTo>
                  <a:lnTo>
                    <a:pt x="289" y="452"/>
                  </a:lnTo>
                  <a:lnTo>
                    <a:pt x="285" y="460"/>
                  </a:lnTo>
                  <a:lnTo>
                    <a:pt x="283" y="467"/>
                  </a:lnTo>
                  <a:lnTo>
                    <a:pt x="280" y="473"/>
                  </a:lnTo>
                  <a:lnTo>
                    <a:pt x="277" y="480"/>
                  </a:lnTo>
                  <a:lnTo>
                    <a:pt x="277" y="488"/>
                  </a:lnTo>
                  <a:lnTo>
                    <a:pt x="277" y="499"/>
                  </a:lnTo>
                  <a:lnTo>
                    <a:pt x="279" y="509"/>
                  </a:lnTo>
                  <a:lnTo>
                    <a:pt x="280" y="519"/>
                  </a:lnTo>
                  <a:lnTo>
                    <a:pt x="283" y="528"/>
                  </a:lnTo>
                  <a:lnTo>
                    <a:pt x="288" y="547"/>
                  </a:lnTo>
                  <a:lnTo>
                    <a:pt x="296" y="564"/>
                  </a:lnTo>
                  <a:lnTo>
                    <a:pt x="307" y="581"/>
                  </a:lnTo>
                  <a:lnTo>
                    <a:pt x="317" y="597"/>
                  </a:lnTo>
                  <a:lnTo>
                    <a:pt x="328" y="612"/>
                  </a:lnTo>
                  <a:lnTo>
                    <a:pt x="340" y="628"/>
                  </a:lnTo>
                  <a:lnTo>
                    <a:pt x="363" y="657"/>
                  </a:lnTo>
                  <a:lnTo>
                    <a:pt x="384" y="688"/>
                  </a:lnTo>
                  <a:lnTo>
                    <a:pt x="392" y="703"/>
                  </a:lnTo>
                  <a:lnTo>
                    <a:pt x="397" y="719"/>
                  </a:lnTo>
                  <a:lnTo>
                    <a:pt x="400" y="726"/>
                  </a:lnTo>
                  <a:lnTo>
                    <a:pt x="401" y="736"/>
                  </a:lnTo>
                  <a:lnTo>
                    <a:pt x="403" y="744"/>
                  </a:lnTo>
                  <a:lnTo>
                    <a:pt x="403" y="753"/>
                  </a:lnTo>
                  <a:lnTo>
                    <a:pt x="403" y="765"/>
                  </a:lnTo>
                  <a:lnTo>
                    <a:pt x="403" y="774"/>
                  </a:lnTo>
                  <a:lnTo>
                    <a:pt x="403" y="784"/>
                  </a:lnTo>
                  <a:lnTo>
                    <a:pt x="403" y="796"/>
                  </a:lnTo>
                  <a:lnTo>
                    <a:pt x="404" y="802"/>
                  </a:lnTo>
                  <a:lnTo>
                    <a:pt x="407" y="810"/>
                  </a:lnTo>
                  <a:lnTo>
                    <a:pt x="409" y="817"/>
                  </a:lnTo>
                  <a:lnTo>
                    <a:pt x="415" y="822"/>
                  </a:lnTo>
                  <a:lnTo>
                    <a:pt x="427" y="834"/>
                  </a:lnTo>
                  <a:lnTo>
                    <a:pt x="441" y="846"/>
                  </a:lnTo>
                  <a:lnTo>
                    <a:pt x="457" y="857"/>
                  </a:lnTo>
                  <a:lnTo>
                    <a:pt x="475" y="868"/>
                  </a:lnTo>
                  <a:lnTo>
                    <a:pt x="491" y="878"/>
                  </a:lnTo>
                  <a:lnTo>
                    <a:pt x="505" y="892"/>
                  </a:lnTo>
                  <a:lnTo>
                    <a:pt x="512" y="900"/>
                  </a:lnTo>
                  <a:lnTo>
                    <a:pt x="516" y="909"/>
                  </a:lnTo>
                  <a:lnTo>
                    <a:pt x="519" y="920"/>
                  </a:lnTo>
                  <a:lnTo>
                    <a:pt x="520" y="930"/>
                  </a:lnTo>
                  <a:lnTo>
                    <a:pt x="521" y="941"/>
                  </a:lnTo>
                  <a:lnTo>
                    <a:pt x="524" y="950"/>
                  </a:lnTo>
                  <a:lnTo>
                    <a:pt x="527" y="958"/>
                  </a:lnTo>
                  <a:lnTo>
                    <a:pt x="529" y="964"/>
                  </a:lnTo>
                  <a:lnTo>
                    <a:pt x="529" y="976"/>
                  </a:lnTo>
                  <a:lnTo>
                    <a:pt x="544" y="973"/>
                  </a:lnTo>
                  <a:lnTo>
                    <a:pt x="560" y="970"/>
                  </a:lnTo>
                  <a:lnTo>
                    <a:pt x="576" y="965"/>
                  </a:lnTo>
                  <a:lnTo>
                    <a:pt x="593" y="958"/>
                  </a:lnTo>
                  <a:lnTo>
                    <a:pt x="612" y="949"/>
                  </a:lnTo>
                  <a:lnTo>
                    <a:pt x="629" y="937"/>
                  </a:lnTo>
                  <a:lnTo>
                    <a:pt x="637" y="930"/>
                  </a:lnTo>
                  <a:lnTo>
                    <a:pt x="645" y="922"/>
                  </a:lnTo>
                  <a:lnTo>
                    <a:pt x="655" y="913"/>
                  </a:lnTo>
                  <a:lnTo>
                    <a:pt x="663" y="904"/>
                  </a:lnTo>
                  <a:lnTo>
                    <a:pt x="672" y="892"/>
                  </a:lnTo>
                  <a:lnTo>
                    <a:pt x="680" y="881"/>
                  </a:lnTo>
                  <a:lnTo>
                    <a:pt x="689" y="872"/>
                  </a:lnTo>
                  <a:lnTo>
                    <a:pt x="699" y="865"/>
                  </a:lnTo>
                  <a:lnTo>
                    <a:pt x="709" y="860"/>
                  </a:lnTo>
                  <a:lnTo>
                    <a:pt x="719" y="856"/>
                  </a:lnTo>
                  <a:lnTo>
                    <a:pt x="729" y="852"/>
                  </a:lnTo>
                  <a:lnTo>
                    <a:pt x="740" y="849"/>
                  </a:lnTo>
                  <a:lnTo>
                    <a:pt x="723" y="842"/>
                  </a:lnTo>
                  <a:lnTo>
                    <a:pt x="693" y="832"/>
                  </a:lnTo>
                  <a:lnTo>
                    <a:pt x="680" y="824"/>
                  </a:lnTo>
                  <a:lnTo>
                    <a:pt x="668" y="816"/>
                  </a:lnTo>
                  <a:lnTo>
                    <a:pt x="663" y="810"/>
                  </a:lnTo>
                  <a:lnTo>
                    <a:pt x="660" y="806"/>
                  </a:lnTo>
                  <a:lnTo>
                    <a:pt x="657" y="801"/>
                  </a:lnTo>
                  <a:lnTo>
                    <a:pt x="656" y="796"/>
                  </a:lnTo>
                  <a:lnTo>
                    <a:pt x="657" y="786"/>
                  </a:lnTo>
                  <a:lnTo>
                    <a:pt x="660" y="778"/>
                  </a:lnTo>
                  <a:lnTo>
                    <a:pt x="664" y="770"/>
                  </a:lnTo>
                  <a:lnTo>
                    <a:pt x="669" y="765"/>
                  </a:lnTo>
                  <a:lnTo>
                    <a:pt x="683" y="756"/>
                  </a:lnTo>
                  <a:lnTo>
                    <a:pt x="699" y="748"/>
                  </a:lnTo>
                  <a:lnTo>
                    <a:pt x="713" y="738"/>
                  </a:lnTo>
                  <a:lnTo>
                    <a:pt x="728" y="729"/>
                  </a:lnTo>
                  <a:lnTo>
                    <a:pt x="733" y="724"/>
                  </a:lnTo>
                  <a:lnTo>
                    <a:pt x="737" y="716"/>
                  </a:lnTo>
                  <a:lnTo>
                    <a:pt x="740" y="708"/>
                  </a:lnTo>
                  <a:lnTo>
                    <a:pt x="740" y="699"/>
                  </a:lnTo>
                  <a:lnTo>
                    <a:pt x="740" y="691"/>
                  </a:lnTo>
                  <a:lnTo>
                    <a:pt x="737" y="683"/>
                  </a:lnTo>
                  <a:lnTo>
                    <a:pt x="733" y="673"/>
                  </a:lnTo>
                  <a:lnTo>
                    <a:pt x="728" y="667"/>
                  </a:lnTo>
                  <a:lnTo>
                    <a:pt x="724" y="659"/>
                  </a:lnTo>
                  <a:lnTo>
                    <a:pt x="720" y="651"/>
                  </a:lnTo>
                  <a:lnTo>
                    <a:pt x="717" y="641"/>
                  </a:lnTo>
                  <a:lnTo>
                    <a:pt x="716" y="633"/>
                  </a:lnTo>
                  <a:lnTo>
                    <a:pt x="717" y="627"/>
                  </a:lnTo>
                  <a:lnTo>
                    <a:pt x="717" y="620"/>
                  </a:lnTo>
                  <a:lnTo>
                    <a:pt x="720" y="613"/>
                  </a:lnTo>
                  <a:lnTo>
                    <a:pt x="721" y="608"/>
                  </a:lnTo>
                  <a:lnTo>
                    <a:pt x="725" y="604"/>
                  </a:lnTo>
                  <a:lnTo>
                    <a:pt x="729" y="600"/>
                  </a:lnTo>
                  <a:lnTo>
                    <a:pt x="735" y="597"/>
                  </a:lnTo>
                  <a:lnTo>
                    <a:pt x="740" y="597"/>
                  </a:lnTo>
                  <a:lnTo>
                    <a:pt x="759" y="605"/>
                  </a:lnTo>
                  <a:lnTo>
                    <a:pt x="777" y="615"/>
                  </a:lnTo>
                  <a:lnTo>
                    <a:pt x="784" y="613"/>
                  </a:lnTo>
                  <a:lnTo>
                    <a:pt x="795" y="609"/>
                  </a:lnTo>
                  <a:lnTo>
                    <a:pt x="807" y="604"/>
                  </a:lnTo>
                  <a:lnTo>
                    <a:pt x="820" y="597"/>
                  </a:lnTo>
                  <a:lnTo>
                    <a:pt x="833" y="589"/>
                  </a:lnTo>
                  <a:lnTo>
                    <a:pt x="844" y="581"/>
                  </a:lnTo>
                  <a:lnTo>
                    <a:pt x="849" y="577"/>
                  </a:lnTo>
                  <a:lnTo>
                    <a:pt x="852" y="573"/>
                  </a:lnTo>
                  <a:lnTo>
                    <a:pt x="855" y="571"/>
                  </a:lnTo>
                  <a:lnTo>
                    <a:pt x="855" y="567"/>
                  </a:lnTo>
                  <a:lnTo>
                    <a:pt x="855" y="552"/>
                  </a:lnTo>
                  <a:lnTo>
                    <a:pt x="852" y="537"/>
                  </a:lnTo>
                  <a:lnTo>
                    <a:pt x="849" y="525"/>
                  </a:lnTo>
                  <a:lnTo>
                    <a:pt x="847" y="512"/>
                  </a:lnTo>
                  <a:lnTo>
                    <a:pt x="843" y="500"/>
                  </a:lnTo>
                  <a:lnTo>
                    <a:pt x="840" y="487"/>
                  </a:lnTo>
                  <a:lnTo>
                    <a:pt x="837" y="473"/>
                  </a:lnTo>
                  <a:lnTo>
                    <a:pt x="837" y="459"/>
                  </a:lnTo>
                  <a:lnTo>
                    <a:pt x="837" y="452"/>
                  </a:lnTo>
                  <a:lnTo>
                    <a:pt x="840" y="445"/>
                  </a:lnTo>
                  <a:lnTo>
                    <a:pt x="844" y="440"/>
                  </a:lnTo>
                  <a:lnTo>
                    <a:pt x="848" y="433"/>
                  </a:lnTo>
                  <a:lnTo>
                    <a:pt x="860" y="420"/>
                  </a:lnTo>
                  <a:lnTo>
                    <a:pt x="873" y="404"/>
                  </a:lnTo>
                  <a:lnTo>
                    <a:pt x="873" y="368"/>
                  </a:lnTo>
                  <a:lnTo>
                    <a:pt x="864" y="367"/>
                  </a:lnTo>
                  <a:lnTo>
                    <a:pt x="855" y="365"/>
                  </a:lnTo>
                  <a:lnTo>
                    <a:pt x="848" y="363"/>
                  </a:lnTo>
                  <a:lnTo>
                    <a:pt x="841" y="360"/>
                  </a:lnTo>
                  <a:lnTo>
                    <a:pt x="835" y="356"/>
                  </a:lnTo>
                  <a:lnTo>
                    <a:pt x="831" y="352"/>
                  </a:lnTo>
                  <a:lnTo>
                    <a:pt x="827" y="348"/>
                  </a:lnTo>
                  <a:lnTo>
                    <a:pt x="823" y="343"/>
                  </a:lnTo>
                  <a:lnTo>
                    <a:pt x="820" y="337"/>
                  </a:lnTo>
                  <a:lnTo>
                    <a:pt x="817" y="331"/>
                  </a:lnTo>
                  <a:lnTo>
                    <a:pt x="816" y="324"/>
                  </a:lnTo>
                  <a:lnTo>
                    <a:pt x="815" y="316"/>
                  </a:lnTo>
                  <a:lnTo>
                    <a:pt x="813" y="299"/>
                  </a:lnTo>
                  <a:lnTo>
                    <a:pt x="813" y="277"/>
                  </a:lnTo>
                  <a:lnTo>
                    <a:pt x="812" y="259"/>
                  </a:lnTo>
                  <a:lnTo>
                    <a:pt x="811" y="240"/>
                  </a:lnTo>
                  <a:lnTo>
                    <a:pt x="809" y="224"/>
                  </a:lnTo>
                  <a:lnTo>
                    <a:pt x="807" y="209"/>
                  </a:lnTo>
                  <a:lnTo>
                    <a:pt x="801" y="184"/>
                  </a:lnTo>
                  <a:lnTo>
                    <a:pt x="793" y="160"/>
                  </a:lnTo>
                  <a:lnTo>
                    <a:pt x="785" y="138"/>
                  </a:lnTo>
                  <a:lnTo>
                    <a:pt x="777" y="115"/>
                  </a:lnTo>
                  <a:lnTo>
                    <a:pt x="771" y="90"/>
                  </a:lnTo>
                  <a:lnTo>
                    <a:pt x="765" y="60"/>
                  </a:lnTo>
                  <a:lnTo>
                    <a:pt x="755" y="66"/>
                  </a:lnTo>
                  <a:lnTo>
                    <a:pt x="744" y="72"/>
                  </a:lnTo>
                  <a:lnTo>
                    <a:pt x="732" y="78"/>
                  </a:lnTo>
                  <a:lnTo>
                    <a:pt x="723" y="79"/>
                  </a:lnTo>
                  <a:lnTo>
                    <a:pt x="717" y="78"/>
                  </a:lnTo>
                  <a:lnTo>
                    <a:pt x="712" y="76"/>
                  </a:lnTo>
                  <a:lnTo>
                    <a:pt x="708" y="74"/>
                  </a:lnTo>
                  <a:lnTo>
                    <a:pt x="704" y="70"/>
                  </a:lnTo>
                  <a:lnTo>
                    <a:pt x="697" y="59"/>
                  </a:lnTo>
                  <a:lnTo>
                    <a:pt x="692" y="47"/>
                  </a:lnTo>
                  <a:lnTo>
                    <a:pt x="683" y="20"/>
                  </a:lnTo>
                  <a:lnTo>
                    <a:pt x="675" y="0"/>
                  </a:lnTo>
                  <a:lnTo>
                    <a:pt x="671" y="6"/>
                  </a:lnTo>
                  <a:lnTo>
                    <a:pt x="667" y="15"/>
                  </a:lnTo>
                  <a:lnTo>
                    <a:pt x="663" y="26"/>
                  </a:lnTo>
                  <a:lnTo>
                    <a:pt x="657" y="39"/>
                  </a:lnTo>
                  <a:lnTo>
                    <a:pt x="653" y="52"/>
                  </a:lnTo>
                  <a:lnTo>
                    <a:pt x="647" y="63"/>
                  </a:lnTo>
                  <a:lnTo>
                    <a:pt x="644" y="67"/>
                  </a:lnTo>
                  <a:lnTo>
                    <a:pt x="640" y="70"/>
                  </a:lnTo>
                  <a:lnTo>
                    <a:pt x="636" y="72"/>
                  </a:lnTo>
                  <a:lnTo>
                    <a:pt x="632" y="72"/>
                  </a:lnTo>
                  <a:lnTo>
                    <a:pt x="621" y="72"/>
                  </a:lnTo>
                  <a:lnTo>
                    <a:pt x="612" y="70"/>
                  </a:lnTo>
                  <a:lnTo>
                    <a:pt x="604" y="66"/>
                  </a:lnTo>
                  <a:lnTo>
                    <a:pt x="595" y="60"/>
                  </a:lnTo>
                  <a:lnTo>
                    <a:pt x="585" y="56"/>
                  </a:lnTo>
                  <a:lnTo>
                    <a:pt x="575" y="52"/>
                  </a:lnTo>
                  <a:lnTo>
                    <a:pt x="563" y="50"/>
                  </a:lnTo>
                  <a:lnTo>
                    <a:pt x="548" y="48"/>
                  </a:lnTo>
                  <a:lnTo>
                    <a:pt x="537" y="50"/>
                  </a:lnTo>
                  <a:lnTo>
                    <a:pt x="528" y="52"/>
                  </a:lnTo>
                  <a:lnTo>
                    <a:pt x="520" y="55"/>
                  </a:lnTo>
                  <a:lnTo>
                    <a:pt x="512" y="58"/>
                  </a:lnTo>
                  <a:lnTo>
                    <a:pt x="504" y="62"/>
                  </a:lnTo>
                  <a:lnTo>
                    <a:pt x="495" y="64"/>
                  </a:lnTo>
                  <a:lnTo>
                    <a:pt x="487" y="66"/>
                  </a:lnTo>
                  <a:lnTo>
                    <a:pt x="476" y="67"/>
                  </a:lnTo>
                  <a:lnTo>
                    <a:pt x="481" y="91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accent1">
                  <a:lumMod val="20000"/>
                  <a:lumOff val="8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95" b="0" i="0" u="none" strike="noStrike" kern="1200" cap="none" spc="0" normalizeH="0" baseline="0" noProof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5" name="Freeform 112"/>
            <p:cNvSpPr>
              <a:spLocks/>
            </p:cNvSpPr>
            <p:nvPr/>
          </p:nvSpPr>
          <p:spPr bwMode="auto">
            <a:xfrm>
              <a:off x="4769775" y="2561516"/>
              <a:ext cx="38909" cy="74046"/>
            </a:xfrm>
            <a:custGeom>
              <a:avLst/>
              <a:gdLst>
                <a:gd name="T0" fmla="*/ 505 w 541"/>
                <a:gd name="T1" fmla="*/ 190 h 1029"/>
                <a:gd name="T2" fmla="*/ 487 w 541"/>
                <a:gd name="T3" fmla="*/ 216 h 1029"/>
                <a:gd name="T4" fmla="*/ 472 w 541"/>
                <a:gd name="T5" fmla="*/ 257 h 1029"/>
                <a:gd name="T6" fmla="*/ 472 w 541"/>
                <a:gd name="T7" fmla="*/ 294 h 1029"/>
                <a:gd name="T8" fmla="*/ 492 w 541"/>
                <a:gd name="T9" fmla="*/ 345 h 1029"/>
                <a:gd name="T10" fmla="*/ 515 w 541"/>
                <a:gd name="T11" fmla="*/ 386 h 1029"/>
                <a:gd name="T12" fmla="*/ 515 w 541"/>
                <a:gd name="T13" fmla="*/ 413 h 1029"/>
                <a:gd name="T14" fmla="*/ 493 w 541"/>
                <a:gd name="T15" fmla="*/ 456 h 1029"/>
                <a:gd name="T16" fmla="*/ 432 w 541"/>
                <a:gd name="T17" fmla="*/ 518 h 1029"/>
                <a:gd name="T18" fmla="*/ 407 w 541"/>
                <a:gd name="T19" fmla="*/ 550 h 1029"/>
                <a:gd name="T20" fmla="*/ 380 w 541"/>
                <a:gd name="T21" fmla="*/ 586 h 1029"/>
                <a:gd name="T22" fmla="*/ 367 w 541"/>
                <a:gd name="T23" fmla="*/ 630 h 1029"/>
                <a:gd name="T24" fmla="*/ 375 w 541"/>
                <a:gd name="T25" fmla="*/ 719 h 1029"/>
                <a:gd name="T26" fmla="*/ 383 w 541"/>
                <a:gd name="T27" fmla="*/ 811 h 1029"/>
                <a:gd name="T28" fmla="*/ 393 w 541"/>
                <a:gd name="T29" fmla="*/ 933 h 1029"/>
                <a:gd name="T30" fmla="*/ 384 w 541"/>
                <a:gd name="T31" fmla="*/ 993 h 1029"/>
                <a:gd name="T32" fmla="*/ 348 w 541"/>
                <a:gd name="T33" fmla="*/ 999 h 1029"/>
                <a:gd name="T34" fmla="*/ 276 w 541"/>
                <a:gd name="T35" fmla="*/ 999 h 1029"/>
                <a:gd name="T36" fmla="*/ 227 w 541"/>
                <a:gd name="T37" fmla="*/ 1009 h 1029"/>
                <a:gd name="T38" fmla="*/ 192 w 541"/>
                <a:gd name="T39" fmla="*/ 1027 h 1029"/>
                <a:gd name="T40" fmla="*/ 164 w 541"/>
                <a:gd name="T41" fmla="*/ 1025 h 1029"/>
                <a:gd name="T42" fmla="*/ 130 w 541"/>
                <a:gd name="T43" fmla="*/ 994 h 1029"/>
                <a:gd name="T44" fmla="*/ 115 w 541"/>
                <a:gd name="T45" fmla="*/ 830 h 1029"/>
                <a:gd name="T46" fmla="*/ 86 w 541"/>
                <a:gd name="T47" fmla="*/ 769 h 1029"/>
                <a:gd name="T48" fmla="*/ 62 w 541"/>
                <a:gd name="T49" fmla="*/ 685 h 1029"/>
                <a:gd name="T50" fmla="*/ 31 w 541"/>
                <a:gd name="T51" fmla="*/ 658 h 1029"/>
                <a:gd name="T52" fmla="*/ 10 w 541"/>
                <a:gd name="T53" fmla="*/ 638 h 1029"/>
                <a:gd name="T54" fmla="*/ 0 w 541"/>
                <a:gd name="T55" fmla="*/ 601 h 1029"/>
                <a:gd name="T56" fmla="*/ 12 w 541"/>
                <a:gd name="T57" fmla="*/ 554 h 1029"/>
                <a:gd name="T58" fmla="*/ 46 w 541"/>
                <a:gd name="T59" fmla="*/ 519 h 1029"/>
                <a:gd name="T60" fmla="*/ 94 w 541"/>
                <a:gd name="T61" fmla="*/ 500 h 1029"/>
                <a:gd name="T62" fmla="*/ 151 w 541"/>
                <a:gd name="T63" fmla="*/ 493 h 1029"/>
                <a:gd name="T64" fmla="*/ 178 w 541"/>
                <a:gd name="T65" fmla="*/ 502 h 1029"/>
                <a:gd name="T66" fmla="*/ 204 w 541"/>
                <a:gd name="T67" fmla="*/ 511 h 1029"/>
                <a:gd name="T68" fmla="*/ 235 w 541"/>
                <a:gd name="T69" fmla="*/ 502 h 1029"/>
                <a:gd name="T70" fmla="*/ 251 w 541"/>
                <a:gd name="T71" fmla="*/ 477 h 1029"/>
                <a:gd name="T72" fmla="*/ 299 w 541"/>
                <a:gd name="T73" fmla="*/ 374 h 1029"/>
                <a:gd name="T74" fmla="*/ 365 w 541"/>
                <a:gd name="T75" fmla="*/ 316 h 1029"/>
                <a:gd name="T76" fmla="*/ 380 w 541"/>
                <a:gd name="T77" fmla="*/ 296 h 1029"/>
                <a:gd name="T78" fmla="*/ 324 w 541"/>
                <a:gd name="T79" fmla="*/ 282 h 1029"/>
                <a:gd name="T80" fmla="*/ 291 w 541"/>
                <a:gd name="T81" fmla="*/ 262 h 1029"/>
                <a:gd name="T82" fmla="*/ 265 w 541"/>
                <a:gd name="T83" fmla="*/ 232 h 1029"/>
                <a:gd name="T84" fmla="*/ 234 w 541"/>
                <a:gd name="T85" fmla="*/ 162 h 1029"/>
                <a:gd name="T86" fmla="*/ 239 w 541"/>
                <a:gd name="T87" fmla="*/ 134 h 1029"/>
                <a:gd name="T88" fmla="*/ 244 w 541"/>
                <a:gd name="T89" fmla="*/ 97 h 1029"/>
                <a:gd name="T90" fmla="*/ 277 w 541"/>
                <a:gd name="T91" fmla="*/ 84 h 1029"/>
                <a:gd name="T92" fmla="*/ 320 w 541"/>
                <a:gd name="T93" fmla="*/ 28 h 1029"/>
                <a:gd name="T94" fmla="*/ 391 w 541"/>
                <a:gd name="T95" fmla="*/ 13 h 1029"/>
                <a:gd name="T96" fmla="*/ 416 w 541"/>
                <a:gd name="T97" fmla="*/ 6 h 1029"/>
                <a:gd name="T98" fmla="*/ 439 w 541"/>
                <a:gd name="T99" fmla="*/ 38 h 1029"/>
                <a:gd name="T100" fmla="*/ 503 w 541"/>
                <a:gd name="T101" fmla="*/ 82 h 1029"/>
                <a:gd name="T102" fmla="*/ 531 w 541"/>
                <a:gd name="T103" fmla="*/ 124 h 1029"/>
                <a:gd name="T104" fmla="*/ 539 w 541"/>
                <a:gd name="T105" fmla="*/ 162 h 1029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541"/>
                <a:gd name="T160" fmla="*/ 0 h 1029"/>
                <a:gd name="T161" fmla="*/ 541 w 541"/>
                <a:gd name="T162" fmla="*/ 1029 h 1029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541" h="1029">
                  <a:moveTo>
                    <a:pt x="541" y="180"/>
                  </a:moveTo>
                  <a:lnTo>
                    <a:pt x="525" y="184"/>
                  </a:lnTo>
                  <a:lnTo>
                    <a:pt x="511" y="188"/>
                  </a:lnTo>
                  <a:lnTo>
                    <a:pt x="505" y="190"/>
                  </a:lnTo>
                  <a:lnTo>
                    <a:pt x="500" y="193"/>
                  </a:lnTo>
                  <a:lnTo>
                    <a:pt x="496" y="198"/>
                  </a:lnTo>
                  <a:lnTo>
                    <a:pt x="493" y="204"/>
                  </a:lnTo>
                  <a:lnTo>
                    <a:pt x="487" y="216"/>
                  </a:lnTo>
                  <a:lnTo>
                    <a:pt x="481" y="226"/>
                  </a:lnTo>
                  <a:lnTo>
                    <a:pt x="477" y="236"/>
                  </a:lnTo>
                  <a:lnTo>
                    <a:pt x="475" y="246"/>
                  </a:lnTo>
                  <a:lnTo>
                    <a:pt x="472" y="257"/>
                  </a:lnTo>
                  <a:lnTo>
                    <a:pt x="471" y="266"/>
                  </a:lnTo>
                  <a:lnTo>
                    <a:pt x="469" y="276"/>
                  </a:lnTo>
                  <a:lnTo>
                    <a:pt x="471" y="285"/>
                  </a:lnTo>
                  <a:lnTo>
                    <a:pt x="472" y="294"/>
                  </a:lnTo>
                  <a:lnTo>
                    <a:pt x="473" y="305"/>
                  </a:lnTo>
                  <a:lnTo>
                    <a:pt x="477" y="314"/>
                  </a:lnTo>
                  <a:lnTo>
                    <a:pt x="481" y="325"/>
                  </a:lnTo>
                  <a:lnTo>
                    <a:pt x="492" y="345"/>
                  </a:lnTo>
                  <a:lnTo>
                    <a:pt x="505" y="366"/>
                  </a:lnTo>
                  <a:lnTo>
                    <a:pt x="509" y="373"/>
                  </a:lnTo>
                  <a:lnTo>
                    <a:pt x="513" y="380"/>
                  </a:lnTo>
                  <a:lnTo>
                    <a:pt x="515" y="386"/>
                  </a:lnTo>
                  <a:lnTo>
                    <a:pt x="516" y="393"/>
                  </a:lnTo>
                  <a:lnTo>
                    <a:pt x="516" y="400"/>
                  </a:lnTo>
                  <a:lnTo>
                    <a:pt x="516" y="406"/>
                  </a:lnTo>
                  <a:lnTo>
                    <a:pt x="515" y="413"/>
                  </a:lnTo>
                  <a:lnTo>
                    <a:pt x="513" y="420"/>
                  </a:lnTo>
                  <a:lnTo>
                    <a:pt x="508" y="432"/>
                  </a:lnTo>
                  <a:lnTo>
                    <a:pt x="501" y="444"/>
                  </a:lnTo>
                  <a:lnTo>
                    <a:pt x="493" y="456"/>
                  </a:lnTo>
                  <a:lnTo>
                    <a:pt x="483" y="468"/>
                  </a:lnTo>
                  <a:lnTo>
                    <a:pt x="461" y="489"/>
                  </a:lnTo>
                  <a:lnTo>
                    <a:pt x="441" y="509"/>
                  </a:lnTo>
                  <a:lnTo>
                    <a:pt x="432" y="518"/>
                  </a:lnTo>
                  <a:lnTo>
                    <a:pt x="424" y="526"/>
                  </a:lnTo>
                  <a:lnTo>
                    <a:pt x="419" y="534"/>
                  </a:lnTo>
                  <a:lnTo>
                    <a:pt x="415" y="541"/>
                  </a:lnTo>
                  <a:lnTo>
                    <a:pt x="407" y="550"/>
                  </a:lnTo>
                  <a:lnTo>
                    <a:pt x="399" y="559"/>
                  </a:lnTo>
                  <a:lnTo>
                    <a:pt x="391" y="569"/>
                  </a:lnTo>
                  <a:lnTo>
                    <a:pt x="385" y="577"/>
                  </a:lnTo>
                  <a:lnTo>
                    <a:pt x="380" y="586"/>
                  </a:lnTo>
                  <a:lnTo>
                    <a:pt x="376" y="595"/>
                  </a:lnTo>
                  <a:lnTo>
                    <a:pt x="372" y="603"/>
                  </a:lnTo>
                  <a:lnTo>
                    <a:pt x="369" y="613"/>
                  </a:lnTo>
                  <a:lnTo>
                    <a:pt x="367" y="630"/>
                  </a:lnTo>
                  <a:lnTo>
                    <a:pt x="365" y="647"/>
                  </a:lnTo>
                  <a:lnTo>
                    <a:pt x="365" y="666"/>
                  </a:lnTo>
                  <a:lnTo>
                    <a:pt x="368" y="683"/>
                  </a:lnTo>
                  <a:lnTo>
                    <a:pt x="375" y="719"/>
                  </a:lnTo>
                  <a:lnTo>
                    <a:pt x="380" y="755"/>
                  </a:lnTo>
                  <a:lnTo>
                    <a:pt x="383" y="774"/>
                  </a:lnTo>
                  <a:lnTo>
                    <a:pt x="384" y="793"/>
                  </a:lnTo>
                  <a:lnTo>
                    <a:pt x="383" y="811"/>
                  </a:lnTo>
                  <a:lnTo>
                    <a:pt x="379" y="830"/>
                  </a:lnTo>
                  <a:lnTo>
                    <a:pt x="387" y="874"/>
                  </a:lnTo>
                  <a:lnTo>
                    <a:pt x="392" y="913"/>
                  </a:lnTo>
                  <a:lnTo>
                    <a:pt x="393" y="933"/>
                  </a:lnTo>
                  <a:lnTo>
                    <a:pt x="393" y="950"/>
                  </a:lnTo>
                  <a:lnTo>
                    <a:pt x="393" y="969"/>
                  </a:lnTo>
                  <a:lnTo>
                    <a:pt x="391" y="987"/>
                  </a:lnTo>
                  <a:lnTo>
                    <a:pt x="384" y="993"/>
                  </a:lnTo>
                  <a:lnTo>
                    <a:pt x="377" y="997"/>
                  </a:lnTo>
                  <a:lnTo>
                    <a:pt x="371" y="998"/>
                  </a:lnTo>
                  <a:lnTo>
                    <a:pt x="363" y="999"/>
                  </a:lnTo>
                  <a:lnTo>
                    <a:pt x="348" y="999"/>
                  </a:lnTo>
                  <a:lnTo>
                    <a:pt x="331" y="999"/>
                  </a:lnTo>
                  <a:lnTo>
                    <a:pt x="311" y="999"/>
                  </a:lnTo>
                  <a:lnTo>
                    <a:pt x="295" y="999"/>
                  </a:lnTo>
                  <a:lnTo>
                    <a:pt x="276" y="999"/>
                  </a:lnTo>
                  <a:lnTo>
                    <a:pt x="252" y="999"/>
                  </a:lnTo>
                  <a:lnTo>
                    <a:pt x="243" y="1001"/>
                  </a:lnTo>
                  <a:lnTo>
                    <a:pt x="234" y="1003"/>
                  </a:lnTo>
                  <a:lnTo>
                    <a:pt x="227" y="1009"/>
                  </a:lnTo>
                  <a:lnTo>
                    <a:pt x="219" y="1014"/>
                  </a:lnTo>
                  <a:lnTo>
                    <a:pt x="211" y="1019"/>
                  </a:lnTo>
                  <a:lnTo>
                    <a:pt x="203" y="1025"/>
                  </a:lnTo>
                  <a:lnTo>
                    <a:pt x="192" y="1027"/>
                  </a:lnTo>
                  <a:lnTo>
                    <a:pt x="180" y="1029"/>
                  </a:lnTo>
                  <a:lnTo>
                    <a:pt x="175" y="1029"/>
                  </a:lnTo>
                  <a:lnTo>
                    <a:pt x="170" y="1027"/>
                  </a:lnTo>
                  <a:lnTo>
                    <a:pt x="164" y="1025"/>
                  </a:lnTo>
                  <a:lnTo>
                    <a:pt x="159" y="1022"/>
                  </a:lnTo>
                  <a:lnTo>
                    <a:pt x="148" y="1014"/>
                  </a:lnTo>
                  <a:lnTo>
                    <a:pt x="139" y="1005"/>
                  </a:lnTo>
                  <a:lnTo>
                    <a:pt x="130" y="994"/>
                  </a:lnTo>
                  <a:lnTo>
                    <a:pt x="123" y="983"/>
                  </a:lnTo>
                  <a:lnTo>
                    <a:pt x="118" y="973"/>
                  </a:lnTo>
                  <a:lnTo>
                    <a:pt x="115" y="963"/>
                  </a:lnTo>
                  <a:lnTo>
                    <a:pt x="115" y="830"/>
                  </a:lnTo>
                  <a:lnTo>
                    <a:pt x="104" y="817"/>
                  </a:lnTo>
                  <a:lnTo>
                    <a:pt x="96" y="801"/>
                  </a:lnTo>
                  <a:lnTo>
                    <a:pt x="91" y="785"/>
                  </a:lnTo>
                  <a:lnTo>
                    <a:pt x="86" y="769"/>
                  </a:lnTo>
                  <a:lnTo>
                    <a:pt x="78" y="734"/>
                  </a:lnTo>
                  <a:lnTo>
                    <a:pt x="66" y="698"/>
                  </a:lnTo>
                  <a:lnTo>
                    <a:pt x="64" y="690"/>
                  </a:lnTo>
                  <a:lnTo>
                    <a:pt x="62" y="685"/>
                  </a:lnTo>
                  <a:lnTo>
                    <a:pt x="58" y="679"/>
                  </a:lnTo>
                  <a:lnTo>
                    <a:pt x="54" y="674"/>
                  </a:lnTo>
                  <a:lnTo>
                    <a:pt x="43" y="666"/>
                  </a:lnTo>
                  <a:lnTo>
                    <a:pt x="31" y="658"/>
                  </a:lnTo>
                  <a:lnTo>
                    <a:pt x="24" y="654"/>
                  </a:lnTo>
                  <a:lnTo>
                    <a:pt x="19" y="650"/>
                  </a:lnTo>
                  <a:lnTo>
                    <a:pt x="14" y="645"/>
                  </a:lnTo>
                  <a:lnTo>
                    <a:pt x="10" y="638"/>
                  </a:lnTo>
                  <a:lnTo>
                    <a:pt x="6" y="631"/>
                  </a:lnTo>
                  <a:lnTo>
                    <a:pt x="3" y="623"/>
                  </a:lnTo>
                  <a:lnTo>
                    <a:pt x="0" y="613"/>
                  </a:lnTo>
                  <a:lnTo>
                    <a:pt x="0" y="601"/>
                  </a:lnTo>
                  <a:lnTo>
                    <a:pt x="0" y="589"/>
                  </a:lnTo>
                  <a:lnTo>
                    <a:pt x="3" y="575"/>
                  </a:lnTo>
                  <a:lnTo>
                    <a:pt x="7" y="565"/>
                  </a:lnTo>
                  <a:lnTo>
                    <a:pt x="12" y="554"/>
                  </a:lnTo>
                  <a:lnTo>
                    <a:pt x="19" y="545"/>
                  </a:lnTo>
                  <a:lnTo>
                    <a:pt x="27" y="535"/>
                  </a:lnTo>
                  <a:lnTo>
                    <a:pt x="36" y="527"/>
                  </a:lnTo>
                  <a:lnTo>
                    <a:pt x="46" y="519"/>
                  </a:lnTo>
                  <a:lnTo>
                    <a:pt x="56" y="514"/>
                  </a:lnTo>
                  <a:lnTo>
                    <a:pt x="68" y="509"/>
                  </a:lnTo>
                  <a:lnTo>
                    <a:pt x="80" y="504"/>
                  </a:lnTo>
                  <a:lnTo>
                    <a:pt x="94" y="500"/>
                  </a:lnTo>
                  <a:lnTo>
                    <a:pt x="107" y="497"/>
                  </a:lnTo>
                  <a:lnTo>
                    <a:pt x="122" y="494"/>
                  </a:lnTo>
                  <a:lnTo>
                    <a:pt x="136" y="493"/>
                  </a:lnTo>
                  <a:lnTo>
                    <a:pt x="151" y="493"/>
                  </a:lnTo>
                  <a:lnTo>
                    <a:pt x="158" y="494"/>
                  </a:lnTo>
                  <a:lnTo>
                    <a:pt x="164" y="496"/>
                  </a:lnTo>
                  <a:lnTo>
                    <a:pt x="171" y="498"/>
                  </a:lnTo>
                  <a:lnTo>
                    <a:pt x="178" y="502"/>
                  </a:lnTo>
                  <a:lnTo>
                    <a:pt x="184" y="505"/>
                  </a:lnTo>
                  <a:lnTo>
                    <a:pt x="191" y="509"/>
                  </a:lnTo>
                  <a:lnTo>
                    <a:pt x="198" y="510"/>
                  </a:lnTo>
                  <a:lnTo>
                    <a:pt x="204" y="511"/>
                  </a:lnTo>
                  <a:lnTo>
                    <a:pt x="214" y="510"/>
                  </a:lnTo>
                  <a:lnTo>
                    <a:pt x="223" y="509"/>
                  </a:lnTo>
                  <a:lnTo>
                    <a:pt x="230" y="506"/>
                  </a:lnTo>
                  <a:lnTo>
                    <a:pt x="235" y="502"/>
                  </a:lnTo>
                  <a:lnTo>
                    <a:pt x="240" y="497"/>
                  </a:lnTo>
                  <a:lnTo>
                    <a:pt x="244" y="492"/>
                  </a:lnTo>
                  <a:lnTo>
                    <a:pt x="248" y="485"/>
                  </a:lnTo>
                  <a:lnTo>
                    <a:pt x="251" y="477"/>
                  </a:lnTo>
                  <a:lnTo>
                    <a:pt x="260" y="442"/>
                  </a:lnTo>
                  <a:lnTo>
                    <a:pt x="271" y="402"/>
                  </a:lnTo>
                  <a:lnTo>
                    <a:pt x="279" y="394"/>
                  </a:lnTo>
                  <a:lnTo>
                    <a:pt x="299" y="374"/>
                  </a:lnTo>
                  <a:lnTo>
                    <a:pt x="319" y="354"/>
                  </a:lnTo>
                  <a:lnTo>
                    <a:pt x="331" y="342"/>
                  </a:lnTo>
                  <a:lnTo>
                    <a:pt x="344" y="333"/>
                  </a:lnTo>
                  <a:lnTo>
                    <a:pt x="365" y="316"/>
                  </a:lnTo>
                  <a:lnTo>
                    <a:pt x="375" y="308"/>
                  </a:lnTo>
                  <a:lnTo>
                    <a:pt x="380" y="301"/>
                  </a:lnTo>
                  <a:lnTo>
                    <a:pt x="381" y="298"/>
                  </a:lnTo>
                  <a:lnTo>
                    <a:pt x="380" y="296"/>
                  </a:lnTo>
                  <a:lnTo>
                    <a:pt x="377" y="294"/>
                  </a:lnTo>
                  <a:lnTo>
                    <a:pt x="373" y="294"/>
                  </a:lnTo>
                  <a:lnTo>
                    <a:pt x="347" y="289"/>
                  </a:lnTo>
                  <a:lnTo>
                    <a:pt x="324" y="282"/>
                  </a:lnTo>
                  <a:lnTo>
                    <a:pt x="315" y="278"/>
                  </a:lnTo>
                  <a:lnTo>
                    <a:pt x="307" y="274"/>
                  </a:lnTo>
                  <a:lnTo>
                    <a:pt x="299" y="269"/>
                  </a:lnTo>
                  <a:lnTo>
                    <a:pt x="291" y="262"/>
                  </a:lnTo>
                  <a:lnTo>
                    <a:pt x="284" y="256"/>
                  </a:lnTo>
                  <a:lnTo>
                    <a:pt x="277" y="249"/>
                  </a:lnTo>
                  <a:lnTo>
                    <a:pt x="272" y="241"/>
                  </a:lnTo>
                  <a:lnTo>
                    <a:pt x="265" y="232"/>
                  </a:lnTo>
                  <a:lnTo>
                    <a:pt x="253" y="210"/>
                  </a:lnTo>
                  <a:lnTo>
                    <a:pt x="240" y="186"/>
                  </a:lnTo>
                  <a:lnTo>
                    <a:pt x="236" y="173"/>
                  </a:lnTo>
                  <a:lnTo>
                    <a:pt x="234" y="162"/>
                  </a:lnTo>
                  <a:lnTo>
                    <a:pt x="232" y="156"/>
                  </a:lnTo>
                  <a:lnTo>
                    <a:pt x="234" y="149"/>
                  </a:lnTo>
                  <a:lnTo>
                    <a:pt x="236" y="142"/>
                  </a:lnTo>
                  <a:lnTo>
                    <a:pt x="239" y="134"/>
                  </a:lnTo>
                  <a:lnTo>
                    <a:pt x="240" y="124"/>
                  </a:lnTo>
                  <a:lnTo>
                    <a:pt x="240" y="108"/>
                  </a:lnTo>
                  <a:lnTo>
                    <a:pt x="241" y="102"/>
                  </a:lnTo>
                  <a:lnTo>
                    <a:pt x="244" y="97"/>
                  </a:lnTo>
                  <a:lnTo>
                    <a:pt x="247" y="94"/>
                  </a:lnTo>
                  <a:lnTo>
                    <a:pt x="252" y="92"/>
                  </a:lnTo>
                  <a:lnTo>
                    <a:pt x="264" y="88"/>
                  </a:lnTo>
                  <a:lnTo>
                    <a:pt x="277" y="84"/>
                  </a:lnTo>
                  <a:lnTo>
                    <a:pt x="247" y="29"/>
                  </a:lnTo>
                  <a:lnTo>
                    <a:pt x="273" y="29"/>
                  </a:lnTo>
                  <a:lnTo>
                    <a:pt x="297" y="29"/>
                  </a:lnTo>
                  <a:lnTo>
                    <a:pt x="320" y="28"/>
                  </a:lnTo>
                  <a:lnTo>
                    <a:pt x="343" y="25"/>
                  </a:lnTo>
                  <a:lnTo>
                    <a:pt x="363" y="22"/>
                  </a:lnTo>
                  <a:lnTo>
                    <a:pt x="381" y="17"/>
                  </a:lnTo>
                  <a:lnTo>
                    <a:pt x="391" y="13"/>
                  </a:lnTo>
                  <a:lnTo>
                    <a:pt x="399" y="9"/>
                  </a:lnTo>
                  <a:lnTo>
                    <a:pt x="407" y="5"/>
                  </a:lnTo>
                  <a:lnTo>
                    <a:pt x="415" y="0"/>
                  </a:lnTo>
                  <a:lnTo>
                    <a:pt x="416" y="6"/>
                  </a:lnTo>
                  <a:lnTo>
                    <a:pt x="419" y="14"/>
                  </a:lnTo>
                  <a:lnTo>
                    <a:pt x="421" y="21"/>
                  </a:lnTo>
                  <a:lnTo>
                    <a:pt x="427" y="26"/>
                  </a:lnTo>
                  <a:lnTo>
                    <a:pt x="439" y="38"/>
                  </a:lnTo>
                  <a:lnTo>
                    <a:pt x="453" y="50"/>
                  </a:lnTo>
                  <a:lnTo>
                    <a:pt x="469" y="61"/>
                  </a:lnTo>
                  <a:lnTo>
                    <a:pt x="487" y="72"/>
                  </a:lnTo>
                  <a:lnTo>
                    <a:pt x="503" y="82"/>
                  </a:lnTo>
                  <a:lnTo>
                    <a:pt x="517" y="96"/>
                  </a:lnTo>
                  <a:lnTo>
                    <a:pt x="524" y="104"/>
                  </a:lnTo>
                  <a:lnTo>
                    <a:pt x="528" y="113"/>
                  </a:lnTo>
                  <a:lnTo>
                    <a:pt x="531" y="124"/>
                  </a:lnTo>
                  <a:lnTo>
                    <a:pt x="532" y="134"/>
                  </a:lnTo>
                  <a:lnTo>
                    <a:pt x="533" y="145"/>
                  </a:lnTo>
                  <a:lnTo>
                    <a:pt x="536" y="154"/>
                  </a:lnTo>
                  <a:lnTo>
                    <a:pt x="539" y="162"/>
                  </a:lnTo>
                  <a:lnTo>
                    <a:pt x="541" y="168"/>
                  </a:lnTo>
                  <a:lnTo>
                    <a:pt x="541" y="180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accent1">
                  <a:lumMod val="20000"/>
                  <a:lumOff val="8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95" b="0" i="0" u="none" strike="noStrike" kern="1200" cap="none" spc="0" normalizeH="0" baseline="0" noProof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6" name="Freeform 114"/>
            <p:cNvSpPr>
              <a:spLocks/>
            </p:cNvSpPr>
            <p:nvPr/>
          </p:nvSpPr>
          <p:spPr bwMode="auto">
            <a:xfrm>
              <a:off x="4732752" y="2536519"/>
              <a:ext cx="25940" cy="23817"/>
            </a:xfrm>
            <a:custGeom>
              <a:avLst/>
              <a:gdLst>
                <a:gd name="T0" fmla="*/ 276 w 362"/>
                <a:gd name="T1" fmla="*/ 25 h 330"/>
                <a:gd name="T2" fmla="*/ 262 w 362"/>
                <a:gd name="T3" fmla="*/ 46 h 330"/>
                <a:gd name="T4" fmla="*/ 243 w 362"/>
                <a:gd name="T5" fmla="*/ 60 h 330"/>
                <a:gd name="T6" fmla="*/ 219 w 362"/>
                <a:gd name="T7" fmla="*/ 65 h 330"/>
                <a:gd name="T8" fmla="*/ 195 w 362"/>
                <a:gd name="T9" fmla="*/ 65 h 330"/>
                <a:gd name="T10" fmla="*/ 180 w 362"/>
                <a:gd name="T11" fmla="*/ 60 h 330"/>
                <a:gd name="T12" fmla="*/ 167 w 362"/>
                <a:gd name="T13" fmla="*/ 45 h 330"/>
                <a:gd name="T14" fmla="*/ 159 w 362"/>
                <a:gd name="T15" fmla="*/ 26 h 330"/>
                <a:gd name="T16" fmla="*/ 152 w 362"/>
                <a:gd name="T17" fmla="*/ 14 h 330"/>
                <a:gd name="T18" fmla="*/ 142 w 362"/>
                <a:gd name="T19" fmla="*/ 5 h 330"/>
                <a:gd name="T20" fmla="*/ 126 w 362"/>
                <a:gd name="T21" fmla="*/ 0 h 330"/>
                <a:gd name="T22" fmla="*/ 106 w 362"/>
                <a:gd name="T23" fmla="*/ 0 h 330"/>
                <a:gd name="T24" fmla="*/ 88 w 362"/>
                <a:gd name="T25" fmla="*/ 2 h 330"/>
                <a:gd name="T26" fmla="*/ 59 w 362"/>
                <a:gd name="T27" fmla="*/ 13 h 330"/>
                <a:gd name="T28" fmla="*/ 32 w 362"/>
                <a:gd name="T29" fmla="*/ 29 h 330"/>
                <a:gd name="T30" fmla="*/ 18 w 362"/>
                <a:gd name="T31" fmla="*/ 42 h 330"/>
                <a:gd name="T32" fmla="*/ 7 w 362"/>
                <a:gd name="T33" fmla="*/ 58 h 330"/>
                <a:gd name="T34" fmla="*/ 0 w 362"/>
                <a:gd name="T35" fmla="*/ 74 h 330"/>
                <a:gd name="T36" fmla="*/ 2 w 362"/>
                <a:gd name="T37" fmla="*/ 100 h 330"/>
                <a:gd name="T38" fmla="*/ 11 w 362"/>
                <a:gd name="T39" fmla="*/ 136 h 330"/>
                <a:gd name="T40" fmla="*/ 30 w 362"/>
                <a:gd name="T41" fmla="*/ 172 h 330"/>
                <a:gd name="T42" fmla="*/ 54 w 362"/>
                <a:gd name="T43" fmla="*/ 209 h 330"/>
                <a:gd name="T44" fmla="*/ 82 w 362"/>
                <a:gd name="T45" fmla="*/ 245 h 330"/>
                <a:gd name="T46" fmla="*/ 112 w 362"/>
                <a:gd name="T47" fmla="*/ 277 h 330"/>
                <a:gd name="T48" fmla="*/ 142 w 362"/>
                <a:gd name="T49" fmla="*/ 303 h 330"/>
                <a:gd name="T50" fmla="*/ 168 w 362"/>
                <a:gd name="T51" fmla="*/ 323 h 330"/>
                <a:gd name="T52" fmla="*/ 182 w 362"/>
                <a:gd name="T53" fmla="*/ 325 h 330"/>
                <a:gd name="T54" fmla="*/ 190 w 362"/>
                <a:gd name="T55" fmla="*/ 313 h 330"/>
                <a:gd name="T56" fmla="*/ 203 w 362"/>
                <a:gd name="T57" fmla="*/ 302 h 330"/>
                <a:gd name="T58" fmla="*/ 222 w 362"/>
                <a:gd name="T59" fmla="*/ 291 h 330"/>
                <a:gd name="T60" fmla="*/ 254 w 362"/>
                <a:gd name="T61" fmla="*/ 277 h 330"/>
                <a:gd name="T62" fmla="*/ 299 w 362"/>
                <a:gd name="T63" fmla="*/ 266 h 330"/>
                <a:gd name="T64" fmla="*/ 323 w 362"/>
                <a:gd name="T65" fmla="*/ 264 h 330"/>
                <a:gd name="T66" fmla="*/ 332 w 362"/>
                <a:gd name="T67" fmla="*/ 249 h 330"/>
                <a:gd name="T68" fmla="*/ 328 w 362"/>
                <a:gd name="T69" fmla="*/ 224 h 330"/>
                <a:gd name="T70" fmla="*/ 320 w 362"/>
                <a:gd name="T71" fmla="*/ 201 h 330"/>
                <a:gd name="T72" fmla="*/ 314 w 362"/>
                <a:gd name="T73" fmla="*/ 178 h 330"/>
                <a:gd name="T74" fmla="*/ 314 w 362"/>
                <a:gd name="T75" fmla="*/ 161 h 330"/>
                <a:gd name="T76" fmla="*/ 318 w 362"/>
                <a:gd name="T77" fmla="*/ 153 h 330"/>
                <a:gd name="T78" fmla="*/ 328 w 362"/>
                <a:gd name="T79" fmla="*/ 144 h 330"/>
                <a:gd name="T80" fmla="*/ 346 w 362"/>
                <a:gd name="T81" fmla="*/ 137 h 330"/>
                <a:gd name="T82" fmla="*/ 356 w 362"/>
                <a:gd name="T83" fmla="*/ 129 h 330"/>
                <a:gd name="T84" fmla="*/ 360 w 362"/>
                <a:gd name="T85" fmla="*/ 120 h 330"/>
                <a:gd name="T86" fmla="*/ 360 w 362"/>
                <a:gd name="T87" fmla="*/ 104 h 330"/>
                <a:gd name="T88" fmla="*/ 354 w 362"/>
                <a:gd name="T89" fmla="*/ 88 h 330"/>
                <a:gd name="T90" fmla="*/ 336 w 362"/>
                <a:gd name="T91" fmla="*/ 68 h 330"/>
                <a:gd name="T92" fmla="*/ 308 w 362"/>
                <a:gd name="T93" fmla="*/ 45 h 330"/>
                <a:gd name="T94" fmla="*/ 290 w 362"/>
                <a:gd name="T95" fmla="*/ 25 h 330"/>
                <a:gd name="T96" fmla="*/ 284 w 362"/>
                <a:gd name="T97" fmla="*/ 9 h 330"/>
                <a:gd name="T98" fmla="*/ 283 w 362"/>
                <a:gd name="T99" fmla="*/ 12 h 330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362"/>
                <a:gd name="T151" fmla="*/ 0 h 330"/>
                <a:gd name="T152" fmla="*/ 362 w 362"/>
                <a:gd name="T153" fmla="*/ 330 h 330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362" h="330">
                  <a:moveTo>
                    <a:pt x="283" y="12"/>
                  </a:moveTo>
                  <a:lnTo>
                    <a:pt x="276" y="25"/>
                  </a:lnTo>
                  <a:lnTo>
                    <a:pt x="270" y="37"/>
                  </a:lnTo>
                  <a:lnTo>
                    <a:pt x="262" y="46"/>
                  </a:lnTo>
                  <a:lnTo>
                    <a:pt x="252" y="54"/>
                  </a:lnTo>
                  <a:lnTo>
                    <a:pt x="243" y="60"/>
                  </a:lnTo>
                  <a:lnTo>
                    <a:pt x="232" y="62"/>
                  </a:lnTo>
                  <a:lnTo>
                    <a:pt x="219" y="65"/>
                  </a:lnTo>
                  <a:lnTo>
                    <a:pt x="204" y="65"/>
                  </a:lnTo>
                  <a:lnTo>
                    <a:pt x="195" y="65"/>
                  </a:lnTo>
                  <a:lnTo>
                    <a:pt x="186" y="62"/>
                  </a:lnTo>
                  <a:lnTo>
                    <a:pt x="180" y="60"/>
                  </a:lnTo>
                  <a:lnTo>
                    <a:pt x="175" y="56"/>
                  </a:lnTo>
                  <a:lnTo>
                    <a:pt x="167" y="45"/>
                  </a:lnTo>
                  <a:lnTo>
                    <a:pt x="162" y="32"/>
                  </a:lnTo>
                  <a:lnTo>
                    <a:pt x="159" y="26"/>
                  </a:lnTo>
                  <a:lnTo>
                    <a:pt x="156" y="20"/>
                  </a:lnTo>
                  <a:lnTo>
                    <a:pt x="152" y="14"/>
                  </a:lnTo>
                  <a:lnTo>
                    <a:pt x="148" y="9"/>
                  </a:lnTo>
                  <a:lnTo>
                    <a:pt x="142" y="5"/>
                  </a:lnTo>
                  <a:lnTo>
                    <a:pt x="135" y="2"/>
                  </a:lnTo>
                  <a:lnTo>
                    <a:pt x="126" y="0"/>
                  </a:lnTo>
                  <a:lnTo>
                    <a:pt x="115" y="0"/>
                  </a:lnTo>
                  <a:lnTo>
                    <a:pt x="106" y="0"/>
                  </a:lnTo>
                  <a:lnTo>
                    <a:pt x="98" y="1"/>
                  </a:lnTo>
                  <a:lnTo>
                    <a:pt x="88" y="2"/>
                  </a:lnTo>
                  <a:lnTo>
                    <a:pt x="79" y="5"/>
                  </a:lnTo>
                  <a:lnTo>
                    <a:pt x="59" y="13"/>
                  </a:lnTo>
                  <a:lnTo>
                    <a:pt x="42" y="24"/>
                  </a:lnTo>
                  <a:lnTo>
                    <a:pt x="32" y="29"/>
                  </a:lnTo>
                  <a:lnTo>
                    <a:pt x="24" y="36"/>
                  </a:lnTo>
                  <a:lnTo>
                    <a:pt x="18" y="42"/>
                  </a:lnTo>
                  <a:lnTo>
                    <a:pt x="12" y="50"/>
                  </a:lnTo>
                  <a:lnTo>
                    <a:pt x="7" y="58"/>
                  </a:lnTo>
                  <a:lnTo>
                    <a:pt x="3" y="66"/>
                  </a:lnTo>
                  <a:lnTo>
                    <a:pt x="0" y="74"/>
                  </a:lnTo>
                  <a:lnTo>
                    <a:pt x="0" y="84"/>
                  </a:lnTo>
                  <a:lnTo>
                    <a:pt x="2" y="100"/>
                  </a:lnTo>
                  <a:lnTo>
                    <a:pt x="6" y="117"/>
                  </a:lnTo>
                  <a:lnTo>
                    <a:pt x="11" y="136"/>
                  </a:lnTo>
                  <a:lnTo>
                    <a:pt x="19" y="153"/>
                  </a:lnTo>
                  <a:lnTo>
                    <a:pt x="30" y="172"/>
                  </a:lnTo>
                  <a:lnTo>
                    <a:pt x="42" y="190"/>
                  </a:lnTo>
                  <a:lnTo>
                    <a:pt x="54" y="209"/>
                  </a:lnTo>
                  <a:lnTo>
                    <a:pt x="67" y="228"/>
                  </a:lnTo>
                  <a:lnTo>
                    <a:pt x="82" y="245"/>
                  </a:lnTo>
                  <a:lnTo>
                    <a:pt x="96" y="261"/>
                  </a:lnTo>
                  <a:lnTo>
                    <a:pt x="112" y="277"/>
                  </a:lnTo>
                  <a:lnTo>
                    <a:pt x="127" y="291"/>
                  </a:lnTo>
                  <a:lnTo>
                    <a:pt x="142" y="303"/>
                  </a:lnTo>
                  <a:lnTo>
                    <a:pt x="155" y="314"/>
                  </a:lnTo>
                  <a:lnTo>
                    <a:pt x="168" y="323"/>
                  </a:lnTo>
                  <a:lnTo>
                    <a:pt x="180" y="330"/>
                  </a:lnTo>
                  <a:lnTo>
                    <a:pt x="182" y="325"/>
                  </a:lnTo>
                  <a:lnTo>
                    <a:pt x="184" y="318"/>
                  </a:lnTo>
                  <a:lnTo>
                    <a:pt x="190" y="313"/>
                  </a:lnTo>
                  <a:lnTo>
                    <a:pt x="195" y="307"/>
                  </a:lnTo>
                  <a:lnTo>
                    <a:pt x="203" y="302"/>
                  </a:lnTo>
                  <a:lnTo>
                    <a:pt x="212" y="295"/>
                  </a:lnTo>
                  <a:lnTo>
                    <a:pt x="222" y="291"/>
                  </a:lnTo>
                  <a:lnTo>
                    <a:pt x="232" y="286"/>
                  </a:lnTo>
                  <a:lnTo>
                    <a:pt x="254" y="277"/>
                  </a:lnTo>
                  <a:lnTo>
                    <a:pt x="278" y="270"/>
                  </a:lnTo>
                  <a:lnTo>
                    <a:pt x="299" y="266"/>
                  </a:lnTo>
                  <a:lnTo>
                    <a:pt x="319" y="264"/>
                  </a:lnTo>
                  <a:lnTo>
                    <a:pt x="323" y="264"/>
                  </a:lnTo>
                  <a:lnTo>
                    <a:pt x="331" y="264"/>
                  </a:lnTo>
                  <a:lnTo>
                    <a:pt x="332" y="249"/>
                  </a:lnTo>
                  <a:lnTo>
                    <a:pt x="331" y="236"/>
                  </a:lnTo>
                  <a:lnTo>
                    <a:pt x="328" y="224"/>
                  </a:lnTo>
                  <a:lnTo>
                    <a:pt x="324" y="212"/>
                  </a:lnTo>
                  <a:lnTo>
                    <a:pt x="320" y="201"/>
                  </a:lnTo>
                  <a:lnTo>
                    <a:pt x="316" y="190"/>
                  </a:lnTo>
                  <a:lnTo>
                    <a:pt x="314" y="178"/>
                  </a:lnTo>
                  <a:lnTo>
                    <a:pt x="314" y="168"/>
                  </a:lnTo>
                  <a:lnTo>
                    <a:pt x="314" y="161"/>
                  </a:lnTo>
                  <a:lnTo>
                    <a:pt x="315" y="157"/>
                  </a:lnTo>
                  <a:lnTo>
                    <a:pt x="318" y="153"/>
                  </a:lnTo>
                  <a:lnTo>
                    <a:pt x="320" y="149"/>
                  </a:lnTo>
                  <a:lnTo>
                    <a:pt x="328" y="144"/>
                  </a:lnTo>
                  <a:lnTo>
                    <a:pt x="338" y="141"/>
                  </a:lnTo>
                  <a:lnTo>
                    <a:pt x="346" y="137"/>
                  </a:lnTo>
                  <a:lnTo>
                    <a:pt x="354" y="132"/>
                  </a:lnTo>
                  <a:lnTo>
                    <a:pt x="356" y="129"/>
                  </a:lnTo>
                  <a:lnTo>
                    <a:pt x="359" y="125"/>
                  </a:lnTo>
                  <a:lnTo>
                    <a:pt x="360" y="120"/>
                  </a:lnTo>
                  <a:lnTo>
                    <a:pt x="362" y="113"/>
                  </a:lnTo>
                  <a:lnTo>
                    <a:pt x="360" y="104"/>
                  </a:lnTo>
                  <a:lnTo>
                    <a:pt x="358" y="96"/>
                  </a:lnTo>
                  <a:lnTo>
                    <a:pt x="354" y="88"/>
                  </a:lnTo>
                  <a:lnTo>
                    <a:pt x="350" y="81"/>
                  </a:lnTo>
                  <a:lnTo>
                    <a:pt x="336" y="68"/>
                  </a:lnTo>
                  <a:lnTo>
                    <a:pt x="322" y="57"/>
                  </a:lnTo>
                  <a:lnTo>
                    <a:pt x="308" y="45"/>
                  </a:lnTo>
                  <a:lnTo>
                    <a:pt x="295" y="32"/>
                  </a:lnTo>
                  <a:lnTo>
                    <a:pt x="290" y="25"/>
                  </a:lnTo>
                  <a:lnTo>
                    <a:pt x="287" y="17"/>
                  </a:lnTo>
                  <a:lnTo>
                    <a:pt x="284" y="9"/>
                  </a:lnTo>
                  <a:lnTo>
                    <a:pt x="283" y="0"/>
                  </a:lnTo>
                  <a:lnTo>
                    <a:pt x="283" y="12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accent1">
                  <a:lumMod val="20000"/>
                  <a:lumOff val="8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95" b="0" i="0" u="none" strike="noStrike" kern="1200" cap="none" spc="0" normalizeH="0" baseline="0" noProof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7" name="Freeform 115"/>
            <p:cNvSpPr>
              <a:spLocks/>
            </p:cNvSpPr>
            <p:nvPr/>
          </p:nvSpPr>
          <p:spPr bwMode="auto">
            <a:xfrm>
              <a:off x="4745486" y="2555621"/>
              <a:ext cx="28534" cy="18629"/>
            </a:xfrm>
            <a:custGeom>
              <a:avLst/>
              <a:gdLst>
                <a:gd name="T0" fmla="*/ 388 w 397"/>
                <a:gd name="T1" fmla="*/ 151 h 259"/>
                <a:gd name="T2" fmla="*/ 379 w 397"/>
                <a:gd name="T3" fmla="*/ 126 h 259"/>
                <a:gd name="T4" fmla="*/ 353 w 397"/>
                <a:gd name="T5" fmla="*/ 107 h 259"/>
                <a:gd name="T6" fmla="*/ 337 w 397"/>
                <a:gd name="T7" fmla="*/ 93 h 259"/>
                <a:gd name="T8" fmla="*/ 325 w 397"/>
                <a:gd name="T9" fmla="*/ 87 h 259"/>
                <a:gd name="T10" fmla="*/ 313 w 397"/>
                <a:gd name="T11" fmla="*/ 91 h 259"/>
                <a:gd name="T12" fmla="*/ 303 w 397"/>
                <a:gd name="T13" fmla="*/ 93 h 259"/>
                <a:gd name="T14" fmla="*/ 292 w 397"/>
                <a:gd name="T15" fmla="*/ 91 h 259"/>
                <a:gd name="T16" fmla="*/ 276 w 397"/>
                <a:gd name="T17" fmla="*/ 83 h 259"/>
                <a:gd name="T18" fmla="*/ 256 w 397"/>
                <a:gd name="T19" fmla="*/ 67 h 259"/>
                <a:gd name="T20" fmla="*/ 225 w 397"/>
                <a:gd name="T21" fmla="*/ 38 h 259"/>
                <a:gd name="T22" fmla="*/ 189 w 397"/>
                <a:gd name="T23" fmla="*/ 12 h 259"/>
                <a:gd name="T24" fmla="*/ 168 w 397"/>
                <a:gd name="T25" fmla="*/ 4 h 259"/>
                <a:gd name="T26" fmla="*/ 152 w 397"/>
                <a:gd name="T27" fmla="*/ 1 h 259"/>
                <a:gd name="T28" fmla="*/ 124 w 397"/>
                <a:gd name="T29" fmla="*/ 2 h 259"/>
                <a:gd name="T30" fmla="*/ 77 w 397"/>
                <a:gd name="T31" fmla="*/ 13 h 259"/>
                <a:gd name="T32" fmla="*/ 43 w 397"/>
                <a:gd name="T33" fmla="*/ 27 h 259"/>
                <a:gd name="T34" fmla="*/ 24 w 397"/>
                <a:gd name="T35" fmla="*/ 38 h 259"/>
                <a:gd name="T36" fmla="*/ 9 w 397"/>
                <a:gd name="T37" fmla="*/ 49 h 259"/>
                <a:gd name="T38" fmla="*/ 1 w 397"/>
                <a:gd name="T39" fmla="*/ 61 h 259"/>
                <a:gd name="T40" fmla="*/ 1 w 397"/>
                <a:gd name="T41" fmla="*/ 71 h 259"/>
                <a:gd name="T42" fmla="*/ 9 w 397"/>
                <a:gd name="T43" fmla="*/ 81 h 259"/>
                <a:gd name="T44" fmla="*/ 25 w 397"/>
                <a:gd name="T45" fmla="*/ 93 h 259"/>
                <a:gd name="T46" fmla="*/ 37 w 397"/>
                <a:gd name="T47" fmla="*/ 110 h 259"/>
                <a:gd name="T48" fmla="*/ 55 w 397"/>
                <a:gd name="T49" fmla="*/ 155 h 259"/>
                <a:gd name="T50" fmla="*/ 75 w 397"/>
                <a:gd name="T51" fmla="*/ 209 h 259"/>
                <a:gd name="T52" fmla="*/ 91 w 397"/>
                <a:gd name="T53" fmla="*/ 242 h 259"/>
                <a:gd name="T54" fmla="*/ 103 w 397"/>
                <a:gd name="T55" fmla="*/ 255 h 259"/>
                <a:gd name="T56" fmla="*/ 109 w 397"/>
                <a:gd name="T57" fmla="*/ 255 h 259"/>
                <a:gd name="T58" fmla="*/ 116 w 397"/>
                <a:gd name="T59" fmla="*/ 250 h 259"/>
                <a:gd name="T60" fmla="*/ 135 w 397"/>
                <a:gd name="T61" fmla="*/ 242 h 259"/>
                <a:gd name="T62" fmla="*/ 169 w 397"/>
                <a:gd name="T63" fmla="*/ 234 h 259"/>
                <a:gd name="T64" fmla="*/ 203 w 397"/>
                <a:gd name="T65" fmla="*/ 230 h 259"/>
                <a:gd name="T66" fmla="*/ 232 w 397"/>
                <a:gd name="T67" fmla="*/ 238 h 259"/>
                <a:gd name="T68" fmla="*/ 251 w 397"/>
                <a:gd name="T69" fmla="*/ 246 h 259"/>
                <a:gd name="T70" fmla="*/ 260 w 397"/>
                <a:gd name="T71" fmla="*/ 243 h 259"/>
                <a:gd name="T72" fmla="*/ 271 w 397"/>
                <a:gd name="T73" fmla="*/ 234 h 259"/>
                <a:gd name="T74" fmla="*/ 284 w 397"/>
                <a:gd name="T75" fmla="*/ 237 h 259"/>
                <a:gd name="T76" fmla="*/ 293 w 397"/>
                <a:gd name="T77" fmla="*/ 245 h 259"/>
                <a:gd name="T78" fmla="*/ 305 w 397"/>
                <a:gd name="T79" fmla="*/ 246 h 259"/>
                <a:gd name="T80" fmla="*/ 320 w 397"/>
                <a:gd name="T81" fmla="*/ 246 h 259"/>
                <a:gd name="T82" fmla="*/ 332 w 397"/>
                <a:gd name="T83" fmla="*/ 241 h 259"/>
                <a:gd name="T84" fmla="*/ 344 w 397"/>
                <a:gd name="T85" fmla="*/ 226 h 259"/>
                <a:gd name="T86" fmla="*/ 356 w 397"/>
                <a:gd name="T87" fmla="*/ 202 h 259"/>
                <a:gd name="T88" fmla="*/ 365 w 397"/>
                <a:gd name="T89" fmla="*/ 187 h 259"/>
                <a:gd name="T90" fmla="*/ 373 w 397"/>
                <a:gd name="T91" fmla="*/ 182 h 259"/>
                <a:gd name="T92" fmla="*/ 373 w 397"/>
                <a:gd name="T93" fmla="*/ 169 h 259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397"/>
                <a:gd name="T142" fmla="*/ 0 h 259"/>
                <a:gd name="T143" fmla="*/ 397 w 397"/>
                <a:gd name="T144" fmla="*/ 259 h 259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397" h="259">
                  <a:moveTo>
                    <a:pt x="373" y="169"/>
                  </a:moveTo>
                  <a:lnTo>
                    <a:pt x="388" y="151"/>
                  </a:lnTo>
                  <a:lnTo>
                    <a:pt x="397" y="138"/>
                  </a:lnTo>
                  <a:lnTo>
                    <a:pt x="379" y="126"/>
                  </a:lnTo>
                  <a:lnTo>
                    <a:pt x="361" y="114"/>
                  </a:lnTo>
                  <a:lnTo>
                    <a:pt x="353" y="107"/>
                  </a:lnTo>
                  <a:lnTo>
                    <a:pt x="345" y="101"/>
                  </a:lnTo>
                  <a:lnTo>
                    <a:pt x="337" y="93"/>
                  </a:lnTo>
                  <a:lnTo>
                    <a:pt x="331" y="85"/>
                  </a:lnTo>
                  <a:lnTo>
                    <a:pt x="325" y="87"/>
                  </a:lnTo>
                  <a:lnTo>
                    <a:pt x="319" y="90"/>
                  </a:lnTo>
                  <a:lnTo>
                    <a:pt x="313" y="91"/>
                  </a:lnTo>
                  <a:lnTo>
                    <a:pt x="308" y="93"/>
                  </a:lnTo>
                  <a:lnTo>
                    <a:pt x="303" y="93"/>
                  </a:lnTo>
                  <a:lnTo>
                    <a:pt x="297" y="93"/>
                  </a:lnTo>
                  <a:lnTo>
                    <a:pt x="292" y="91"/>
                  </a:lnTo>
                  <a:lnTo>
                    <a:pt x="287" y="89"/>
                  </a:lnTo>
                  <a:lnTo>
                    <a:pt x="276" y="83"/>
                  </a:lnTo>
                  <a:lnTo>
                    <a:pt x="267" y="77"/>
                  </a:lnTo>
                  <a:lnTo>
                    <a:pt x="256" y="67"/>
                  </a:lnTo>
                  <a:lnTo>
                    <a:pt x="247" y="58"/>
                  </a:lnTo>
                  <a:lnTo>
                    <a:pt x="225" y="38"/>
                  </a:lnTo>
                  <a:lnTo>
                    <a:pt x="203" y="19"/>
                  </a:lnTo>
                  <a:lnTo>
                    <a:pt x="189" y="12"/>
                  </a:lnTo>
                  <a:lnTo>
                    <a:pt x="176" y="5"/>
                  </a:lnTo>
                  <a:lnTo>
                    <a:pt x="168" y="4"/>
                  </a:lnTo>
                  <a:lnTo>
                    <a:pt x="160" y="1"/>
                  </a:lnTo>
                  <a:lnTo>
                    <a:pt x="152" y="1"/>
                  </a:lnTo>
                  <a:lnTo>
                    <a:pt x="144" y="0"/>
                  </a:lnTo>
                  <a:lnTo>
                    <a:pt x="124" y="2"/>
                  </a:lnTo>
                  <a:lnTo>
                    <a:pt x="101" y="6"/>
                  </a:lnTo>
                  <a:lnTo>
                    <a:pt x="77" y="13"/>
                  </a:lnTo>
                  <a:lnTo>
                    <a:pt x="53" y="22"/>
                  </a:lnTo>
                  <a:lnTo>
                    <a:pt x="43" y="27"/>
                  </a:lnTo>
                  <a:lnTo>
                    <a:pt x="32" y="31"/>
                  </a:lnTo>
                  <a:lnTo>
                    <a:pt x="24" y="38"/>
                  </a:lnTo>
                  <a:lnTo>
                    <a:pt x="16" y="43"/>
                  </a:lnTo>
                  <a:lnTo>
                    <a:pt x="9" y="49"/>
                  </a:lnTo>
                  <a:lnTo>
                    <a:pt x="4" y="54"/>
                  </a:lnTo>
                  <a:lnTo>
                    <a:pt x="1" y="61"/>
                  </a:lnTo>
                  <a:lnTo>
                    <a:pt x="0" y="66"/>
                  </a:lnTo>
                  <a:lnTo>
                    <a:pt x="1" y="71"/>
                  </a:lnTo>
                  <a:lnTo>
                    <a:pt x="4" y="75"/>
                  </a:lnTo>
                  <a:lnTo>
                    <a:pt x="9" y="81"/>
                  </a:lnTo>
                  <a:lnTo>
                    <a:pt x="15" y="86"/>
                  </a:lnTo>
                  <a:lnTo>
                    <a:pt x="25" y="93"/>
                  </a:lnTo>
                  <a:lnTo>
                    <a:pt x="29" y="97"/>
                  </a:lnTo>
                  <a:lnTo>
                    <a:pt x="37" y="110"/>
                  </a:lnTo>
                  <a:lnTo>
                    <a:pt x="45" y="130"/>
                  </a:lnTo>
                  <a:lnTo>
                    <a:pt x="55" y="155"/>
                  </a:lnTo>
                  <a:lnTo>
                    <a:pt x="64" y="182"/>
                  </a:lnTo>
                  <a:lnTo>
                    <a:pt x="75" y="209"/>
                  </a:lnTo>
                  <a:lnTo>
                    <a:pt x="85" y="231"/>
                  </a:lnTo>
                  <a:lnTo>
                    <a:pt x="91" y="242"/>
                  </a:lnTo>
                  <a:lnTo>
                    <a:pt x="97" y="250"/>
                  </a:lnTo>
                  <a:lnTo>
                    <a:pt x="103" y="255"/>
                  </a:lnTo>
                  <a:lnTo>
                    <a:pt x="108" y="259"/>
                  </a:lnTo>
                  <a:lnTo>
                    <a:pt x="109" y="255"/>
                  </a:lnTo>
                  <a:lnTo>
                    <a:pt x="112" y="253"/>
                  </a:lnTo>
                  <a:lnTo>
                    <a:pt x="116" y="250"/>
                  </a:lnTo>
                  <a:lnTo>
                    <a:pt x="121" y="246"/>
                  </a:lnTo>
                  <a:lnTo>
                    <a:pt x="135" y="242"/>
                  </a:lnTo>
                  <a:lnTo>
                    <a:pt x="151" y="237"/>
                  </a:lnTo>
                  <a:lnTo>
                    <a:pt x="169" y="234"/>
                  </a:lnTo>
                  <a:lnTo>
                    <a:pt x="187" y="231"/>
                  </a:lnTo>
                  <a:lnTo>
                    <a:pt x="203" y="230"/>
                  </a:lnTo>
                  <a:lnTo>
                    <a:pt x="216" y="229"/>
                  </a:lnTo>
                  <a:lnTo>
                    <a:pt x="232" y="238"/>
                  </a:lnTo>
                  <a:lnTo>
                    <a:pt x="247" y="247"/>
                  </a:lnTo>
                  <a:lnTo>
                    <a:pt x="251" y="246"/>
                  </a:lnTo>
                  <a:lnTo>
                    <a:pt x="256" y="245"/>
                  </a:lnTo>
                  <a:lnTo>
                    <a:pt x="260" y="243"/>
                  </a:lnTo>
                  <a:lnTo>
                    <a:pt x="264" y="241"/>
                  </a:lnTo>
                  <a:lnTo>
                    <a:pt x="271" y="234"/>
                  </a:lnTo>
                  <a:lnTo>
                    <a:pt x="277" y="229"/>
                  </a:lnTo>
                  <a:lnTo>
                    <a:pt x="284" y="237"/>
                  </a:lnTo>
                  <a:lnTo>
                    <a:pt x="291" y="242"/>
                  </a:lnTo>
                  <a:lnTo>
                    <a:pt x="293" y="245"/>
                  </a:lnTo>
                  <a:lnTo>
                    <a:pt x="299" y="246"/>
                  </a:lnTo>
                  <a:lnTo>
                    <a:pt x="305" y="246"/>
                  </a:lnTo>
                  <a:lnTo>
                    <a:pt x="313" y="247"/>
                  </a:lnTo>
                  <a:lnTo>
                    <a:pt x="320" y="246"/>
                  </a:lnTo>
                  <a:lnTo>
                    <a:pt x="327" y="245"/>
                  </a:lnTo>
                  <a:lnTo>
                    <a:pt x="332" y="241"/>
                  </a:lnTo>
                  <a:lnTo>
                    <a:pt x="337" y="237"/>
                  </a:lnTo>
                  <a:lnTo>
                    <a:pt x="344" y="226"/>
                  </a:lnTo>
                  <a:lnTo>
                    <a:pt x="351" y="214"/>
                  </a:lnTo>
                  <a:lnTo>
                    <a:pt x="356" y="202"/>
                  </a:lnTo>
                  <a:lnTo>
                    <a:pt x="361" y="191"/>
                  </a:lnTo>
                  <a:lnTo>
                    <a:pt x="365" y="187"/>
                  </a:lnTo>
                  <a:lnTo>
                    <a:pt x="369" y="183"/>
                  </a:lnTo>
                  <a:lnTo>
                    <a:pt x="373" y="182"/>
                  </a:lnTo>
                  <a:lnTo>
                    <a:pt x="379" y="181"/>
                  </a:lnTo>
                  <a:lnTo>
                    <a:pt x="373" y="169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accent1">
                  <a:lumMod val="20000"/>
                  <a:lumOff val="8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95" b="0" i="0" u="none" strike="noStrike" kern="1200" cap="none" spc="0" normalizeH="0" baseline="0" noProof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8" name="Freeform 36"/>
            <p:cNvSpPr>
              <a:spLocks/>
            </p:cNvSpPr>
            <p:nvPr/>
          </p:nvSpPr>
          <p:spPr bwMode="auto">
            <a:xfrm>
              <a:off x="4935316" y="2131626"/>
              <a:ext cx="72159" cy="94326"/>
            </a:xfrm>
            <a:custGeom>
              <a:avLst/>
              <a:gdLst>
                <a:gd name="T0" fmla="*/ 156 w 1004"/>
                <a:gd name="T1" fmla="*/ 704 h 1313"/>
                <a:gd name="T2" fmla="*/ 170 w 1004"/>
                <a:gd name="T3" fmla="*/ 730 h 1313"/>
                <a:gd name="T4" fmla="*/ 225 w 1004"/>
                <a:gd name="T5" fmla="*/ 745 h 1313"/>
                <a:gd name="T6" fmla="*/ 263 w 1004"/>
                <a:gd name="T7" fmla="*/ 708 h 1313"/>
                <a:gd name="T8" fmla="*/ 283 w 1004"/>
                <a:gd name="T9" fmla="*/ 604 h 1313"/>
                <a:gd name="T10" fmla="*/ 295 w 1004"/>
                <a:gd name="T11" fmla="*/ 601 h 1313"/>
                <a:gd name="T12" fmla="*/ 331 w 1004"/>
                <a:gd name="T13" fmla="*/ 770 h 1313"/>
                <a:gd name="T14" fmla="*/ 366 w 1004"/>
                <a:gd name="T15" fmla="*/ 874 h 1313"/>
                <a:gd name="T16" fmla="*/ 423 w 1004"/>
                <a:gd name="T17" fmla="*/ 1050 h 1313"/>
                <a:gd name="T18" fmla="*/ 491 w 1004"/>
                <a:gd name="T19" fmla="*/ 1172 h 1313"/>
                <a:gd name="T20" fmla="*/ 553 w 1004"/>
                <a:gd name="T21" fmla="*/ 1239 h 1313"/>
                <a:gd name="T22" fmla="*/ 626 w 1004"/>
                <a:gd name="T23" fmla="*/ 1286 h 1313"/>
                <a:gd name="T24" fmla="*/ 710 w 1004"/>
                <a:gd name="T25" fmla="*/ 1310 h 1313"/>
                <a:gd name="T26" fmla="*/ 798 w 1004"/>
                <a:gd name="T27" fmla="*/ 1309 h 1313"/>
                <a:gd name="T28" fmla="*/ 874 w 1004"/>
                <a:gd name="T29" fmla="*/ 1285 h 1313"/>
                <a:gd name="T30" fmla="*/ 931 w 1004"/>
                <a:gd name="T31" fmla="*/ 1242 h 1313"/>
                <a:gd name="T32" fmla="*/ 973 w 1004"/>
                <a:gd name="T33" fmla="*/ 1184 h 1313"/>
                <a:gd name="T34" fmla="*/ 996 w 1004"/>
                <a:gd name="T35" fmla="*/ 1112 h 1313"/>
                <a:gd name="T36" fmla="*/ 1004 w 1004"/>
                <a:gd name="T37" fmla="*/ 1029 h 1313"/>
                <a:gd name="T38" fmla="*/ 986 w 1004"/>
                <a:gd name="T39" fmla="*/ 898 h 1313"/>
                <a:gd name="T40" fmla="*/ 934 w 1004"/>
                <a:gd name="T41" fmla="*/ 746 h 1313"/>
                <a:gd name="T42" fmla="*/ 918 w 1004"/>
                <a:gd name="T43" fmla="*/ 571 h 1313"/>
                <a:gd name="T44" fmla="*/ 881 w 1004"/>
                <a:gd name="T45" fmla="*/ 472 h 1313"/>
                <a:gd name="T46" fmla="*/ 846 w 1004"/>
                <a:gd name="T47" fmla="*/ 380 h 1313"/>
                <a:gd name="T48" fmla="*/ 725 w 1004"/>
                <a:gd name="T49" fmla="*/ 325 h 1313"/>
                <a:gd name="T50" fmla="*/ 682 w 1004"/>
                <a:gd name="T51" fmla="*/ 312 h 1313"/>
                <a:gd name="T52" fmla="*/ 739 w 1004"/>
                <a:gd name="T53" fmla="*/ 293 h 1313"/>
                <a:gd name="T54" fmla="*/ 774 w 1004"/>
                <a:gd name="T55" fmla="*/ 269 h 1313"/>
                <a:gd name="T56" fmla="*/ 746 w 1004"/>
                <a:gd name="T57" fmla="*/ 240 h 1313"/>
                <a:gd name="T58" fmla="*/ 746 w 1004"/>
                <a:gd name="T59" fmla="*/ 143 h 1313"/>
                <a:gd name="T60" fmla="*/ 758 w 1004"/>
                <a:gd name="T61" fmla="*/ 137 h 1313"/>
                <a:gd name="T62" fmla="*/ 815 w 1004"/>
                <a:gd name="T63" fmla="*/ 223 h 1313"/>
                <a:gd name="T64" fmla="*/ 837 w 1004"/>
                <a:gd name="T65" fmla="*/ 223 h 1313"/>
                <a:gd name="T66" fmla="*/ 810 w 1004"/>
                <a:gd name="T67" fmla="*/ 147 h 1313"/>
                <a:gd name="T68" fmla="*/ 778 w 1004"/>
                <a:gd name="T69" fmla="*/ 88 h 1313"/>
                <a:gd name="T70" fmla="*/ 723 w 1004"/>
                <a:gd name="T71" fmla="*/ 80 h 1313"/>
                <a:gd name="T72" fmla="*/ 685 w 1004"/>
                <a:gd name="T73" fmla="*/ 81 h 1313"/>
                <a:gd name="T74" fmla="*/ 609 w 1004"/>
                <a:gd name="T75" fmla="*/ 42 h 1313"/>
                <a:gd name="T76" fmla="*/ 541 w 1004"/>
                <a:gd name="T77" fmla="*/ 6 h 1313"/>
                <a:gd name="T78" fmla="*/ 398 w 1004"/>
                <a:gd name="T79" fmla="*/ 6 h 1313"/>
                <a:gd name="T80" fmla="*/ 343 w 1004"/>
                <a:gd name="T81" fmla="*/ 27 h 1313"/>
                <a:gd name="T82" fmla="*/ 305 w 1004"/>
                <a:gd name="T83" fmla="*/ 64 h 1313"/>
                <a:gd name="T84" fmla="*/ 281 w 1004"/>
                <a:gd name="T85" fmla="*/ 116 h 1313"/>
                <a:gd name="T86" fmla="*/ 270 w 1004"/>
                <a:gd name="T87" fmla="*/ 243 h 1313"/>
                <a:gd name="T88" fmla="*/ 262 w 1004"/>
                <a:gd name="T89" fmla="*/ 299 h 1313"/>
                <a:gd name="T90" fmla="*/ 235 w 1004"/>
                <a:gd name="T91" fmla="*/ 329 h 1313"/>
                <a:gd name="T92" fmla="*/ 125 w 1004"/>
                <a:gd name="T93" fmla="*/ 353 h 1313"/>
                <a:gd name="T94" fmla="*/ 45 w 1004"/>
                <a:gd name="T95" fmla="*/ 383 h 1313"/>
                <a:gd name="T96" fmla="*/ 0 w 1004"/>
                <a:gd name="T97" fmla="*/ 469 h 1313"/>
                <a:gd name="T98" fmla="*/ 92 w 1004"/>
                <a:gd name="T99" fmla="*/ 540 h 1313"/>
                <a:gd name="T100" fmla="*/ 149 w 1004"/>
                <a:gd name="T101" fmla="*/ 615 h 1313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004"/>
                <a:gd name="T154" fmla="*/ 0 h 1313"/>
                <a:gd name="T155" fmla="*/ 1004 w 1004"/>
                <a:gd name="T156" fmla="*/ 1313 h 1313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004" h="1313">
                  <a:moveTo>
                    <a:pt x="156" y="644"/>
                  </a:moveTo>
                  <a:lnTo>
                    <a:pt x="156" y="664"/>
                  </a:lnTo>
                  <a:lnTo>
                    <a:pt x="156" y="678"/>
                  </a:lnTo>
                  <a:lnTo>
                    <a:pt x="156" y="692"/>
                  </a:lnTo>
                  <a:lnTo>
                    <a:pt x="156" y="704"/>
                  </a:lnTo>
                  <a:lnTo>
                    <a:pt x="157" y="710"/>
                  </a:lnTo>
                  <a:lnTo>
                    <a:pt x="158" y="716"/>
                  </a:lnTo>
                  <a:lnTo>
                    <a:pt x="161" y="721"/>
                  </a:lnTo>
                  <a:lnTo>
                    <a:pt x="165" y="726"/>
                  </a:lnTo>
                  <a:lnTo>
                    <a:pt x="170" y="730"/>
                  </a:lnTo>
                  <a:lnTo>
                    <a:pt x="176" y="733"/>
                  </a:lnTo>
                  <a:lnTo>
                    <a:pt x="182" y="736"/>
                  </a:lnTo>
                  <a:lnTo>
                    <a:pt x="189" y="738"/>
                  </a:lnTo>
                  <a:lnTo>
                    <a:pt x="206" y="742"/>
                  </a:lnTo>
                  <a:lnTo>
                    <a:pt x="225" y="745"/>
                  </a:lnTo>
                  <a:lnTo>
                    <a:pt x="243" y="746"/>
                  </a:lnTo>
                  <a:lnTo>
                    <a:pt x="263" y="746"/>
                  </a:lnTo>
                  <a:lnTo>
                    <a:pt x="263" y="733"/>
                  </a:lnTo>
                  <a:lnTo>
                    <a:pt x="263" y="720"/>
                  </a:lnTo>
                  <a:lnTo>
                    <a:pt x="263" y="708"/>
                  </a:lnTo>
                  <a:lnTo>
                    <a:pt x="263" y="698"/>
                  </a:lnTo>
                  <a:lnTo>
                    <a:pt x="271" y="653"/>
                  </a:lnTo>
                  <a:lnTo>
                    <a:pt x="278" y="623"/>
                  </a:lnTo>
                  <a:lnTo>
                    <a:pt x="281" y="612"/>
                  </a:lnTo>
                  <a:lnTo>
                    <a:pt x="283" y="604"/>
                  </a:lnTo>
                  <a:lnTo>
                    <a:pt x="286" y="599"/>
                  </a:lnTo>
                  <a:lnTo>
                    <a:pt x="289" y="596"/>
                  </a:lnTo>
                  <a:lnTo>
                    <a:pt x="291" y="595"/>
                  </a:lnTo>
                  <a:lnTo>
                    <a:pt x="293" y="597"/>
                  </a:lnTo>
                  <a:lnTo>
                    <a:pt x="295" y="601"/>
                  </a:lnTo>
                  <a:lnTo>
                    <a:pt x="298" y="607"/>
                  </a:lnTo>
                  <a:lnTo>
                    <a:pt x="302" y="624"/>
                  </a:lnTo>
                  <a:lnTo>
                    <a:pt x="307" y="646"/>
                  </a:lnTo>
                  <a:lnTo>
                    <a:pt x="317" y="705"/>
                  </a:lnTo>
                  <a:lnTo>
                    <a:pt x="331" y="770"/>
                  </a:lnTo>
                  <a:lnTo>
                    <a:pt x="339" y="804"/>
                  </a:lnTo>
                  <a:lnTo>
                    <a:pt x="349" y="834"/>
                  </a:lnTo>
                  <a:lnTo>
                    <a:pt x="354" y="849"/>
                  </a:lnTo>
                  <a:lnTo>
                    <a:pt x="359" y="862"/>
                  </a:lnTo>
                  <a:lnTo>
                    <a:pt x="366" y="874"/>
                  </a:lnTo>
                  <a:lnTo>
                    <a:pt x="373" y="885"/>
                  </a:lnTo>
                  <a:lnTo>
                    <a:pt x="382" y="928"/>
                  </a:lnTo>
                  <a:lnTo>
                    <a:pt x="394" y="970"/>
                  </a:lnTo>
                  <a:lnTo>
                    <a:pt x="407" y="1012"/>
                  </a:lnTo>
                  <a:lnTo>
                    <a:pt x="423" y="1050"/>
                  </a:lnTo>
                  <a:lnTo>
                    <a:pt x="441" y="1088"/>
                  </a:lnTo>
                  <a:lnTo>
                    <a:pt x="459" y="1124"/>
                  </a:lnTo>
                  <a:lnTo>
                    <a:pt x="470" y="1140"/>
                  </a:lnTo>
                  <a:lnTo>
                    <a:pt x="481" y="1157"/>
                  </a:lnTo>
                  <a:lnTo>
                    <a:pt x="491" y="1172"/>
                  </a:lnTo>
                  <a:lnTo>
                    <a:pt x="502" y="1186"/>
                  </a:lnTo>
                  <a:lnTo>
                    <a:pt x="514" y="1201"/>
                  </a:lnTo>
                  <a:lnTo>
                    <a:pt x="527" y="1214"/>
                  </a:lnTo>
                  <a:lnTo>
                    <a:pt x="539" y="1228"/>
                  </a:lnTo>
                  <a:lnTo>
                    <a:pt x="553" y="1239"/>
                  </a:lnTo>
                  <a:lnTo>
                    <a:pt x="566" y="1250"/>
                  </a:lnTo>
                  <a:lnTo>
                    <a:pt x="581" y="1261"/>
                  </a:lnTo>
                  <a:lnTo>
                    <a:pt x="595" y="1270"/>
                  </a:lnTo>
                  <a:lnTo>
                    <a:pt x="610" y="1278"/>
                  </a:lnTo>
                  <a:lnTo>
                    <a:pt x="626" y="1286"/>
                  </a:lnTo>
                  <a:lnTo>
                    <a:pt x="642" y="1293"/>
                  </a:lnTo>
                  <a:lnTo>
                    <a:pt x="658" y="1298"/>
                  </a:lnTo>
                  <a:lnTo>
                    <a:pt x="674" y="1303"/>
                  </a:lnTo>
                  <a:lnTo>
                    <a:pt x="691" y="1307"/>
                  </a:lnTo>
                  <a:lnTo>
                    <a:pt x="710" y="1310"/>
                  </a:lnTo>
                  <a:lnTo>
                    <a:pt x="727" y="1311"/>
                  </a:lnTo>
                  <a:lnTo>
                    <a:pt x="746" y="1313"/>
                  </a:lnTo>
                  <a:lnTo>
                    <a:pt x="765" y="1311"/>
                  </a:lnTo>
                  <a:lnTo>
                    <a:pt x="782" y="1310"/>
                  </a:lnTo>
                  <a:lnTo>
                    <a:pt x="798" y="1309"/>
                  </a:lnTo>
                  <a:lnTo>
                    <a:pt x="815" y="1305"/>
                  </a:lnTo>
                  <a:lnTo>
                    <a:pt x="830" y="1301"/>
                  </a:lnTo>
                  <a:lnTo>
                    <a:pt x="846" y="1297"/>
                  </a:lnTo>
                  <a:lnTo>
                    <a:pt x="859" y="1291"/>
                  </a:lnTo>
                  <a:lnTo>
                    <a:pt x="874" y="1285"/>
                  </a:lnTo>
                  <a:lnTo>
                    <a:pt x="886" y="1278"/>
                  </a:lnTo>
                  <a:lnTo>
                    <a:pt x="898" y="1270"/>
                  </a:lnTo>
                  <a:lnTo>
                    <a:pt x="910" y="1261"/>
                  </a:lnTo>
                  <a:lnTo>
                    <a:pt x="921" y="1253"/>
                  </a:lnTo>
                  <a:lnTo>
                    <a:pt x="931" y="1242"/>
                  </a:lnTo>
                  <a:lnTo>
                    <a:pt x="941" y="1231"/>
                  </a:lnTo>
                  <a:lnTo>
                    <a:pt x="950" y="1221"/>
                  </a:lnTo>
                  <a:lnTo>
                    <a:pt x="958" y="1209"/>
                  </a:lnTo>
                  <a:lnTo>
                    <a:pt x="966" y="1197"/>
                  </a:lnTo>
                  <a:lnTo>
                    <a:pt x="973" y="1184"/>
                  </a:lnTo>
                  <a:lnTo>
                    <a:pt x="979" y="1170"/>
                  </a:lnTo>
                  <a:lnTo>
                    <a:pt x="985" y="1157"/>
                  </a:lnTo>
                  <a:lnTo>
                    <a:pt x="988" y="1142"/>
                  </a:lnTo>
                  <a:lnTo>
                    <a:pt x="994" y="1128"/>
                  </a:lnTo>
                  <a:lnTo>
                    <a:pt x="996" y="1112"/>
                  </a:lnTo>
                  <a:lnTo>
                    <a:pt x="999" y="1097"/>
                  </a:lnTo>
                  <a:lnTo>
                    <a:pt x="1002" y="1080"/>
                  </a:lnTo>
                  <a:lnTo>
                    <a:pt x="1003" y="1064"/>
                  </a:lnTo>
                  <a:lnTo>
                    <a:pt x="1004" y="1046"/>
                  </a:lnTo>
                  <a:lnTo>
                    <a:pt x="1004" y="1029"/>
                  </a:lnTo>
                  <a:lnTo>
                    <a:pt x="1003" y="994"/>
                  </a:lnTo>
                  <a:lnTo>
                    <a:pt x="999" y="957"/>
                  </a:lnTo>
                  <a:lnTo>
                    <a:pt x="995" y="937"/>
                  </a:lnTo>
                  <a:lnTo>
                    <a:pt x="991" y="918"/>
                  </a:lnTo>
                  <a:lnTo>
                    <a:pt x="986" y="898"/>
                  </a:lnTo>
                  <a:lnTo>
                    <a:pt x="979" y="880"/>
                  </a:lnTo>
                  <a:lnTo>
                    <a:pt x="963" y="841"/>
                  </a:lnTo>
                  <a:lnTo>
                    <a:pt x="949" y="797"/>
                  </a:lnTo>
                  <a:lnTo>
                    <a:pt x="941" y="772"/>
                  </a:lnTo>
                  <a:lnTo>
                    <a:pt x="934" y="746"/>
                  </a:lnTo>
                  <a:lnTo>
                    <a:pt x="929" y="717"/>
                  </a:lnTo>
                  <a:lnTo>
                    <a:pt x="923" y="685"/>
                  </a:lnTo>
                  <a:lnTo>
                    <a:pt x="919" y="650"/>
                  </a:lnTo>
                  <a:lnTo>
                    <a:pt x="918" y="612"/>
                  </a:lnTo>
                  <a:lnTo>
                    <a:pt x="918" y="571"/>
                  </a:lnTo>
                  <a:lnTo>
                    <a:pt x="921" y="524"/>
                  </a:lnTo>
                  <a:lnTo>
                    <a:pt x="907" y="509"/>
                  </a:lnTo>
                  <a:lnTo>
                    <a:pt x="897" y="495"/>
                  </a:lnTo>
                  <a:lnTo>
                    <a:pt x="887" y="483"/>
                  </a:lnTo>
                  <a:lnTo>
                    <a:pt x="881" y="472"/>
                  </a:lnTo>
                  <a:lnTo>
                    <a:pt x="871" y="452"/>
                  </a:lnTo>
                  <a:lnTo>
                    <a:pt x="865" y="432"/>
                  </a:lnTo>
                  <a:lnTo>
                    <a:pt x="859" y="413"/>
                  </a:lnTo>
                  <a:lnTo>
                    <a:pt x="851" y="392"/>
                  </a:lnTo>
                  <a:lnTo>
                    <a:pt x="846" y="380"/>
                  </a:lnTo>
                  <a:lnTo>
                    <a:pt x="838" y="368"/>
                  </a:lnTo>
                  <a:lnTo>
                    <a:pt x="829" y="353"/>
                  </a:lnTo>
                  <a:lnTo>
                    <a:pt x="818" y="337"/>
                  </a:lnTo>
                  <a:lnTo>
                    <a:pt x="765" y="331"/>
                  </a:lnTo>
                  <a:lnTo>
                    <a:pt x="725" y="325"/>
                  </a:lnTo>
                  <a:lnTo>
                    <a:pt x="699" y="321"/>
                  </a:lnTo>
                  <a:lnTo>
                    <a:pt x="686" y="317"/>
                  </a:lnTo>
                  <a:lnTo>
                    <a:pt x="682" y="315"/>
                  </a:lnTo>
                  <a:lnTo>
                    <a:pt x="681" y="313"/>
                  </a:lnTo>
                  <a:lnTo>
                    <a:pt x="682" y="312"/>
                  </a:lnTo>
                  <a:lnTo>
                    <a:pt x="685" y="309"/>
                  </a:lnTo>
                  <a:lnTo>
                    <a:pt x="694" y="307"/>
                  </a:lnTo>
                  <a:lnTo>
                    <a:pt x="707" y="303"/>
                  </a:lnTo>
                  <a:lnTo>
                    <a:pt x="723" y="299"/>
                  </a:lnTo>
                  <a:lnTo>
                    <a:pt x="739" y="293"/>
                  </a:lnTo>
                  <a:lnTo>
                    <a:pt x="754" y="288"/>
                  </a:lnTo>
                  <a:lnTo>
                    <a:pt x="766" y="281"/>
                  </a:lnTo>
                  <a:lnTo>
                    <a:pt x="770" y="277"/>
                  </a:lnTo>
                  <a:lnTo>
                    <a:pt x="773" y="273"/>
                  </a:lnTo>
                  <a:lnTo>
                    <a:pt x="774" y="269"/>
                  </a:lnTo>
                  <a:lnTo>
                    <a:pt x="774" y="264"/>
                  </a:lnTo>
                  <a:lnTo>
                    <a:pt x="770" y="259"/>
                  </a:lnTo>
                  <a:lnTo>
                    <a:pt x="765" y="253"/>
                  </a:lnTo>
                  <a:lnTo>
                    <a:pt x="757" y="247"/>
                  </a:lnTo>
                  <a:lnTo>
                    <a:pt x="746" y="240"/>
                  </a:lnTo>
                  <a:lnTo>
                    <a:pt x="743" y="199"/>
                  </a:lnTo>
                  <a:lnTo>
                    <a:pt x="743" y="169"/>
                  </a:lnTo>
                  <a:lnTo>
                    <a:pt x="743" y="159"/>
                  </a:lnTo>
                  <a:lnTo>
                    <a:pt x="745" y="149"/>
                  </a:lnTo>
                  <a:lnTo>
                    <a:pt x="746" y="143"/>
                  </a:lnTo>
                  <a:lnTo>
                    <a:pt x="749" y="139"/>
                  </a:lnTo>
                  <a:lnTo>
                    <a:pt x="750" y="136"/>
                  </a:lnTo>
                  <a:lnTo>
                    <a:pt x="753" y="135"/>
                  </a:lnTo>
                  <a:lnTo>
                    <a:pt x="755" y="136"/>
                  </a:lnTo>
                  <a:lnTo>
                    <a:pt x="758" y="137"/>
                  </a:lnTo>
                  <a:lnTo>
                    <a:pt x="765" y="145"/>
                  </a:lnTo>
                  <a:lnTo>
                    <a:pt x="773" y="157"/>
                  </a:lnTo>
                  <a:lnTo>
                    <a:pt x="790" y="185"/>
                  </a:lnTo>
                  <a:lnTo>
                    <a:pt x="807" y="212"/>
                  </a:lnTo>
                  <a:lnTo>
                    <a:pt x="815" y="223"/>
                  </a:lnTo>
                  <a:lnTo>
                    <a:pt x="823" y="228"/>
                  </a:lnTo>
                  <a:lnTo>
                    <a:pt x="826" y="229"/>
                  </a:lnTo>
                  <a:lnTo>
                    <a:pt x="830" y="229"/>
                  </a:lnTo>
                  <a:lnTo>
                    <a:pt x="833" y="227"/>
                  </a:lnTo>
                  <a:lnTo>
                    <a:pt x="837" y="223"/>
                  </a:lnTo>
                  <a:lnTo>
                    <a:pt x="830" y="209"/>
                  </a:lnTo>
                  <a:lnTo>
                    <a:pt x="825" y="197"/>
                  </a:lnTo>
                  <a:lnTo>
                    <a:pt x="821" y="184"/>
                  </a:lnTo>
                  <a:lnTo>
                    <a:pt x="817" y="171"/>
                  </a:lnTo>
                  <a:lnTo>
                    <a:pt x="810" y="147"/>
                  </a:lnTo>
                  <a:lnTo>
                    <a:pt x="802" y="123"/>
                  </a:lnTo>
                  <a:lnTo>
                    <a:pt x="798" y="113"/>
                  </a:lnTo>
                  <a:lnTo>
                    <a:pt x="793" y="104"/>
                  </a:lnTo>
                  <a:lnTo>
                    <a:pt x="786" y="96"/>
                  </a:lnTo>
                  <a:lnTo>
                    <a:pt x="778" y="88"/>
                  </a:lnTo>
                  <a:lnTo>
                    <a:pt x="769" y="83"/>
                  </a:lnTo>
                  <a:lnTo>
                    <a:pt x="757" y="80"/>
                  </a:lnTo>
                  <a:lnTo>
                    <a:pt x="743" y="77"/>
                  </a:lnTo>
                  <a:lnTo>
                    <a:pt x="727" y="77"/>
                  </a:lnTo>
                  <a:lnTo>
                    <a:pt x="723" y="80"/>
                  </a:lnTo>
                  <a:lnTo>
                    <a:pt x="718" y="83"/>
                  </a:lnTo>
                  <a:lnTo>
                    <a:pt x="713" y="84"/>
                  </a:lnTo>
                  <a:lnTo>
                    <a:pt x="707" y="84"/>
                  </a:lnTo>
                  <a:lnTo>
                    <a:pt x="697" y="84"/>
                  </a:lnTo>
                  <a:lnTo>
                    <a:pt x="685" y="81"/>
                  </a:lnTo>
                  <a:lnTo>
                    <a:pt x="673" y="77"/>
                  </a:lnTo>
                  <a:lnTo>
                    <a:pt x="661" y="72"/>
                  </a:lnTo>
                  <a:lnTo>
                    <a:pt x="647" y="65"/>
                  </a:lnTo>
                  <a:lnTo>
                    <a:pt x="634" y="58"/>
                  </a:lnTo>
                  <a:lnTo>
                    <a:pt x="609" y="42"/>
                  </a:lnTo>
                  <a:lnTo>
                    <a:pt x="583" y="27"/>
                  </a:lnTo>
                  <a:lnTo>
                    <a:pt x="571" y="20"/>
                  </a:lnTo>
                  <a:lnTo>
                    <a:pt x="561" y="14"/>
                  </a:lnTo>
                  <a:lnTo>
                    <a:pt x="550" y="10"/>
                  </a:lnTo>
                  <a:lnTo>
                    <a:pt x="541" y="6"/>
                  </a:lnTo>
                  <a:lnTo>
                    <a:pt x="505" y="2"/>
                  </a:lnTo>
                  <a:lnTo>
                    <a:pt x="470" y="0"/>
                  </a:lnTo>
                  <a:lnTo>
                    <a:pt x="439" y="0"/>
                  </a:lnTo>
                  <a:lnTo>
                    <a:pt x="411" y="3"/>
                  </a:lnTo>
                  <a:lnTo>
                    <a:pt x="398" y="6"/>
                  </a:lnTo>
                  <a:lnTo>
                    <a:pt x="386" y="10"/>
                  </a:lnTo>
                  <a:lnTo>
                    <a:pt x="374" y="12"/>
                  </a:lnTo>
                  <a:lnTo>
                    <a:pt x="363" y="18"/>
                  </a:lnTo>
                  <a:lnTo>
                    <a:pt x="353" y="22"/>
                  </a:lnTo>
                  <a:lnTo>
                    <a:pt x="343" y="27"/>
                  </a:lnTo>
                  <a:lnTo>
                    <a:pt x="335" y="34"/>
                  </a:lnTo>
                  <a:lnTo>
                    <a:pt x="326" y="40"/>
                  </a:lnTo>
                  <a:lnTo>
                    <a:pt x="318" y="48"/>
                  </a:lnTo>
                  <a:lnTo>
                    <a:pt x="311" y="56"/>
                  </a:lnTo>
                  <a:lnTo>
                    <a:pt x="305" y="64"/>
                  </a:lnTo>
                  <a:lnTo>
                    <a:pt x="299" y="73"/>
                  </a:lnTo>
                  <a:lnTo>
                    <a:pt x="294" y="83"/>
                  </a:lnTo>
                  <a:lnTo>
                    <a:pt x="289" y="93"/>
                  </a:lnTo>
                  <a:lnTo>
                    <a:pt x="285" y="104"/>
                  </a:lnTo>
                  <a:lnTo>
                    <a:pt x="281" y="116"/>
                  </a:lnTo>
                  <a:lnTo>
                    <a:pt x="275" y="140"/>
                  </a:lnTo>
                  <a:lnTo>
                    <a:pt x="271" y="168"/>
                  </a:lnTo>
                  <a:lnTo>
                    <a:pt x="270" y="197"/>
                  </a:lnTo>
                  <a:lnTo>
                    <a:pt x="270" y="228"/>
                  </a:lnTo>
                  <a:lnTo>
                    <a:pt x="270" y="243"/>
                  </a:lnTo>
                  <a:lnTo>
                    <a:pt x="270" y="256"/>
                  </a:lnTo>
                  <a:lnTo>
                    <a:pt x="269" y="268"/>
                  </a:lnTo>
                  <a:lnTo>
                    <a:pt x="267" y="280"/>
                  </a:lnTo>
                  <a:lnTo>
                    <a:pt x="265" y="289"/>
                  </a:lnTo>
                  <a:lnTo>
                    <a:pt x="262" y="299"/>
                  </a:lnTo>
                  <a:lnTo>
                    <a:pt x="258" y="305"/>
                  </a:lnTo>
                  <a:lnTo>
                    <a:pt x="253" y="313"/>
                  </a:lnTo>
                  <a:lnTo>
                    <a:pt x="247" y="319"/>
                  </a:lnTo>
                  <a:lnTo>
                    <a:pt x="242" y="324"/>
                  </a:lnTo>
                  <a:lnTo>
                    <a:pt x="235" y="329"/>
                  </a:lnTo>
                  <a:lnTo>
                    <a:pt x="229" y="333"/>
                  </a:lnTo>
                  <a:lnTo>
                    <a:pt x="214" y="339"/>
                  </a:lnTo>
                  <a:lnTo>
                    <a:pt x="198" y="344"/>
                  </a:lnTo>
                  <a:lnTo>
                    <a:pt x="162" y="349"/>
                  </a:lnTo>
                  <a:lnTo>
                    <a:pt x="125" y="353"/>
                  </a:lnTo>
                  <a:lnTo>
                    <a:pt x="106" y="356"/>
                  </a:lnTo>
                  <a:lnTo>
                    <a:pt x="88" y="360"/>
                  </a:lnTo>
                  <a:lnTo>
                    <a:pt x="70" y="365"/>
                  </a:lnTo>
                  <a:lnTo>
                    <a:pt x="53" y="373"/>
                  </a:lnTo>
                  <a:lnTo>
                    <a:pt x="45" y="383"/>
                  </a:lnTo>
                  <a:lnTo>
                    <a:pt x="37" y="393"/>
                  </a:lnTo>
                  <a:lnTo>
                    <a:pt x="29" y="404"/>
                  </a:lnTo>
                  <a:lnTo>
                    <a:pt x="22" y="417"/>
                  </a:lnTo>
                  <a:lnTo>
                    <a:pt x="9" y="443"/>
                  </a:lnTo>
                  <a:lnTo>
                    <a:pt x="0" y="469"/>
                  </a:lnTo>
                  <a:lnTo>
                    <a:pt x="6" y="473"/>
                  </a:lnTo>
                  <a:lnTo>
                    <a:pt x="24" y="485"/>
                  </a:lnTo>
                  <a:lnTo>
                    <a:pt x="49" y="504"/>
                  </a:lnTo>
                  <a:lnTo>
                    <a:pt x="77" y="528"/>
                  </a:lnTo>
                  <a:lnTo>
                    <a:pt x="92" y="540"/>
                  </a:lnTo>
                  <a:lnTo>
                    <a:pt x="106" y="555"/>
                  </a:lnTo>
                  <a:lnTo>
                    <a:pt x="120" y="569"/>
                  </a:lnTo>
                  <a:lnTo>
                    <a:pt x="132" y="584"/>
                  </a:lnTo>
                  <a:lnTo>
                    <a:pt x="141" y="599"/>
                  </a:lnTo>
                  <a:lnTo>
                    <a:pt x="149" y="615"/>
                  </a:lnTo>
                  <a:lnTo>
                    <a:pt x="152" y="621"/>
                  </a:lnTo>
                  <a:lnTo>
                    <a:pt x="154" y="629"/>
                  </a:lnTo>
                  <a:lnTo>
                    <a:pt x="156" y="637"/>
                  </a:lnTo>
                  <a:lnTo>
                    <a:pt x="156" y="644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accent1">
                  <a:lumMod val="20000"/>
                  <a:lumOff val="8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95" b="0" i="0" u="none" strike="noStrike" kern="1200" cap="none" spc="0" normalizeH="0" baseline="0" noProof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9" name="Freeform 40"/>
            <p:cNvSpPr>
              <a:spLocks/>
            </p:cNvSpPr>
            <p:nvPr/>
          </p:nvSpPr>
          <p:spPr bwMode="auto">
            <a:xfrm>
              <a:off x="4789583" y="2244109"/>
              <a:ext cx="40324" cy="64377"/>
            </a:xfrm>
            <a:custGeom>
              <a:avLst/>
              <a:gdLst>
                <a:gd name="T0" fmla="*/ 403 w 560"/>
                <a:gd name="T1" fmla="*/ 21 h 891"/>
                <a:gd name="T2" fmla="*/ 364 w 560"/>
                <a:gd name="T3" fmla="*/ 61 h 891"/>
                <a:gd name="T4" fmla="*/ 312 w 560"/>
                <a:gd name="T5" fmla="*/ 109 h 891"/>
                <a:gd name="T6" fmla="*/ 294 w 560"/>
                <a:gd name="T7" fmla="*/ 148 h 891"/>
                <a:gd name="T8" fmla="*/ 271 w 560"/>
                <a:gd name="T9" fmla="*/ 186 h 891"/>
                <a:gd name="T10" fmla="*/ 228 w 560"/>
                <a:gd name="T11" fmla="*/ 190 h 891"/>
                <a:gd name="T12" fmla="*/ 191 w 560"/>
                <a:gd name="T13" fmla="*/ 194 h 891"/>
                <a:gd name="T14" fmla="*/ 172 w 560"/>
                <a:gd name="T15" fmla="*/ 209 h 891"/>
                <a:gd name="T16" fmla="*/ 171 w 560"/>
                <a:gd name="T17" fmla="*/ 242 h 891"/>
                <a:gd name="T18" fmla="*/ 180 w 560"/>
                <a:gd name="T19" fmla="*/ 282 h 891"/>
                <a:gd name="T20" fmla="*/ 142 w 560"/>
                <a:gd name="T21" fmla="*/ 313 h 891"/>
                <a:gd name="T22" fmla="*/ 94 w 560"/>
                <a:gd name="T23" fmla="*/ 341 h 891"/>
                <a:gd name="T24" fmla="*/ 68 w 560"/>
                <a:gd name="T25" fmla="*/ 401 h 891"/>
                <a:gd name="T26" fmla="*/ 42 w 560"/>
                <a:gd name="T27" fmla="*/ 482 h 891"/>
                <a:gd name="T28" fmla="*/ 16 w 560"/>
                <a:gd name="T29" fmla="*/ 507 h 891"/>
                <a:gd name="T30" fmla="*/ 2 w 560"/>
                <a:gd name="T31" fmla="*/ 530 h 891"/>
                <a:gd name="T32" fmla="*/ 2 w 560"/>
                <a:gd name="T33" fmla="*/ 562 h 891"/>
                <a:gd name="T34" fmla="*/ 27 w 560"/>
                <a:gd name="T35" fmla="*/ 603 h 891"/>
                <a:gd name="T36" fmla="*/ 51 w 560"/>
                <a:gd name="T37" fmla="*/ 637 h 891"/>
                <a:gd name="T38" fmla="*/ 52 w 560"/>
                <a:gd name="T39" fmla="*/ 661 h 891"/>
                <a:gd name="T40" fmla="*/ 32 w 560"/>
                <a:gd name="T41" fmla="*/ 683 h 891"/>
                <a:gd name="T42" fmla="*/ 14 w 560"/>
                <a:gd name="T43" fmla="*/ 706 h 891"/>
                <a:gd name="T44" fmla="*/ 15 w 560"/>
                <a:gd name="T45" fmla="*/ 722 h 891"/>
                <a:gd name="T46" fmla="*/ 58 w 560"/>
                <a:gd name="T47" fmla="*/ 746 h 891"/>
                <a:gd name="T48" fmla="*/ 102 w 560"/>
                <a:gd name="T49" fmla="*/ 774 h 891"/>
                <a:gd name="T50" fmla="*/ 118 w 560"/>
                <a:gd name="T51" fmla="*/ 844 h 891"/>
                <a:gd name="T52" fmla="*/ 126 w 560"/>
                <a:gd name="T53" fmla="*/ 870 h 891"/>
                <a:gd name="T54" fmla="*/ 144 w 560"/>
                <a:gd name="T55" fmla="*/ 879 h 891"/>
                <a:gd name="T56" fmla="*/ 183 w 560"/>
                <a:gd name="T57" fmla="*/ 866 h 891"/>
                <a:gd name="T58" fmla="*/ 199 w 560"/>
                <a:gd name="T59" fmla="*/ 887 h 891"/>
                <a:gd name="T60" fmla="*/ 224 w 560"/>
                <a:gd name="T61" fmla="*/ 888 h 891"/>
                <a:gd name="T62" fmla="*/ 279 w 560"/>
                <a:gd name="T63" fmla="*/ 854 h 891"/>
                <a:gd name="T64" fmla="*/ 322 w 560"/>
                <a:gd name="T65" fmla="*/ 807 h 891"/>
                <a:gd name="T66" fmla="*/ 326 w 560"/>
                <a:gd name="T67" fmla="*/ 774 h 891"/>
                <a:gd name="T68" fmla="*/ 332 w 560"/>
                <a:gd name="T69" fmla="*/ 713 h 891"/>
                <a:gd name="T70" fmla="*/ 362 w 560"/>
                <a:gd name="T71" fmla="*/ 661 h 891"/>
                <a:gd name="T72" fmla="*/ 379 w 560"/>
                <a:gd name="T73" fmla="*/ 662 h 891"/>
                <a:gd name="T74" fmla="*/ 379 w 560"/>
                <a:gd name="T75" fmla="*/ 621 h 891"/>
                <a:gd name="T76" fmla="*/ 400 w 560"/>
                <a:gd name="T77" fmla="*/ 578 h 891"/>
                <a:gd name="T78" fmla="*/ 491 w 560"/>
                <a:gd name="T79" fmla="*/ 491 h 891"/>
                <a:gd name="T80" fmla="*/ 512 w 560"/>
                <a:gd name="T81" fmla="*/ 446 h 891"/>
                <a:gd name="T82" fmla="*/ 500 w 560"/>
                <a:gd name="T83" fmla="*/ 415 h 891"/>
                <a:gd name="T84" fmla="*/ 487 w 560"/>
                <a:gd name="T85" fmla="*/ 379 h 891"/>
                <a:gd name="T86" fmla="*/ 495 w 560"/>
                <a:gd name="T87" fmla="*/ 333 h 891"/>
                <a:gd name="T88" fmla="*/ 510 w 560"/>
                <a:gd name="T89" fmla="*/ 315 h 891"/>
                <a:gd name="T90" fmla="*/ 548 w 560"/>
                <a:gd name="T91" fmla="*/ 307 h 891"/>
                <a:gd name="T92" fmla="*/ 542 w 560"/>
                <a:gd name="T93" fmla="*/ 253 h 891"/>
                <a:gd name="T94" fmla="*/ 551 w 560"/>
                <a:gd name="T95" fmla="*/ 208 h 891"/>
                <a:gd name="T96" fmla="*/ 560 w 560"/>
                <a:gd name="T97" fmla="*/ 162 h 891"/>
                <a:gd name="T98" fmla="*/ 554 w 560"/>
                <a:gd name="T99" fmla="*/ 128 h 891"/>
                <a:gd name="T100" fmla="*/ 524 w 560"/>
                <a:gd name="T101" fmla="*/ 81 h 891"/>
                <a:gd name="T102" fmla="*/ 518 w 560"/>
                <a:gd name="T103" fmla="*/ 42 h 891"/>
                <a:gd name="T104" fmla="*/ 524 w 560"/>
                <a:gd name="T105" fmla="*/ 0 h 891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560"/>
                <a:gd name="T160" fmla="*/ 0 h 891"/>
                <a:gd name="T161" fmla="*/ 560 w 560"/>
                <a:gd name="T162" fmla="*/ 891 h 891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560" h="891">
                  <a:moveTo>
                    <a:pt x="518" y="0"/>
                  </a:moveTo>
                  <a:lnTo>
                    <a:pt x="415" y="0"/>
                  </a:lnTo>
                  <a:lnTo>
                    <a:pt x="410" y="10"/>
                  </a:lnTo>
                  <a:lnTo>
                    <a:pt x="403" y="21"/>
                  </a:lnTo>
                  <a:lnTo>
                    <a:pt x="398" y="29"/>
                  </a:lnTo>
                  <a:lnTo>
                    <a:pt x="391" y="37"/>
                  </a:lnTo>
                  <a:lnTo>
                    <a:pt x="378" y="50"/>
                  </a:lnTo>
                  <a:lnTo>
                    <a:pt x="364" y="61"/>
                  </a:lnTo>
                  <a:lnTo>
                    <a:pt x="351" y="72"/>
                  </a:lnTo>
                  <a:lnTo>
                    <a:pt x="338" y="82"/>
                  </a:lnTo>
                  <a:lnTo>
                    <a:pt x="324" y="94"/>
                  </a:lnTo>
                  <a:lnTo>
                    <a:pt x="312" y="109"/>
                  </a:lnTo>
                  <a:lnTo>
                    <a:pt x="307" y="118"/>
                  </a:lnTo>
                  <a:lnTo>
                    <a:pt x="302" y="128"/>
                  </a:lnTo>
                  <a:lnTo>
                    <a:pt x="298" y="137"/>
                  </a:lnTo>
                  <a:lnTo>
                    <a:pt x="294" y="148"/>
                  </a:lnTo>
                  <a:lnTo>
                    <a:pt x="290" y="158"/>
                  </a:lnTo>
                  <a:lnTo>
                    <a:pt x="286" y="168"/>
                  </a:lnTo>
                  <a:lnTo>
                    <a:pt x="279" y="177"/>
                  </a:lnTo>
                  <a:lnTo>
                    <a:pt x="271" y="186"/>
                  </a:lnTo>
                  <a:lnTo>
                    <a:pt x="263" y="190"/>
                  </a:lnTo>
                  <a:lnTo>
                    <a:pt x="252" y="192"/>
                  </a:lnTo>
                  <a:lnTo>
                    <a:pt x="240" y="192"/>
                  </a:lnTo>
                  <a:lnTo>
                    <a:pt x="228" y="190"/>
                  </a:lnTo>
                  <a:lnTo>
                    <a:pt x="215" y="190"/>
                  </a:lnTo>
                  <a:lnTo>
                    <a:pt x="202" y="192"/>
                  </a:lnTo>
                  <a:lnTo>
                    <a:pt x="196" y="192"/>
                  </a:lnTo>
                  <a:lnTo>
                    <a:pt x="191" y="194"/>
                  </a:lnTo>
                  <a:lnTo>
                    <a:pt x="186" y="196"/>
                  </a:lnTo>
                  <a:lnTo>
                    <a:pt x="180" y="198"/>
                  </a:lnTo>
                  <a:lnTo>
                    <a:pt x="175" y="204"/>
                  </a:lnTo>
                  <a:lnTo>
                    <a:pt x="172" y="209"/>
                  </a:lnTo>
                  <a:lnTo>
                    <a:pt x="170" y="214"/>
                  </a:lnTo>
                  <a:lnTo>
                    <a:pt x="168" y="220"/>
                  </a:lnTo>
                  <a:lnTo>
                    <a:pt x="168" y="230"/>
                  </a:lnTo>
                  <a:lnTo>
                    <a:pt x="171" y="242"/>
                  </a:lnTo>
                  <a:lnTo>
                    <a:pt x="175" y="255"/>
                  </a:lnTo>
                  <a:lnTo>
                    <a:pt x="179" y="269"/>
                  </a:lnTo>
                  <a:lnTo>
                    <a:pt x="180" y="275"/>
                  </a:lnTo>
                  <a:lnTo>
                    <a:pt x="180" y="282"/>
                  </a:lnTo>
                  <a:lnTo>
                    <a:pt x="182" y="289"/>
                  </a:lnTo>
                  <a:lnTo>
                    <a:pt x="180" y="295"/>
                  </a:lnTo>
                  <a:lnTo>
                    <a:pt x="167" y="302"/>
                  </a:lnTo>
                  <a:lnTo>
                    <a:pt x="142" y="313"/>
                  </a:lnTo>
                  <a:lnTo>
                    <a:pt x="119" y="321"/>
                  </a:lnTo>
                  <a:lnTo>
                    <a:pt x="108" y="325"/>
                  </a:lnTo>
                  <a:lnTo>
                    <a:pt x="100" y="333"/>
                  </a:lnTo>
                  <a:lnTo>
                    <a:pt x="94" y="341"/>
                  </a:lnTo>
                  <a:lnTo>
                    <a:pt x="88" y="350"/>
                  </a:lnTo>
                  <a:lnTo>
                    <a:pt x="83" y="359"/>
                  </a:lnTo>
                  <a:lnTo>
                    <a:pt x="75" y="379"/>
                  </a:lnTo>
                  <a:lnTo>
                    <a:pt x="68" y="401"/>
                  </a:lnTo>
                  <a:lnTo>
                    <a:pt x="62" y="423"/>
                  </a:lnTo>
                  <a:lnTo>
                    <a:pt x="56" y="445"/>
                  </a:lnTo>
                  <a:lnTo>
                    <a:pt x="50" y="465"/>
                  </a:lnTo>
                  <a:lnTo>
                    <a:pt x="42" y="482"/>
                  </a:lnTo>
                  <a:lnTo>
                    <a:pt x="36" y="490"/>
                  </a:lnTo>
                  <a:lnTo>
                    <a:pt x="30" y="497"/>
                  </a:lnTo>
                  <a:lnTo>
                    <a:pt x="23" y="502"/>
                  </a:lnTo>
                  <a:lnTo>
                    <a:pt x="16" y="507"/>
                  </a:lnTo>
                  <a:lnTo>
                    <a:pt x="10" y="514"/>
                  </a:lnTo>
                  <a:lnTo>
                    <a:pt x="4" y="521"/>
                  </a:lnTo>
                  <a:lnTo>
                    <a:pt x="3" y="525"/>
                  </a:lnTo>
                  <a:lnTo>
                    <a:pt x="2" y="530"/>
                  </a:lnTo>
                  <a:lnTo>
                    <a:pt x="0" y="535"/>
                  </a:lnTo>
                  <a:lnTo>
                    <a:pt x="0" y="542"/>
                  </a:lnTo>
                  <a:lnTo>
                    <a:pt x="0" y="553"/>
                  </a:lnTo>
                  <a:lnTo>
                    <a:pt x="2" y="562"/>
                  </a:lnTo>
                  <a:lnTo>
                    <a:pt x="4" y="571"/>
                  </a:lnTo>
                  <a:lnTo>
                    <a:pt x="8" y="578"/>
                  </a:lnTo>
                  <a:lnTo>
                    <a:pt x="16" y="591"/>
                  </a:lnTo>
                  <a:lnTo>
                    <a:pt x="27" y="603"/>
                  </a:lnTo>
                  <a:lnTo>
                    <a:pt x="36" y="614"/>
                  </a:lnTo>
                  <a:lnTo>
                    <a:pt x="46" y="625"/>
                  </a:lnTo>
                  <a:lnTo>
                    <a:pt x="48" y="630"/>
                  </a:lnTo>
                  <a:lnTo>
                    <a:pt x="51" y="637"/>
                  </a:lnTo>
                  <a:lnTo>
                    <a:pt x="54" y="643"/>
                  </a:lnTo>
                  <a:lnTo>
                    <a:pt x="54" y="650"/>
                  </a:lnTo>
                  <a:lnTo>
                    <a:pt x="54" y="655"/>
                  </a:lnTo>
                  <a:lnTo>
                    <a:pt x="52" y="661"/>
                  </a:lnTo>
                  <a:lnTo>
                    <a:pt x="50" y="665"/>
                  </a:lnTo>
                  <a:lnTo>
                    <a:pt x="47" y="669"/>
                  </a:lnTo>
                  <a:lnTo>
                    <a:pt x="40" y="677"/>
                  </a:lnTo>
                  <a:lnTo>
                    <a:pt x="32" y="683"/>
                  </a:lnTo>
                  <a:lnTo>
                    <a:pt x="26" y="690"/>
                  </a:lnTo>
                  <a:lnTo>
                    <a:pt x="19" y="698"/>
                  </a:lnTo>
                  <a:lnTo>
                    <a:pt x="15" y="702"/>
                  </a:lnTo>
                  <a:lnTo>
                    <a:pt x="14" y="706"/>
                  </a:lnTo>
                  <a:lnTo>
                    <a:pt x="12" y="711"/>
                  </a:lnTo>
                  <a:lnTo>
                    <a:pt x="12" y="717"/>
                  </a:lnTo>
                  <a:lnTo>
                    <a:pt x="12" y="719"/>
                  </a:lnTo>
                  <a:lnTo>
                    <a:pt x="15" y="722"/>
                  </a:lnTo>
                  <a:lnTo>
                    <a:pt x="20" y="725"/>
                  </a:lnTo>
                  <a:lnTo>
                    <a:pt x="26" y="729"/>
                  </a:lnTo>
                  <a:lnTo>
                    <a:pt x="40" y="737"/>
                  </a:lnTo>
                  <a:lnTo>
                    <a:pt x="58" y="746"/>
                  </a:lnTo>
                  <a:lnTo>
                    <a:pt x="75" y="754"/>
                  </a:lnTo>
                  <a:lnTo>
                    <a:pt x="91" y="765"/>
                  </a:lnTo>
                  <a:lnTo>
                    <a:pt x="98" y="769"/>
                  </a:lnTo>
                  <a:lnTo>
                    <a:pt x="102" y="774"/>
                  </a:lnTo>
                  <a:lnTo>
                    <a:pt x="106" y="778"/>
                  </a:lnTo>
                  <a:lnTo>
                    <a:pt x="108" y="783"/>
                  </a:lnTo>
                  <a:lnTo>
                    <a:pt x="114" y="813"/>
                  </a:lnTo>
                  <a:lnTo>
                    <a:pt x="118" y="844"/>
                  </a:lnTo>
                  <a:lnTo>
                    <a:pt x="119" y="851"/>
                  </a:lnTo>
                  <a:lnTo>
                    <a:pt x="120" y="858"/>
                  </a:lnTo>
                  <a:lnTo>
                    <a:pt x="122" y="864"/>
                  </a:lnTo>
                  <a:lnTo>
                    <a:pt x="126" y="870"/>
                  </a:lnTo>
                  <a:lnTo>
                    <a:pt x="128" y="874"/>
                  </a:lnTo>
                  <a:lnTo>
                    <a:pt x="132" y="876"/>
                  </a:lnTo>
                  <a:lnTo>
                    <a:pt x="138" y="879"/>
                  </a:lnTo>
                  <a:lnTo>
                    <a:pt x="144" y="879"/>
                  </a:lnTo>
                  <a:lnTo>
                    <a:pt x="159" y="870"/>
                  </a:lnTo>
                  <a:lnTo>
                    <a:pt x="175" y="860"/>
                  </a:lnTo>
                  <a:lnTo>
                    <a:pt x="179" y="862"/>
                  </a:lnTo>
                  <a:lnTo>
                    <a:pt x="183" y="866"/>
                  </a:lnTo>
                  <a:lnTo>
                    <a:pt x="187" y="871"/>
                  </a:lnTo>
                  <a:lnTo>
                    <a:pt x="190" y="876"/>
                  </a:lnTo>
                  <a:lnTo>
                    <a:pt x="195" y="882"/>
                  </a:lnTo>
                  <a:lnTo>
                    <a:pt x="199" y="887"/>
                  </a:lnTo>
                  <a:lnTo>
                    <a:pt x="204" y="890"/>
                  </a:lnTo>
                  <a:lnTo>
                    <a:pt x="211" y="891"/>
                  </a:lnTo>
                  <a:lnTo>
                    <a:pt x="216" y="891"/>
                  </a:lnTo>
                  <a:lnTo>
                    <a:pt x="224" y="888"/>
                  </a:lnTo>
                  <a:lnTo>
                    <a:pt x="232" y="884"/>
                  </a:lnTo>
                  <a:lnTo>
                    <a:pt x="242" y="880"/>
                  </a:lnTo>
                  <a:lnTo>
                    <a:pt x="260" y="868"/>
                  </a:lnTo>
                  <a:lnTo>
                    <a:pt x="279" y="854"/>
                  </a:lnTo>
                  <a:lnTo>
                    <a:pt x="296" y="839"/>
                  </a:lnTo>
                  <a:lnTo>
                    <a:pt x="311" y="823"/>
                  </a:lnTo>
                  <a:lnTo>
                    <a:pt x="318" y="815"/>
                  </a:lnTo>
                  <a:lnTo>
                    <a:pt x="322" y="807"/>
                  </a:lnTo>
                  <a:lnTo>
                    <a:pt x="324" y="801"/>
                  </a:lnTo>
                  <a:lnTo>
                    <a:pt x="326" y="795"/>
                  </a:lnTo>
                  <a:lnTo>
                    <a:pt x="326" y="783"/>
                  </a:lnTo>
                  <a:lnTo>
                    <a:pt x="326" y="774"/>
                  </a:lnTo>
                  <a:lnTo>
                    <a:pt x="326" y="765"/>
                  </a:lnTo>
                  <a:lnTo>
                    <a:pt x="326" y="753"/>
                  </a:lnTo>
                  <a:lnTo>
                    <a:pt x="327" y="734"/>
                  </a:lnTo>
                  <a:lnTo>
                    <a:pt x="332" y="713"/>
                  </a:lnTo>
                  <a:lnTo>
                    <a:pt x="338" y="689"/>
                  </a:lnTo>
                  <a:lnTo>
                    <a:pt x="343" y="662"/>
                  </a:lnTo>
                  <a:lnTo>
                    <a:pt x="352" y="662"/>
                  </a:lnTo>
                  <a:lnTo>
                    <a:pt x="362" y="661"/>
                  </a:lnTo>
                  <a:lnTo>
                    <a:pt x="366" y="659"/>
                  </a:lnTo>
                  <a:lnTo>
                    <a:pt x="370" y="659"/>
                  </a:lnTo>
                  <a:lnTo>
                    <a:pt x="375" y="661"/>
                  </a:lnTo>
                  <a:lnTo>
                    <a:pt x="379" y="662"/>
                  </a:lnTo>
                  <a:lnTo>
                    <a:pt x="379" y="649"/>
                  </a:lnTo>
                  <a:lnTo>
                    <a:pt x="379" y="634"/>
                  </a:lnTo>
                  <a:lnTo>
                    <a:pt x="379" y="625"/>
                  </a:lnTo>
                  <a:lnTo>
                    <a:pt x="379" y="621"/>
                  </a:lnTo>
                  <a:lnTo>
                    <a:pt x="380" y="610"/>
                  </a:lnTo>
                  <a:lnTo>
                    <a:pt x="384" y="599"/>
                  </a:lnTo>
                  <a:lnTo>
                    <a:pt x="391" y="589"/>
                  </a:lnTo>
                  <a:lnTo>
                    <a:pt x="400" y="578"/>
                  </a:lnTo>
                  <a:lnTo>
                    <a:pt x="422" y="557"/>
                  </a:lnTo>
                  <a:lnTo>
                    <a:pt x="446" y="535"/>
                  </a:lnTo>
                  <a:lnTo>
                    <a:pt x="470" y="513"/>
                  </a:lnTo>
                  <a:lnTo>
                    <a:pt x="491" y="491"/>
                  </a:lnTo>
                  <a:lnTo>
                    <a:pt x="499" y="479"/>
                  </a:lnTo>
                  <a:lnTo>
                    <a:pt x="506" y="469"/>
                  </a:lnTo>
                  <a:lnTo>
                    <a:pt x="510" y="457"/>
                  </a:lnTo>
                  <a:lnTo>
                    <a:pt x="512" y="446"/>
                  </a:lnTo>
                  <a:lnTo>
                    <a:pt x="511" y="437"/>
                  </a:lnTo>
                  <a:lnTo>
                    <a:pt x="508" y="430"/>
                  </a:lnTo>
                  <a:lnTo>
                    <a:pt x="504" y="422"/>
                  </a:lnTo>
                  <a:lnTo>
                    <a:pt x="500" y="415"/>
                  </a:lnTo>
                  <a:lnTo>
                    <a:pt x="495" y="407"/>
                  </a:lnTo>
                  <a:lnTo>
                    <a:pt x="491" y="399"/>
                  </a:lnTo>
                  <a:lnTo>
                    <a:pt x="488" y="390"/>
                  </a:lnTo>
                  <a:lnTo>
                    <a:pt x="487" y="379"/>
                  </a:lnTo>
                  <a:lnTo>
                    <a:pt x="488" y="361"/>
                  </a:lnTo>
                  <a:lnTo>
                    <a:pt x="491" y="345"/>
                  </a:lnTo>
                  <a:lnTo>
                    <a:pt x="494" y="338"/>
                  </a:lnTo>
                  <a:lnTo>
                    <a:pt x="495" y="333"/>
                  </a:lnTo>
                  <a:lnTo>
                    <a:pt x="499" y="327"/>
                  </a:lnTo>
                  <a:lnTo>
                    <a:pt x="502" y="323"/>
                  </a:lnTo>
                  <a:lnTo>
                    <a:pt x="506" y="319"/>
                  </a:lnTo>
                  <a:lnTo>
                    <a:pt x="510" y="315"/>
                  </a:lnTo>
                  <a:lnTo>
                    <a:pt x="515" y="313"/>
                  </a:lnTo>
                  <a:lnTo>
                    <a:pt x="520" y="311"/>
                  </a:lnTo>
                  <a:lnTo>
                    <a:pt x="534" y="307"/>
                  </a:lnTo>
                  <a:lnTo>
                    <a:pt x="548" y="307"/>
                  </a:lnTo>
                  <a:lnTo>
                    <a:pt x="544" y="297"/>
                  </a:lnTo>
                  <a:lnTo>
                    <a:pt x="543" y="282"/>
                  </a:lnTo>
                  <a:lnTo>
                    <a:pt x="542" y="267"/>
                  </a:lnTo>
                  <a:lnTo>
                    <a:pt x="542" y="253"/>
                  </a:lnTo>
                  <a:lnTo>
                    <a:pt x="543" y="241"/>
                  </a:lnTo>
                  <a:lnTo>
                    <a:pt x="544" y="229"/>
                  </a:lnTo>
                  <a:lnTo>
                    <a:pt x="547" y="218"/>
                  </a:lnTo>
                  <a:lnTo>
                    <a:pt x="551" y="208"/>
                  </a:lnTo>
                  <a:lnTo>
                    <a:pt x="554" y="198"/>
                  </a:lnTo>
                  <a:lnTo>
                    <a:pt x="558" y="188"/>
                  </a:lnTo>
                  <a:lnTo>
                    <a:pt x="559" y="176"/>
                  </a:lnTo>
                  <a:lnTo>
                    <a:pt x="560" y="162"/>
                  </a:lnTo>
                  <a:lnTo>
                    <a:pt x="559" y="152"/>
                  </a:lnTo>
                  <a:lnTo>
                    <a:pt x="558" y="144"/>
                  </a:lnTo>
                  <a:lnTo>
                    <a:pt x="556" y="136"/>
                  </a:lnTo>
                  <a:lnTo>
                    <a:pt x="554" y="128"/>
                  </a:lnTo>
                  <a:lnTo>
                    <a:pt x="547" y="116"/>
                  </a:lnTo>
                  <a:lnTo>
                    <a:pt x="539" y="105"/>
                  </a:lnTo>
                  <a:lnTo>
                    <a:pt x="531" y="94"/>
                  </a:lnTo>
                  <a:lnTo>
                    <a:pt x="524" y="81"/>
                  </a:lnTo>
                  <a:lnTo>
                    <a:pt x="522" y="73"/>
                  </a:lnTo>
                  <a:lnTo>
                    <a:pt x="519" y="64"/>
                  </a:lnTo>
                  <a:lnTo>
                    <a:pt x="518" y="54"/>
                  </a:lnTo>
                  <a:lnTo>
                    <a:pt x="518" y="42"/>
                  </a:lnTo>
                  <a:lnTo>
                    <a:pt x="518" y="26"/>
                  </a:lnTo>
                  <a:lnTo>
                    <a:pt x="519" y="14"/>
                  </a:lnTo>
                  <a:lnTo>
                    <a:pt x="520" y="6"/>
                  </a:lnTo>
                  <a:lnTo>
                    <a:pt x="524" y="0"/>
                  </a:lnTo>
                  <a:lnTo>
                    <a:pt x="518" y="0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accent1">
                  <a:lumMod val="20000"/>
                  <a:lumOff val="8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95" b="0" i="0" u="none" strike="noStrike" kern="1200" cap="none" spc="0" normalizeH="0" baseline="0" noProof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0" name="Freeform 42"/>
            <p:cNvSpPr>
              <a:spLocks/>
            </p:cNvSpPr>
            <p:nvPr/>
          </p:nvSpPr>
          <p:spPr bwMode="auto">
            <a:xfrm>
              <a:off x="5511411" y="2440543"/>
              <a:ext cx="122859" cy="188652"/>
            </a:xfrm>
            <a:custGeom>
              <a:avLst/>
              <a:gdLst>
                <a:gd name="T0" fmla="*/ 995 w 1705"/>
                <a:gd name="T1" fmla="*/ 218 h 2620"/>
                <a:gd name="T2" fmla="*/ 1097 w 1705"/>
                <a:gd name="T3" fmla="*/ 280 h 2620"/>
                <a:gd name="T4" fmla="*/ 1132 w 1705"/>
                <a:gd name="T5" fmla="*/ 363 h 2620"/>
                <a:gd name="T6" fmla="*/ 1216 w 1705"/>
                <a:gd name="T7" fmla="*/ 395 h 2620"/>
                <a:gd name="T8" fmla="*/ 1200 w 1705"/>
                <a:gd name="T9" fmla="*/ 453 h 2620"/>
                <a:gd name="T10" fmla="*/ 1253 w 1705"/>
                <a:gd name="T11" fmla="*/ 485 h 2620"/>
                <a:gd name="T12" fmla="*/ 1345 w 1705"/>
                <a:gd name="T13" fmla="*/ 426 h 2620"/>
                <a:gd name="T14" fmla="*/ 1410 w 1705"/>
                <a:gd name="T15" fmla="*/ 501 h 2620"/>
                <a:gd name="T16" fmla="*/ 1453 w 1705"/>
                <a:gd name="T17" fmla="*/ 479 h 2620"/>
                <a:gd name="T18" fmla="*/ 1516 w 1705"/>
                <a:gd name="T19" fmla="*/ 548 h 2620"/>
                <a:gd name="T20" fmla="*/ 1533 w 1705"/>
                <a:gd name="T21" fmla="*/ 641 h 2620"/>
                <a:gd name="T22" fmla="*/ 1610 w 1705"/>
                <a:gd name="T23" fmla="*/ 716 h 2620"/>
                <a:gd name="T24" fmla="*/ 1566 w 1705"/>
                <a:gd name="T25" fmla="*/ 748 h 2620"/>
                <a:gd name="T26" fmla="*/ 1608 w 1705"/>
                <a:gd name="T27" fmla="*/ 816 h 2620"/>
                <a:gd name="T28" fmla="*/ 1696 w 1705"/>
                <a:gd name="T29" fmla="*/ 915 h 2620"/>
                <a:gd name="T30" fmla="*/ 1564 w 1705"/>
                <a:gd name="T31" fmla="*/ 1070 h 2620"/>
                <a:gd name="T32" fmla="*/ 1521 w 1705"/>
                <a:gd name="T33" fmla="*/ 1245 h 2620"/>
                <a:gd name="T34" fmla="*/ 1645 w 1705"/>
                <a:gd name="T35" fmla="*/ 1237 h 2620"/>
                <a:gd name="T36" fmla="*/ 1680 w 1705"/>
                <a:gd name="T37" fmla="*/ 1321 h 2620"/>
                <a:gd name="T38" fmla="*/ 1633 w 1705"/>
                <a:gd name="T39" fmla="*/ 1645 h 2620"/>
                <a:gd name="T40" fmla="*/ 1688 w 1705"/>
                <a:gd name="T41" fmla="*/ 1833 h 2620"/>
                <a:gd name="T42" fmla="*/ 1668 w 1705"/>
                <a:gd name="T43" fmla="*/ 1906 h 2620"/>
                <a:gd name="T44" fmla="*/ 1542 w 1705"/>
                <a:gd name="T45" fmla="*/ 2079 h 2620"/>
                <a:gd name="T46" fmla="*/ 1410 w 1705"/>
                <a:gd name="T47" fmla="*/ 2090 h 2620"/>
                <a:gd name="T48" fmla="*/ 1244 w 1705"/>
                <a:gd name="T49" fmla="*/ 2059 h 2620"/>
                <a:gd name="T50" fmla="*/ 1129 w 1705"/>
                <a:gd name="T51" fmla="*/ 2122 h 2620"/>
                <a:gd name="T52" fmla="*/ 941 w 1705"/>
                <a:gd name="T53" fmla="*/ 2095 h 2620"/>
                <a:gd name="T54" fmla="*/ 863 w 1705"/>
                <a:gd name="T55" fmla="*/ 2214 h 2620"/>
                <a:gd name="T56" fmla="*/ 632 w 1705"/>
                <a:gd name="T57" fmla="*/ 2472 h 2620"/>
                <a:gd name="T58" fmla="*/ 344 w 1705"/>
                <a:gd name="T59" fmla="*/ 2608 h 2620"/>
                <a:gd name="T60" fmla="*/ 127 w 1705"/>
                <a:gd name="T61" fmla="*/ 2607 h 2620"/>
                <a:gd name="T62" fmla="*/ 2 w 1705"/>
                <a:gd name="T63" fmla="*/ 2504 h 2620"/>
                <a:gd name="T64" fmla="*/ 92 w 1705"/>
                <a:gd name="T65" fmla="*/ 2371 h 2620"/>
                <a:gd name="T66" fmla="*/ 19 w 1705"/>
                <a:gd name="T67" fmla="*/ 2308 h 2620"/>
                <a:gd name="T68" fmla="*/ 50 w 1705"/>
                <a:gd name="T69" fmla="*/ 2183 h 2620"/>
                <a:gd name="T70" fmla="*/ 42 w 1705"/>
                <a:gd name="T71" fmla="*/ 2113 h 2620"/>
                <a:gd name="T72" fmla="*/ 164 w 1705"/>
                <a:gd name="T73" fmla="*/ 2089 h 2620"/>
                <a:gd name="T74" fmla="*/ 275 w 1705"/>
                <a:gd name="T75" fmla="*/ 2025 h 2620"/>
                <a:gd name="T76" fmla="*/ 359 w 1705"/>
                <a:gd name="T77" fmla="*/ 1983 h 2620"/>
                <a:gd name="T78" fmla="*/ 448 w 1705"/>
                <a:gd name="T79" fmla="*/ 1855 h 2620"/>
                <a:gd name="T80" fmla="*/ 524 w 1705"/>
                <a:gd name="T81" fmla="*/ 1753 h 2620"/>
                <a:gd name="T82" fmla="*/ 667 w 1705"/>
                <a:gd name="T83" fmla="*/ 1637 h 2620"/>
                <a:gd name="T84" fmla="*/ 728 w 1705"/>
                <a:gd name="T85" fmla="*/ 1542 h 2620"/>
                <a:gd name="T86" fmla="*/ 655 w 1705"/>
                <a:gd name="T87" fmla="*/ 1433 h 2620"/>
                <a:gd name="T88" fmla="*/ 639 w 1705"/>
                <a:gd name="T89" fmla="*/ 1340 h 2620"/>
                <a:gd name="T90" fmla="*/ 736 w 1705"/>
                <a:gd name="T91" fmla="*/ 1198 h 2620"/>
                <a:gd name="T92" fmla="*/ 865 w 1705"/>
                <a:gd name="T93" fmla="*/ 1032 h 2620"/>
                <a:gd name="T94" fmla="*/ 921 w 1705"/>
                <a:gd name="T95" fmla="*/ 937 h 2620"/>
                <a:gd name="T96" fmla="*/ 841 w 1705"/>
                <a:gd name="T97" fmla="*/ 856 h 2620"/>
                <a:gd name="T98" fmla="*/ 723 w 1705"/>
                <a:gd name="T99" fmla="*/ 817 h 2620"/>
                <a:gd name="T100" fmla="*/ 601 w 1705"/>
                <a:gd name="T101" fmla="*/ 588 h 2620"/>
                <a:gd name="T102" fmla="*/ 590 w 1705"/>
                <a:gd name="T103" fmla="*/ 492 h 2620"/>
                <a:gd name="T104" fmla="*/ 663 w 1705"/>
                <a:gd name="T105" fmla="*/ 511 h 2620"/>
                <a:gd name="T106" fmla="*/ 760 w 1705"/>
                <a:gd name="T107" fmla="*/ 452 h 2620"/>
                <a:gd name="T108" fmla="*/ 784 w 1705"/>
                <a:gd name="T109" fmla="*/ 348 h 2620"/>
                <a:gd name="T110" fmla="*/ 712 w 1705"/>
                <a:gd name="T111" fmla="*/ 291 h 2620"/>
                <a:gd name="T112" fmla="*/ 681 w 1705"/>
                <a:gd name="T113" fmla="*/ 119 h 2620"/>
                <a:gd name="T114" fmla="*/ 739 w 1705"/>
                <a:gd name="T115" fmla="*/ 60 h 2620"/>
                <a:gd name="T116" fmla="*/ 856 w 1705"/>
                <a:gd name="T117" fmla="*/ 0 h 262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705"/>
                <a:gd name="T178" fmla="*/ 0 h 2620"/>
                <a:gd name="T179" fmla="*/ 1705 w 1705"/>
                <a:gd name="T180" fmla="*/ 2620 h 262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705" h="2620">
                  <a:moveTo>
                    <a:pt x="856" y="0"/>
                  </a:moveTo>
                  <a:lnTo>
                    <a:pt x="872" y="18"/>
                  </a:lnTo>
                  <a:lnTo>
                    <a:pt x="885" y="35"/>
                  </a:lnTo>
                  <a:lnTo>
                    <a:pt x="899" y="55"/>
                  </a:lnTo>
                  <a:lnTo>
                    <a:pt x="911" y="76"/>
                  </a:lnTo>
                  <a:lnTo>
                    <a:pt x="932" y="119"/>
                  </a:lnTo>
                  <a:lnTo>
                    <a:pt x="955" y="160"/>
                  </a:lnTo>
                  <a:lnTo>
                    <a:pt x="967" y="182"/>
                  </a:lnTo>
                  <a:lnTo>
                    <a:pt x="980" y="200"/>
                  </a:lnTo>
                  <a:lnTo>
                    <a:pt x="995" y="218"/>
                  </a:lnTo>
                  <a:lnTo>
                    <a:pt x="1011" y="234"/>
                  </a:lnTo>
                  <a:lnTo>
                    <a:pt x="1020" y="240"/>
                  </a:lnTo>
                  <a:lnTo>
                    <a:pt x="1029" y="247"/>
                  </a:lnTo>
                  <a:lnTo>
                    <a:pt x="1040" y="252"/>
                  </a:lnTo>
                  <a:lnTo>
                    <a:pt x="1051" y="258"/>
                  </a:lnTo>
                  <a:lnTo>
                    <a:pt x="1063" y="263"/>
                  </a:lnTo>
                  <a:lnTo>
                    <a:pt x="1075" y="267"/>
                  </a:lnTo>
                  <a:lnTo>
                    <a:pt x="1088" y="270"/>
                  </a:lnTo>
                  <a:lnTo>
                    <a:pt x="1103" y="271"/>
                  </a:lnTo>
                  <a:lnTo>
                    <a:pt x="1097" y="280"/>
                  </a:lnTo>
                  <a:lnTo>
                    <a:pt x="1091" y="303"/>
                  </a:lnTo>
                  <a:lnTo>
                    <a:pt x="1089" y="310"/>
                  </a:lnTo>
                  <a:lnTo>
                    <a:pt x="1089" y="316"/>
                  </a:lnTo>
                  <a:lnTo>
                    <a:pt x="1091" y="323"/>
                  </a:lnTo>
                  <a:lnTo>
                    <a:pt x="1092" y="330"/>
                  </a:lnTo>
                  <a:lnTo>
                    <a:pt x="1096" y="336"/>
                  </a:lnTo>
                  <a:lnTo>
                    <a:pt x="1100" y="343"/>
                  </a:lnTo>
                  <a:lnTo>
                    <a:pt x="1107" y="350"/>
                  </a:lnTo>
                  <a:lnTo>
                    <a:pt x="1115" y="356"/>
                  </a:lnTo>
                  <a:lnTo>
                    <a:pt x="1132" y="363"/>
                  </a:lnTo>
                  <a:lnTo>
                    <a:pt x="1143" y="367"/>
                  </a:lnTo>
                  <a:lnTo>
                    <a:pt x="1149" y="368"/>
                  </a:lnTo>
                  <a:lnTo>
                    <a:pt x="1155" y="368"/>
                  </a:lnTo>
                  <a:lnTo>
                    <a:pt x="1159" y="368"/>
                  </a:lnTo>
                  <a:lnTo>
                    <a:pt x="1163" y="370"/>
                  </a:lnTo>
                  <a:lnTo>
                    <a:pt x="1169" y="374"/>
                  </a:lnTo>
                  <a:lnTo>
                    <a:pt x="1181" y="380"/>
                  </a:lnTo>
                  <a:lnTo>
                    <a:pt x="1193" y="387"/>
                  </a:lnTo>
                  <a:lnTo>
                    <a:pt x="1205" y="392"/>
                  </a:lnTo>
                  <a:lnTo>
                    <a:pt x="1216" y="395"/>
                  </a:lnTo>
                  <a:lnTo>
                    <a:pt x="1223" y="398"/>
                  </a:lnTo>
                  <a:lnTo>
                    <a:pt x="1225" y="399"/>
                  </a:lnTo>
                  <a:lnTo>
                    <a:pt x="1227" y="400"/>
                  </a:lnTo>
                  <a:lnTo>
                    <a:pt x="1227" y="403"/>
                  </a:lnTo>
                  <a:lnTo>
                    <a:pt x="1227" y="406"/>
                  </a:lnTo>
                  <a:lnTo>
                    <a:pt x="1221" y="415"/>
                  </a:lnTo>
                  <a:lnTo>
                    <a:pt x="1211" y="428"/>
                  </a:lnTo>
                  <a:lnTo>
                    <a:pt x="1205" y="438"/>
                  </a:lnTo>
                  <a:lnTo>
                    <a:pt x="1201" y="445"/>
                  </a:lnTo>
                  <a:lnTo>
                    <a:pt x="1200" y="453"/>
                  </a:lnTo>
                  <a:lnTo>
                    <a:pt x="1200" y="461"/>
                  </a:lnTo>
                  <a:lnTo>
                    <a:pt x="1201" y="468"/>
                  </a:lnTo>
                  <a:lnTo>
                    <a:pt x="1204" y="475"/>
                  </a:lnTo>
                  <a:lnTo>
                    <a:pt x="1208" y="480"/>
                  </a:lnTo>
                  <a:lnTo>
                    <a:pt x="1213" y="484"/>
                  </a:lnTo>
                  <a:lnTo>
                    <a:pt x="1220" y="488"/>
                  </a:lnTo>
                  <a:lnTo>
                    <a:pt x="1227" y="489"/>
                  </a:lnTo>
                  <a:lnTo>
                    <a:pt x="1235" y="489"/>
                  </a:lnTo>
                  <a:lnTo>
                    <a:pt x="1244" y="488"/>
                  </a:lnTo>
                  <a:lnTo>
                    <a:pt x="1253" y="485"/>
                  </a:lnTo>
                  <a:lnTo>
                    <a:pt x="1263" y="480"/>
                  </a:lnTo>
                  <a:lnTo>
                    <a:pt x="1273" y="473"/>
                  </a:lnTo>
                  <a:lnTo>
                    <a:pt x="1283" y="464"/>
                  </a:lnTo>
                  <a:lnTo>
                    <a:pt x="1300" y="447"/>
                  </a:lnTo>
                  <a:lnTo>
                    <a:pt x="1315" y="435"/>
                  </a:lnTo>
                  <a:lnTo>
                    <a:pt x="1321" y="431"/>
                  </a:lnTo>
                  <a:lnTo>
                    <a:pt x="1328" y="427"/>
                  </a:lnTo>
                  <a:lnTo>
                    <a:pt x="1335" y="426"/>
                  </a:lnTo>
                  <a:lnTo>
                    <a:pt x="1340" y="426"/>
                  </a:lnTo>
                  <a:lnTo>
                    <a:pt x="1345" y="426"/>
                  </a:lnTo>
                  <a:lnTo>
                    <a:pt x="1349" y="427"/>
                  </a:lnTo>
                  <a:lnTo>
                    <a:pt x="1355" y="430"/>
                  </a:lnTo>
                  <a:lnTo>
                    <a:pt x="1359" y="434"/>
                  </a:lnTo>
                  <a:lnTo>
                    <a:pt x="1366" y="444"/>
                  </a:lnTo>
                  <a:lnTo>
                    <a:pt x="1373" y="457"/>
                  </a:lnTo>
                  <a:lnTo>
                    <a:pt x="1382" y="472"/>
                  </a:lnTo>
                  <a:lnTo>
                    <a:pt x="1390" y="485"/>
                  </a:lnTo>
                  <a:lnTo>
                    <a:pt x="1398" y="493"/>
                  </a:lnTo>
                  <a:lnTo>
                    <a:pt x="1406" y="500"/>
                  </a:lnTo>
                  <a:lnTo>
                    <a:pt x="1410" y="501"/>
                  </a:lnTo>
                  <a:lnTo>
                    <a:pt x="1414" y="503"/>
                  </a:lnTo>
                  <a:lnTo>
                    <a:pt x="1418" y="503"/>
                  </a:lnTo>
                  <a:lnTo>
                    <a:pt x="1422" y="503"/>
                  </a:lnTo>
                  <a:lnTo>
                    <a:pt x="1426" y="500"/>
                  </a:lnTo>
                  <a:lnTo>
                    <a:pt x="1430" y="497"/>
                  </a:lnTo>
                  <a:lnTo>
                    <a:pt x="1436" y="493"/>
                  </a:lnTo>
                  <a:lnTo>
                    <a:pt x="1440" y="488"/>
                  </a:lnTo>
                  <a:lnTo>
                    <a:pt x="1444" y="484"/>
                  </a:lnTo>
                  <a:lnTo>
                    <a:pt x="1448" y="481"/>
                  </a:lnTo>
                  <a:lnTo>
                    <a:pt x="1453" y="479"/>
                  </a:lnTo>
                  <a:lnTo>
                    <a:pt x="1457" y="477"/>
                  </a:lnTo>
                  <a:lnTo>
                    <a:pt x="1461" y="476"/>
                  </a:lnTo>
                  <a:lnTo>
                    <a:pt x="1465" y="476"/>
                  </a:lnTo>
                  <a:lnTo>
                    <a:pt x="1469" y="477"/>
                  </a:lnTo>
                  <a:lnTo>
                    <a:pt x="1473" y="480"/>
                  </a:lnTo>
                  <a:lnTo>
                    <a:pt x="1481" y="487"/>
                  </a:lnTo>
                  <a:lnTo>
                    <a:pt x="1489" y="497"/>
                  </a:lnTo>
                  <a:lnTo>
                    <a:pt x="1497" y="512"/>
                  </a:lnTo>
                  <a:lnTo>
                    <a:pt x="1506" y="531"/>
                  </a:lnTo>
                  <a:lnTo>
                    <a:pt x="1516" y="548"/>
                  </a:lnTo>
                  <a:lnTo>
                    <a:pt x="1525" y="563"/>
                  </a:lnTo>
                  <a:lnTo>
                    <a:pt x="1532" y="577"/>
                  </a:lnTo>
                  <a:lnTo>
                    <a:pt x="1537" y="591"/>
                  </a:lnTo>
                  <a:lnTo>
                    <a:pt x="1540" y="603"/>
                  </a:lnTo>
                  <a:lnTo>
                    <a:pt x="1541" y="613"/>
                  </a:lnTo>
                  <a:lnTo>
                    <a:pt x="1540" y="624"/>
                  </a:lnTo>
                  <a:lnTo>
                    <a:pt x="1536" y="633"/>
                  </a:lnTo>
                  <a:lnTo>
                    <a:pt x="1534" y="636"/>
                  </a:lnTo>
                  <a:lnTo>
                    <a:pt x="1533" y="639"/>
                  </a:lnTo>
                  <a:lnTo>
                    <a:pt x="1533" y="641"/>
                  </a:lnTo>
                  <a:lnTo>
                    <a:pt x="1533" y="644"/>
                  </a:lnTo>
                  <a:lnTo>
                    <a:pt x="1536" y="649"/>
                  </a:lnTo>
                  <a:lnTo>
                    <a:pt x="1541" y="655"/>
                  </a:lnTo>
                  <a:lnTo>
                    <a:pt x="1557" y="665"/>
                  </a:lnTo>
                  <a:lnTo>
                    <a:pt x="1578" y="681"/>
                  </a:lnTo>
                  <a:lnTo>
                    <a:pt x="1589" y="689"/>
                  </a:lnTo>
                  <a:lnTo>
                    <a:pt x="1598" y="697"/>
                  </a:lnTo>
                  <a:lnTo>
                    <a:pt x="1605" y="705"/>
                  </a:lnTo>
                  <a:lnTo>
                    <a:pt x="1609" y="712"/>
                  </a:lnTo>
                  <a:lnTo>
                    <a:pt x="1610" y="716"/>
                  </a:lnTo>
                  <a:lnTo>
                    <a:pt x="1610" y="719"/>
                  </a:lnTo>
                  <a:lnTo>
                    <a:pt x="1609" y="723"/>
                  </a:lnTo>
                  <a:lnTo>
                    <a:pt x="1608" y="725"/>
                  </a:lnTo>
                  <a:lnTo>
                    <a:pt x="1605" y="728"/>
                  </a:lnTo>
                  <a:lnTo>
                    <a:pt x="1601" y="731"/>
                  </a:lnTo>
                  <a:lnTo>
                    <a:pt x="1596" y="733"/>
                  </a:lnTo>
                  <a:lnTo>
                    <a:pt x="1590" y="735"/>
                  </a:lnTo>
                  <a:lnTo>
                    <a:pt x="1578" y="740"/>
                  </a:lnTo>
                  <a:lnTo>
                    <a:pt x="1570" y="745"/>
                  </a:lnTo>
                  <a:lnTo>
                    <a:pt x="1566" y="748"/>
                  </a:lnTo>
                  <a:lnTo>
                    <a:pt x="1565" y="752"/>
                  </a:lnTo>
                  <a:lnTo>
                    <a:pt x="1564" y="755"/>
                  </a:lnTo>
                  <a:lnTo>
                    <a:pt x="1564" y="759"/>
                  </a:lnTo>
                  <a:lnTo>
                    <a:pt x="1564" y="763"/>
                  </a:lnTo>
                  <a:lnTo>
                    <a:pt x="1565" y="767"/>
                  </a:lnTo>
                  <a:lnTo>
                    <a:pt x="1566" y="771"/>
                  </a:lnTo>
                  <a:lnTo>
                    <a:pt x="1570" y="775"/>
                  </a:lnTo>
                  <a:lnTo>
                    <a:pt x="1578" y="784"/>
                  </a:lnTo>
                  <a:lnTo>
                    <a:pt x="1590" y="795"/>
                  </a:lnTo>
                  <a:lnTo>
                    <a:pt x="1608" y="816"/>
                  </a:lnTo>
                  <a:lnTo>
                    <a:pt x="1620" y="833"/>
                  </a:lnTo>
                  <a:lnTo>
                    <a:pt x="1626" y="840"/>
                  </a:lnTo>
                  <a:lnTo>
                    <a:pt x="1633" y="848"/>
                  </a:lnTo>
                  <a:lnTo>
                    <a:pt x="1641" y="855"/>
                  </a:lnTo>
                  <a:lnTo>
                    <a:pt x="1650" y="861"/>
                  </a:lnTo>
                  <a:lnTo>
                    <a:pt x="1661" y="869"/>
                  </a:lnTo>
                  <a:lnTo>
                    <a:pt x="1670" y="879"/>
                  </a:lnTo>
                  <a:lnTo>
                    <a:pt x="1678" y="888"/>
                  </a:lnTo>
                  <a:lnTo>
                    <a:pt x="1686" y="899"/>
                  </a:lnTo>
                  <a:lnTo>
                    <a:pt x="1696" y="915"/>
                  </a:lnTo>
                  <a:lnTo>
                    <a:pt x="1698" y="921"/>
                  </a:lnTo>
                  <a:lnTo>
                    <a:pt x="1682" y="935"/>
                  </a:lnTo>
                  <a:lnTo>
                    <a:pt x="1665" y="948"/>
                  </a:lnTo>
                  <a:lnTo>
                    <a:pt x="1649" y="964"/>
                  </a:lnTo>
                  <a:lnTo>
                    <a:pt x="1633" y="979"/>
                  </a:lnTo>
                  <a:lnTo>
                    <a:pt x="1617" y="996"/>
                  </a:lnTo>
                  <a:lnTo>
                    <a:pt x="1602" y="1013"/>
                  </a:lnTo>
                  <a:lnTo>
                    <a:pt x="1589" y="1032"/>
                  </a:lnTo>
                  <a:lnTo>
                    <a:pt x="1576" y="1050"/>
                  </a:lnTo>
                  <a:lnTo>
                    <a:pt x="1564" y="1070"/>
                  </a:lnTo>
                  <a:lnTo>
                    <a:pt x="1553" y="1090"/>
                  </a:lnTo>
                  <a:lnTo>
                    <a:pt x="1542" y="1112"/>
                  </a:lnTo>
                  <a:lnTo>
                    <a:pt x="1533" y="1134"/>
                  </a:lnTo>
                  <a:lnTo>
                    <a:pt x="1526" y="1157"/>
                  </a:lnTo>
                  <a:lnTo>
                    <a:pt x="1520" y="1180"/>
                  </a:lnTo>
                  <a:lnTo>
                    <a:pt x="1514" y="1204"/>
                  </a:lnTo>
                  <a:lnTo>
                    <a:pt x="1512" y="1229"/>
                  </a:lnTo>
                  <a:lnTo>
                    <a:pt x="1514" y="1236"/>
                  </a:lnTo>
                  <a:lnTo>
                    <a:pt x="1517" y="1241"/>
                  </a:lnTo>
                  <a:lnTo>
                    <a:pt x="1521" y="1245"/>
                  </a:lnTo>
                  <a:lnTo>
                    <a:pt x="1526" y="1249"/>
                  </a:lnTo>
                  <a:lnTo>
                    <a:pt x="1532" y="1250"/>
                  </a:lnTo>
                  <a:lnTo>
                    <a:pt x="1538" y="1252"/>
                  </a:lnTo>
                  <a:lnTo>
                    <a:pt x="1546" y="1252"/>
                  </a:lnTo>
                  <a:lnTo>
                    <a:pt x="1553" y="1250"/>
                  </a:lnTo>
                  <a:lnTo>
                    <a:pt x="1586" y="1244"/>
                  </a:lnTo>
                  <a:lnTo>
                    <a:pt x="1622" y="1237"/>
                  </a:lnTo>
                  <a:lnTo>
                    <a:pt x="1630" y="1237"/>
                  </a:lnTo>
                  <a:lnTo>
                    <a:pt x="1638" y="1236"/>
                  </a:lnTo>
                  <a:lnTo>
                    <a:pt x="1645" y="1237"/>
                  </a:lnTo>
                  <a:lnTo>
                    <a:pt x="1653" y="1238"/>
                  </a:lnTo>
                  <a:lnTo>
                    <a:pt x="1660" y="1242"/>
                  </a:lnTo>
                  <a:lnTo>
                    <a:pt x="1665" y="1246"/>
                  </a:lnTo>
                  <a:lnTo>
                    <a:pt x="1670" y="1252"/>
                  </a:lnTo>
                  <a:lnTo>
                    <a:pt x="1674" y="1258"/>
                  </a:lnTo>
                  <a:lnTo>
                    <a:pt x="1678" y="1268"/>
                  </a:lnTo>
                  <a:lnTo>
                    <a:pt x="1680" y="1277"/>
                  </a:lnTo>
                  <a:lnTo>
                    <a:pt x="1681" y="1290"/>
                  </a:lnTo>
                  <a:lnTo>
                    <a:pt x="1681" y="1304"/>
                  </a:lnTo>
                  <a:lnTo>
                    <a:pt x="1680" y="1321"/>
                  </a:lnTo>
                  <a:lnTo>
                    <a:pt x="1678" y="1340"/>
                  </a:lnTo>
                  <a:lnTo>
                    <a:pt x="1674" y="1361"/>
                  </a:lnTo>
                  <a:lnTo>
                    <a:pt x="1669" y="1385"/>
                  </a:lnTo>
                  <a:lnTo>
                    <a:pt x="1657" y="1434"/>
                  </a:lnTo>
                  <a:lnTo>
                    <a:pt x="1648" y="1474"/>
                  </a:lnTo>
                  <a:lnTo>
                    <a:pt x="1641" y="1509"/>
                  </a:lnTo>
                  <a:lnTo>
                    <a:pt x="1637" y="1541"/>
                  </a:lnTo>
                  <a:lnTo>
                    <a:pt x="1634" y="1573"/>
                  </a:lnTo>
                  <a:lnTo>
                    <a:pt x="1633" y="1606"/>
                  </a:lnTo>
                  <a:lnTo>
                    <a:pt x="1633" y="1645"/>
                  </a:lnTo>
                  <a:lnTo>
                    <a:pt x="1632" y="1693"/>
                  </a:lnTo>
                  <a:lnTo>
                    <a:pt x="1633" y="1714"/>
                  </a:lnTo>
                  <a:lnTo>
                    <a:pt x="1637" y="1734"/>
                  </a:lnTo>
                  <a:lnTo>
                    <a:pt x="1642" y="1753"/>
                  </a:lnTo>
                  <a:lnTo>
                    <a:pt x="1649" y="1769"/>
                  </a:lnTo>
                  <a:lnTo>
                    <a:pt x="1656" y="1785"/>
                  </a:lnTo>
                  <a:lnTo>
                    <a:pt x="1664" y="1798"/>
                  </a:lnTo>
                  <a:lnTo>
                    <a:pt x="1673" y="1811"/>
                  </a:lnTo>
                  <a:lnTo>
                    <a:pt x="1681" y="1822"/>
                  </a:lnTo>
                  <a:lnTo>
                    <a:pt x="1688" y="1833"/>
                  </a:lnTo>
                  <a:lnTo>
                    <a:pt x="1694" y="1842"/>
                  </a:lnTo>
                  <a:lnTo>
                    <a:pt x="1700" y="1851"/>
                  </a:lnTo>
                  <a:lnTo>
                    <a:pt x="1704" y="1859"/>
                  </a:lnTo>
                  <a:lnTo>
                    <a:pt x="1705" y="1866"/>
                  </a:lnTo>
                  <a:lnTo>
                    <a:pt x="1704" y="1873"/>
                  </a:lnTo>
                  <a:lnTo>
                    <a:pt x="1700" y="1879"/>
                  </a:lnTo>
                  <a:lnTo>
                    <a:pt x="1693" y="1885"/>
                  </a:lnTo>
                  <a:lnTo>
                    <a:pt x="1684" y="1891"/>
                  </a:lnTo>
                  <a:lnTo>
                    <a:pt x="1676" y="1899"/>
                  </a:lnTo>
                  <a:lnTo>
                    <a:pt x="1668" y="1906"/>
                  </a:lnTo>
                  <a:lnTo>
                    <a:pt x="1661" y="1914"/>
                  </a:lnTo>
                  <a:lnTo>
                    <a:pt x="1648" y="1931"/>
                  </a:lnTo>
                  <a:lnTo>
                    <a:pt x="1636" y="1950"/>
                  </a:lnTo>
                  <a:lnTo>
                    <a:pt x="1613" y="1989"/>
                  </a:lnTo>
                  <a:lnTo>
                    <a:pt x="1590" y="2026"/>
                  </a:lnTo>
                  <a:lnTo>
                    <a:pt x="1578" y="2045"/>
                  </a:lnTo>
                  <a:lnTo>
                    <a:pt x="1565" y="2059"/>
                  </a:lnTo>
                  <a:lnTo>
                    <a:pt x="1558" y="2067"/>
                  </a:lnTo>
                  <a:lnTo>
                    <a:pt x="1550" y="2074"/>
                  </a:lnTo>
                  <a:lnTo>
                    <a:pt x="1542" y="2079"/>
                  </a:lnTo>
                  <a:lnTo>
                    <a:pt x="1534" y="2085"/>
                  </a:lnTo>
                  <a:lnTo>
                    <a:pt x="1525" y="2090"/>
                  </a:lnTo>
                  <a:lnTo>
                    <a:pt x="1516" y="2093"/>
                  </a:lnTo>
                  <a:lnTo>
                    <a:pt x="1505" y="2097"/>
                  </a:lnTo>
                  <a:lnTo>
                    <a:pt x="1493" y="2098"/>
                  </a:lnTo>
                  <a:lnTo>
                    <a:pt x="1481" y="2099"/>
                  </a:lnTo>
                  <a:lnTo>
                    <a:pt x="1468" y="2099"/>
                  </a:lnTo>
                  <a:lnTo>
                    <a:pt x="1454" y="2098"/>
                  </a:lnTo>
                  <a:lnTo>
                    <a:pt x="1440" y="2095"/>
                  </a:lnTo>
                  <a:lnTo>
                    <a:pt x="1410" y="2090"/>
                  </a:lnTo>
                  <a:lnTo>
                    <a:pt x="1386" y="2085"/>
                  </a:lnTo>
                  <a:lnTo>
                    <a:pt x="1365" y="2077"/>
                  </a:lnTo>
                  <a:lnTo>
                    <a:pt x="1345" y="2070"/>
                  </a:lnTo>
                  <a:lnTo>
                    <a:pt x="1327" y="2063"/>
                  </a:lnTo>
                  <a:lnTo>
                    <a:pt x="1308" y="2058"/>
                  </a:lnTo>
                  <a:lnTo>
                    <a:pt x="1288" y="2055"/>
                  </a:lnTo>
                  <a:lnTo>
                    <a:pt x="1265" y="2054"/>
                  </a:lnTo>
                  <a:lnTo>
                    <a:pt x="1259" y="2054"/>
                  </a:lnTo>
                  <a:lnTo>
                    <a:pt x="1251" y="2057"/>
                  </a:lnTo>
                  <a:lnTo>
                    <a:pt x="1244" y="2059"/>
                  </a:lnTo>
                  <a:lnTo>
                    <a:pt x="1237" y="2063"/>
                  </a:lnTo>
                  <a:lnTo>
                    <a:pt x="1223" y="2073"/>
                  </a:lnTo>
                  <a:lnTo>
                    <a:pt x="1207" y="2085"/>
                  </a:lnTo>
                  <a:lnTo>
                    <a:pt x="1192" y="2097"/>
                  </a:lnTo>
                  <a:lnTo>
                    <a:pt x="1176" y="2107"/>
                  </a:lnTo>
                  <a:lnTo>
                    <a:pt x="1168" y="2111"/>
                  </a:lnTo>
                  <a:lnTo>
                    <a:pt x="1160" y="2115"/>
                  </a:lnTo>
                  <a:lnTo>
                    <a:pt x="1152" y="2118"/>
                  </a:lnTo>
                  <a:lnTo>
                    <a:pt x="1145" y="2119"/>
                  </a:lnTo>
                  <a:lnTo>
                    <a:pt x="1129" y="2122"/>
                  </a:lnTo>
                  <a:lnTo>
                    <a:pt x="1113" y="2122"/>
                  </a:lnTo>
                  <a:lnTo>
                    <a:pt x="1096" y="2121"/>
                  </a:lnTo>
                  <a:lnTo>
                    <a:pt x="1079" y="2118"/>
                  </a:lnTo>
                  <a:lnTo>
                    <a:pt x="1044" y="2110"/>
                  </a:lnTo>
                  <a:lnTo>
                    <a:pt x="1009" y="2102"/>
                  </a:lnTo>
                  <a:lnTo>
                    <a:pt x="992" y="2098"/>
                  </a:lnTo>
                  <a:lnTo>
                    <a:pt x="976" y="2095"/>
                  </a:lnTo>
                  <a:lnTo>
                    <a:pt x="961" y="2094"/>
                  </a:lnTo>
                  <a:lnTo>
                    <a:pt x="948" y="2094"/>
                  </a:lnTo>
                  <a:lnTo>
                    <a:pt x="941" y="2095"/>
                  </a:lnTo>
                  <a:lnTo>
                    <a:pt x="936" y="2097"/>
                  </a:lnTo>
                  <a:lnTo>
                    <a:pt x="931" y="2099"/>
                  </a:lnTo>
                  <a:lnTo>
                    <a:pt x="925" y="2102"/>
                  </a:lnTo>
                  <a:lnTo>
                    <a:pt x="920" y="2105"/>
                  </a:lnTo>
                  <a:lnTo>
                    <a:pt x="916" y="2109"/>
                  </a:lnTo>
                  <a:lnTo>
                    <a:pt x="913" y="2114"/>
                  </a:lnTo>
                  <a:lnTo>
                    <a:pt x="909" y="2119"/>
                  </a:lnTo>
                  <a:lnTo>
                    <a:pt x="899" y="2147"/>
                  </a:lnTo>
                  <a:lnTo>
                    <a:pt x="883" y="2179"/>
                  </a:lnTo>
                  <a:lnTo>
                    <a:pt x="863" y="2214"/>
                  </a:lnTo>
                  <a:lnTo>
                    <a:pt x="839" y="2252"/>
                  </a:lnTo>
                  <a:lnTo>
                    <a:pt x="809" y="2292"/>
                  </a:lnTo>
                  <a:lnTo>
                    <a:pt x="777" y="2332"/>
                  </a:lnTo>
                  <a:lnTo>
                    <a:pt x="759" y="2354"/>
                  </a:lnTo>
                  <a:lnTo>
                    <a:pt x="740" y="2374"/>
                  </a:lnTo>
                  <a:lnTo>
                    <a:pt x="720" y="2395"/>
                  </a:lnTo>
                  <a:lnTo>
                    <a:pt x="700" y="2415"/>
                  </a:lnTo>
                  <a:lnTo>
                    <a:pt x="677" y="2435"/>
                  </a:lnTo>
                  <a:lnTo>
                    <a:pt x="655" y="2454"/>
                  </a:lnTo>
                  <a:lnTo>
                    <a:pt x="632" y="2472"/>
                  </a:lnTo>
                  <a:lnTo>
                    <a:pt x="607" y="2491"/>
                  </a:lnTo>
                  <a:lnTo>
                    <a:pt x="582" y="2508"/>
                  </a:lnTo>
                  <a:lnTo>
                    <a:pt x="555" y="2526"/>
                  </a:lnTo>
                  <a:lnTo>
                    <a:pt x="527" y="2540"/>
                  </a:lnTo>
                  <a:lnTo>
                    <a:pt x="499" y="2555"/>
                  </a:lnTo>
                  <a:lnTo>
                    <a:pt x="470" y="2568"/>
                  </a:lnTo>
                  <a:lnTo>
                    <a:pt x="440" y="2580"/>
                  </a:lnTo>
                  <a:lnTo>
                    <a:pt x="408" y="2591"/>
                  </a:lnTo>
                  <a:lnTo>
                    <a:pt x="378" y="2600"/>
                  </a:lnTo>
                  <a:lnTo>
                    <a:pt x="344" y="2608"/>
                  </a:lnTo>
                  <a:lnTo>
                    <a:pt x="311" y="2614"/>
                  </a:lnTo>
                  <a:lnTo>
                    <a:pt x="276" y="2618"/>
                  </a:lnTo>
                  <a:lnTo>
                    <a:pt x="242" y="2619"/>
                  </a:lnTo>
                  <a:lnTo>
                    <a:pt x="222" y="2620"/>
                  </a:lnTo>
                  <a:lnTo>
                    <a:pt x="204" y="2619"/>
                  </a:lnTo>
                  <a:lnTo>
                    <a:pt x="187" y="2618"/>
                  </a:lnTo>
                  <a:lnTo>
                    <a:pt x="171" y="2616"/>
                  </a:lnTo>
                  <a:lnTo>
                    <a:pt x="155" y="2614"/>
                  </a:lnTo>
                  <a:lnTo>
                    <a:pt x="140" y="2611"/>
                  </a:lnTo>
                  <a:lnTo>
                    <a:pt x="127" y="2607"/>
                  </a:lnTo>
                  <a:lnTo>
                    <a:pt x="115" y="2603"/>
                  </a:lnTo>
                  <a:lnTo>
                    <a:pt x="92" y="2595"/>
                  </a:lnTo>
                  <a:lnTo>
                    <a:pt x="72" y="2584"/>
                  </a:lnTo>
                  <a:lnTo>
                    <a:pt x="56" y="2574"/>
                  </a:lnTo>
                  <a:lnTo>
                    <a:pt x="42" y="2562"/>
                  </a:lnTo>
                  <a:lnTo>
                    <a:pt x="31" y="2550"/>
                  </a:lnTo>
                  <a:lnTo>
                    <a:pt x="22" y="2539"/>
                  </a:lnTo>
                  <a:lnTo>
                    <a:pt x="14" y="2528"/>
                  </a:lnTo>
                  <a:lnTo>
                    <a:pt x="8" y="2519"/>
                  </a:lnTo>
                  <a:lnTo>
                    <a:pt x="2" y="2504"/>
                  </a:lnTo>
                  <a:lnTo>
                    <a:pt x="0" y="2499"/>
                  </a:lnTo>
                  <a:lnTo>
                    <a:pt x="3" y="2487"/>
                  </a:lnTo>
                  <a:lnTo>
                    <a:pt x="8" y="2476"/>
                  </a:lnTo>
                  <a:lnTo>
                    <a:pt x="14" y="2466"/>
                  </a:lnTo>
                  <a:lnTo>
                    <a:pt x="20" y="2455"/>
                  </a:lnTo>
                  <a:lnTo>
                    <a:pt x="36" y="2436"/>
                  </a:lnTo>
                  <a:lnTo>
                    <a:pt x="54" y="2418"/>
                  </a:lnTo>
                  <a:lnTo>
                    <a:pt x="71" y="2399"/>
                  </a:lnTo>
                  <a:lnTo>
                    <a:pt x="86" y="2380"/>
                  </a:lnTo>
                  <a:lnTo>
                    <a:pt x="92" y="2371"/>
                  </a:lnTo>
                  <a:lnTo>
                    <a:pt x="98" y="2360"/>
                  </a:lnTo>
                  <a:lnTo>
                    <a:pt x="100" y="2348"/>
                  </a:lnTo>
                  <a:lnTo>
                    <a:pt x="103" y="2336"/>
                  </a:lnTo>
                  <a:lnTo>
                    <a:pt x="82" y="2332"/>
                  </a:lnTo>
                  <a:lnTo>
                    <a:pt x="51" y="2326"/>
                  </a:lnTo>
                  <a:lnTo>
                    <a:pt x="43" y="2323"/>
                  </a:lnTo>
                  <a:lnTo>
                    <a:pt x="36" y="2320"/>
                  </a:lnTo>
                  <a:lnTo>
                    <a:pt x="30" y="2316"/>
                  </a:lnTo>
                  <a:lnTo>
                    <a:pt x="24" y="2312"/>
                  </a:lnTo>
                  <a:lnTo>
                    <a:pt x="19" y="2308"/>
                  </a:lnTo>
                  <a:lnTo>
                    <a:pt x="15" y="2302"/>
                  </a:lnTo>
                  <a:lnTo>
                    <a:pt x="14" y="2296"/>
                  </a:lnTo>
                  <a:lnTo>
                    <a:pt x="12" y="2288"/>
                  </a:lnTo>
                  <a:lnTo>
                    <a:pt x="14" y="2274"/>
                  </a:lnTo>
                  <a:lnTo>
                    <a:pt x="18" y="2260"/>
                  </a:lnTo>
                  <a:lnTo>
                    <a:pt x="23" y="2247"/>
                  </a:lnTo>
                  <a:lnTo>
                    <a:pt x="30" y="2235"/>
                  </a:lnTo>
                  <a:lnTo>
                    <a:pt x="46" y="2214"/>
                  </a:lnTo>
                  <a:lnTo>
                    <a:pt x="60" y="2192"/>
                  </a:lnTo>
                  <a:lnTo>
                    <a:pt x="50" y="2183"/>
                  </a:lnTo>
                  <a:lnTo>
                    <a:pt x="38" y="2171"/>
                  </a:lnTo>
                  <a:lnTo>
                    <a:pt x="32" y="2165"/>
                  </a:lnTo>
                  <a:lnTo>
                    <a:pt x="28" y="2158"/>
                  </a:lnTo>
                  <a:lnTo>
                    <a:pt x="26" y="2149"/>
                  </a:lnTo>
                  <a:lnTo>
                    <a:pt x="24" y="2138"/>
                  </a:lnTo>
                  <a:lnTo>
                    <a:pt x="26" y="2131"/>
                  </a:lnTo>
                  <a:lnTo>
                    <a:pt x="27" y="2126"/>
                  </a:lnTo>
                  <a:lnTo>
                    <a:pt x="31" y="2121"/>
                  </a:lnTo>
                  <a:lnTo>
                    <a:pt x="35" y="2117"/>
                  </a:lnTo>
                  <a:lnTo>
                    <a:pt x="42" y="2113"/>
                  </a:lnTo>
                  <a:lnTo>
                    <a:pt x="48" y="2109"/>
                  </a:lnTo>
                  <a:lnTo>
                    <a:pt x="55" y="2106"/>
                  </a:lnTo>
                  <a:lnTo>
                    <a:pt x="64" y="2103"/>
                  </a:lnTo>
                  <a:lnTo>
                    <a:pt x="82" y="2099"/>
                  </a:lnTo>
                  <a:lnTo>
                    <a:pt x="100" y="2098"/>
                  </a:lnTo>
                  <a:lnTo>
                    <a:pt x="120" y="2097"/>
                  </a:lnTo>
                  <a:lnTo>
                    <a:pt x="139" y="2095"/>
                  </a:lnTo>
                  <a:lnTo>
                    <a:pt x="148" y="2095"/>
                  </a:lnTo>
                  <a:lnTo>
                    <a:pt x="156" y="2093"/>
                  </a:lnTo>
                  <a:lnTo>
                    <a:pt x="164" y="2089"/>
                  </a:lnTo>
                  <a:lnTo>
                    <a:pt x="171" y="2085"/>
                  </a:lnTo>
                  <a:lnTo>
                    <a:pt x="182" y="2073"/>
                  </a:lnTo>
                  <a:lnTo>
                    <a:pt x="191" y="2059"/>
                  </a:lnTo>
                  <a:lnTo>
                    <a:pt x="200" y="2046"/>
                  </a:lnTo>
                  <a:lnTo>
                    <a:pt x="212" y="2035"/>
                  </a:lnTo>
                  <a:lnTo>
                    <a:pt x="220" y="2030"/>
                  </a:lnTo>
                  <a:lnTo>
                    <a:pt x="228" y="2027"/>
                  </a:lnTo>
                  <a:lnTo>
                    <a:pt x="236" y="2025"/>
                  </a:lnTo>
                  <a:lnTo>
                    <a:pt x="247" y="2023"/>
                  </a:lnTo>
                  <a:lnTo>
                    <a:pt x="275" y="2025"/>
                  </a:lnTo>
                  <a:lnTo>
                    <a:pt x="303" y="2023"/>
                  </a:lnTo>
                  <a:lnTo>
                    <a:pt x="316" y="2022"/>
                  </a:lnTo>
                  <a:lnTo>
                    <a:pt x="328" y="2018"/>
                  </a:lnTo>
                  <a:lnTo>
                    <a:pt x="335" y="2017"/>
                  </a:lnTo>
                  <a:lnTo>
                    <a:pt x="340" y="2013"/>
                  </a:lnTo>
                  <a:lnTo>
                    <a:pt x="346" y="2010"/>
                  </a:lnTo>
                  <a:lnTo>
                    <a:pt x="350" y="2006"/>
                  </a:lnTo>
                  <a:lnTo>
                    <a:pt x="355" y="1998"/>
                  </a:lnTo>
                  <a:lnTo>
                    <a:pt x="358" y="1991"/>
                  </a:lnTo>
                  <a:lnTo>
                    <a:pt x="359" y="1983"/>
                  </a:lnTo>
                  <a:lnTo>
                    <a:pt x="359" y="1974"/>
                  </a:lnTo>
                  <a:lnTo>
                    <a:pt x="359" y="1966"/>
                  </a:lnTo>
                  <a:lnTo>
                    <a:pt x="360" y="1957"/>
                  </a:lnTo>
                  <a:lnTo>
                    <a:pt x="363" y="1949"/>
                  </a:lnTo>
                  <a:lnTo>
                    <a:pt x="368" y="1939"/>
                  </a:lnTo>
                  <a:lnTo>
                    <a:pt x="390" y="1918"/>
                  </a:lnTo>
                  <a:lnTo>
                    <a:pt x="408" y="1901"/>
                  </a:lnTo>
                  <a:lnTo>
                    <a:pt x="426" y="1882"/>
                  </a:lnTo>
                  <a:lnTo>
                    <a:pt x="442" y="1865"/>
                  </a:lnTo>
                  <a:lnTo>
                    <a:pt x="448" y="1855"/>
                  </a:lnTo>
                  <a:lnTo>
                    <a:pt x="455" y="1845"/>
                  </a:lnTo>
                  <a:lnTo>
                    <a:pt x="462" y="1834"/>
                  </a:lnTo>
                  <a:lnTo>
                    <a:pt x="468" y="1822"/>
                  </a:lnTo>
                  <a:lnTo>
                    <a:pt x="474" y="1809"/>
                  </a:lnTo>
                  <a:lnTo>
                    <a:pt x="479" y="1793"/>
                  </a:lnTo>
                  <a:lnTo>
                    <a:pt x="484" y="1777"/>
                  </a:lnTo>
                  <a:lnTo>
                    <a:pt x="488" y="1758"/>
                  </a:lnTo>
                  <a:lnTo>
                    <a:pt x="500" y="1758"/>
                  </a:lnTo>
                  <a:lnTo>
                    <a:pt x="512" y="1755"/>
                  </a:lnTo>
                  <a:lnTo>
                    <a:pt x="524" y="1753"/>
                  </a:lnTo>
                  <a:lnTo>
                    <a:pt x="536" y="1747"/>
                  </a:lnTo>
                  <a:lnTo>
                    <a:pt x="548" y="1742"/>
                  </a:lnTo>
                  <a:lnTo>
                    <a:pt x="559" y="1735"/>
                  </a:lnTo>
                  <a:lnTo>
                    <a:pt x="571" y="1729"/>
                  </a:lnTo>
                  <a:lnTo>
                    <a:pt x="582" y="1721"/>
                  </a:lnTo>
                  <a:lnTo>
                    <a:pt x="601" y="1703"/>
                  </a:lnTo>
                  <a:lnTo>
                    <a:pt x="620" y="1685"/>
                  </a:lnTo>
                  <a:lnTo>
                    <a:pt x="636" y="1667"/>
                  </a:lnTo>
                  <a:lnTo>
                    <a:pt x="651" y="1650"/>
                  </a:lnTo>
                  <a:lnTo>
                    <a:pt x="667" y="1637"/>
                  </a:lnTo>
                  <a:lnTo>
                    <a:pt x="681" y="1626"/>
                  </a:lnTo>
                  <a:lnTo>
                    <a:pt x="695" y="1614"/>
                  </a:lnTo>
                  <a:lnTo>
                    <a:pt x="705" y="1601"/>
                  </a:lnTo>
                  <a:lnTo>
                    <a:pt x="711" y="1594"/>
                  </a:lnTo>
                  <a:lnTo>
                    <a:pt x="716" y="1588"/>
                  </a:lnTo>
                  <a:lnTo>
                    <a:pt x="720" y="1580"/>
                  </a:lnTo>
                  <a:lnTo>
                    <a:pt x="723" y="1572"/>
                  </a:lnTo>
                  <a:lnTo>
                    <a:pt x="725" y="1562"/>
                  </a:lnTo>
                  <a:lnTo>
                    <a:pt x="728" y="1553"/>
                  </a:lnTo>
                  <a:lnTo>
                    <a:pt x="728" y="1542"/>
                  </a:lnTo>
                  <a:lnTo>
                    <a:pt x="729" y="1530"/>
                  </a:lnTo>
                  <a:lnTo>
                    <a:pt x="728" y="1516"/>
                  </a:lnTo>
                  <a:lnTo>
                    <a:pt x="724" y="1502"/>
                  </a:lnTo>
                  <a:lnTo>
                    <a:pt x="719" y="1490"/>
                  </a:lnTo>
                  <a:lnTo>
                    <a:pt x="712" y="1480"/>
                  </a:lnTo>
                  <a:lnTo>
                    <a:pt x="704" y="1470"/>
                  </a:lnTo>
                  <a:lnTo>
                    <a:pt x="695" y="1462"/>
                  </a:lnTo>
                  <a:lnTo>
                    <a:pt x="685" y="1454"/>
                  </a:lnTo>
                  <a:lnTo>
                    <a:pt x="675" y="1448"/>
                  </a:lnTo>
                  <a:lnTo>
                    <a:pt x="655" y="1433"/>
                  </a:lnTo>
                  <a:lnTo>
                    <a:pt x="637" y="1417"/>
                  </a:lnTo>
                  <a:lnTo>
                    <a:pt x="631" y="1408"/>
                  </a:lnTo>
                  <a:lnTo>
                    <a:pt x="625" y="1397"/>
                  </a:lnTo>
                  <a:lnTo>
                    <a:pt x="621" y="1386"/>
                  </a:lnTo>
                  <a:lnTo>
                    <a:pt x="620" y="1373"/>
                  </a:lnTo>
                  <a:lnTo>
                    <a:pt x="621" y="1366"/>
                  </a:lnTo>
                  <a:lnTo>
                    <a:pt x="623" y="1360"/>
                  </a:lnTo>
                  <a:lnTo>
                    <a:pt x="625" y="1353"/>
                  </a:lnTo>
                  <a:lnTo>
                    <a:pt x="629" y="1349"/>
                  </a:lnTo>
                  <a:lnTo>
                    <a:pt x="639" y="1340"/>
                  </a:lnTo>
                  <a:lnTo>
                    <a:pt x="649" y="1333"/>
                  </a:lnTo>
                  <a:lnTo>
                    <a:pt x="663" y="1326"/>
                  </a:lnTo>
                  <a:lnTo>
                    <a:pt x="673" y="1320"/>
                  </a:lnTo>
                  <a:lnTo>
                    <a:pt x="680" y="1316"/>
                  </a:lnTo>
                  <a:lnTo>
                    <a:pt x="684" y="1312"/>
                  </a:lnTo>
                  <a:lnTo>
                    <a:pt x="689" y="1306"/>
                  </a:lnTo>
                  <a:lnTo>
                    <a:pt x="693" y="1301"/>
                  </a:lnTo>
                  <a:lnTo>
                    <a:pt x="707" y="1269"/>
                  </a:lnTo>
                  <a:lnTo>
                    <a:pt x="720" y="1234"/>
                  </a:lnTo>
                  <a:lnTo>
                    <a:pt x="736" y="1198"/>
                  </a:lnTo>
                  <a:lnTo>
                    <a:pt x="752" y="1161"/>
                  </a:lnTo>
                  <a:lnTo>
                    <a:pt x="760" y="1144"/>
                  </a:lnTo>
                  <a:lnTo>
                    <a:pt x="769" y="1126"/>
                  </a:lnTo>
                  <a:lnTo>
                    <a:pt x="779" y="1109"/>
                  </a:lnTo>
                  <a:lnTo>
                    <a:pt x="789" y="1094"/>
                  </a:lnTo>
                  <a:lnTo>
                    <a:pt x="800" y="1080"/>
                  </a:lnTo>
                  <a:lnTo>
                    <a:pt x="812" y="1068"/>
                  </a:lnTo>
                  <a:lnTo>
                    <a:pt x="824" y="1057"/>
                  </a:lnTo>
                  <a:lnTo>
                    <a:pt x="837" y="1048"/>
                  </a:lnTo>
                  <a:lnTo>
                    <a:pt x="865" y="1032"/>
                  </a:lnTo>
                  <a:lnTo>
                    <a:pt x="893" y="1015"/>
                  </a:lnTo>
                  <a:lnTo>
                    <a:pt x="899" y="1009"/>
                  </a:lnTo>
                  <a:lnTo>
                    <a:pt x="904" y="1004"/>
                  </a:lnTo>
                  <a:lnTo>
                    <a:pt x="909" y="997"/>
                  </a:lnTo>
                  <a:lnTo>
                    <a:pt x="913" y="989"/>
                  </a:lnTo>
                  <a:lnTo>
                    <a:pt x="917" y="980"/>
                  </a:lnTo>
                  <a:lnTo>
                    <a:pt x="920" y="971"/>
                  </a:lnTo>
                  <a:lnTo>
                    <a:pt x="921" y="959"/>
                  </a:lnTo>
                  <a:lnTo>
                    <a:pt x="921" y="945"/>
                  </a:lnTo>
                  <a:lnTo>
                    <a:pt x="921" y="937"/>
                  </a:lnTo>
                  <a:lnTo>
                    <a:pt x="920" y="929"/>
                  </a:lnTo>
                  <a:lnTo>
                    <a:pt x="919" y="923"/>
                  </a:lnTo>
                  <a:lnTo>
                    <a:pt x="916" y="916"/>
                  </a:lnTo>
                  <a:lnTo>
                    <a:pt x="912" y="909"/>
                  </a:lnTo>
                  <a:lnTo>
                    <a:pt x="908" y="904"/>
                  </a:lnTo>
                  <a:lnTo>
                    <a:pt x="904" y="900"/>
                  </a:lnTo>
                  <a:lnTo>
                    <a:pt x="899" y="895"/>
                  </a:lnTo>
                  <a:lnTo>
                    <a:pt x="876" y="879"/>
                  </a:lnTo>
                  <a:lnTo>
                    <a:pt x="849" y="861"/>
                  </a:lnTo>
                  <a:lnTo>
                    <a:pt x="841" y="856"/>
                  </a:lnTo>
                  <a:lnTo>
                    <a:pt x="835" y="851"/>
                  </a:lnTo>
                  <a:lnTo>
                    <a:pt x="828" y="847"/>
                  </a:lnTo>
                  <a:lnTo>
                    <a:pt x="820" y="844"/>
                  </a:lnTo>
                  <a:lnTo>
                    <a:pt x="807" y="841"/>
                  </a:lnTo>
                  <a:lnTo>
                    <a:pt x="793" y="840"/>
                  </a:lnTo>
                  <a:lnTo>
                    <a:pt x="780" y="840"/>
                  </a:lnTo>
                  <a:lnTo>
                    <a:pt x="765" y="839"/>
                  </a:lnTo>
                  <a:lnTo>
                    <a:pt x="748" y="836"/>
                  </a:lnTo>
                  <a:lnTo>
                    <a:pt x="729" y="832"/>
                  </a:lnTo>
                  <a:lnTo>
                    <a:pt x="723" y="817"/>
                  </a:lnTo>
                  <a:lnTo>
                    <a:pt x="707" y="784"/>
                  </a:lnTo>
                  <a:lnTo>
                    <a:pt x="691" y="748"/>
                  </a:lnTo>
                  <a:lnTo>
                    <a:pt x="681" y="723"/>
                  </a:lnTo>
                  <a:lnTo>
                    <a:pt x="673" y="705"/>
                  </a:lnTo>
                  <a:lnTo>
                    <a:pt x="667" y="689"/>
                  </a:lnTo>
                  <a:lnTo>
                    <a:pt x="657" y="675"/>
                  </a:lnTo>
                  <a:lnTo>
                    <a:pt x="649" y="660"/>
                  </a:lnTo>
                  <a:lnTo>
                    <a:pt x="629" y="629"/>
                  </a:lnTo>
                  <a:lnTo>
                    <a:pt x="608" y="596"/>
                  </a:lnTo>
                  <a:lnTo>
                    <a:pt x="601" y="588"/>
                  </a:lnTo>
                  <a:lnTo>
                    <a:pt x="591" y="579"/>
                  </a:lnTo>
                  <a:lnTo>
                    <a:pt x="587" y="573"/>
                  </a:lnTo>
                  <a:lnTo>
                    <a:pt x="583" y="567"/>
                  </a:lnTo>
                  <a:lnTo>
                    <a:pt x="580" y="559"/>
                  </a:lnTo>
                  <a:lnTo>
                    <a:pt x="579" y="548"/>
                  </a:lnTo>
                  <a:lnTo>
                    <a:pt x="578" y="529"/>
                  </a:lnTo>
                  <a:lnTo>
                    <a:pt x="579" y="509"/>
                  </a:lnTo>
                  <a:lnTo>
                    <a:pt x="582" y="501"/>
                  </a:lnTo>
                  <a:lnTo>
                    <a:pt x="587" y="495"/>
                  </a:lnTo>
                  <a:lnTo>
                    <a:pt x="590" y="492"/>
                  </a:lnTo>
                  <a:lnTo>
                    <a:pt x="594" y="489"/>
                  </a:lnTo>
                  <a:lnTo>
                    <a:pt x="598" y="488"/>
                  </a:lnTo>
                  <a:lnTo>
                    <a:pt x="603" y="488"/>
                  </a:lnTo>
                  <a:lnTo>
                    <a:pt x="613" y="489"/>
                  </a:lnTo>
                  <a:lnTo>
                    <a:pt x="621" y="492"/>
                  </a:lnTo>
                  <a:lnTo>
                    <a:pt x="629" y="496"/>
                  </a:lnTo>
                  <a:lnTo>
                    <a:pt x="636" y="500"/>
                  </a:lnTo>
                  <a:lnTo>
                    <a:pt x="644" y="504"/>
                  </a:lnTo>
                  <a:lnTo>
                    <a:pt x="652" y="508"/>
                  </a:lnTo>
                  <a:lnTo>
                    <a:pt x="663" y="511"/>
                  </a:lnTo>
                  <a:lnTo>
                    <a:pt x="675" y="512"/>
                  </a:lnTo>
                  <a:lnTo>
                    <a:pt x="687" y="511"/>
                  </a:lnTo>
                  <a:lnTo>
                    <a:pt x="697" y="508"/>
                  </a:lnTo>
                  <a:lnTo>
                    <a:pt x="708" y="504"/>
                  </a:lnTo>
                  <a:lnTo>
                    <a:pt x="716" y="499"/>
                  </a:lnTo>
                  <a:lnTo>
                    <a:pt x="725" y="492"/>
                  </a:lnTo>
                  <a:lnTo>
                    <a:pt x="733" y="485"/>
                  </a:lnTo>
                  <a:lnTo>
                    <a:pt x="740" y="477"/>
                  </a:lnTo>
                  <a:lnTo>
                    <a:pt x="747" y="468"/>
                  </a:lnTo>
                  <a:lnTo>
                    <a:pt x="760" y="452"/>
                  </a:lnTo>
                  <a:lnTo>
                    <a:pt x="773" y="436"/>
                  </a:lnTo>
                  <a:lnTo>
                    <a:pt x="780" y="430"/>
                  </a:lnTo>
                  <a:lnTo>
                    <a:pt x="787" y="424"/>
                  </a:lnTo>
                  <a:lnTo>
                    <a:pt x="793" y="419"/>
                  </a:lnTo>
                  <a:lnTo>
                    <a:pt x="801" y="416"/>
                  </a:lnTo>
                  <a:lnTo>
                    <a:pt x="796" y="400"/>
                  </a:lnTo>
                  <a:lnTo>
                    <a:pt x="791" y="384"/>
                  </a:lnTo>
                  <a:lnTo>
                    <a:pt x="785" y="368"/>
                  </a:lnTo>
                  <a:lnTo>
                    <a:pt x="783" y="356"/>
                  </a:lnTo>
                  <a:lnTo>
                    <a:pt x="784" y="348"/>
                  </a:lnTo>
                  <a:lnTo>
                    <a:pt x="785" y="342"/>
                  </a:lnTo>
                  <a:lnTo>
                    <a:pt x="788" y="336"/>
                  </a:lnTo>
                  <a:lnTo>
                    <a:pt x="791" y="332"/>
                  </a:lnTo>
                  <a:lnTo>
                    <a:pt x="796" y="324"/>
                  </a:lnTo>
                  <a:lnTo>
                    <a:pt x="801" y="314"/>
                  </a:lnTo>
                  <a:lnTo>
                    <a:pt x="780" y="310"/>
                  </a:lnTo>
                  <a:lnTo>
                    <a:pt x="760" y="306"/>
                  </a:lnTo>
                  <a:lnTo>
                    <a:pt x="740" y="300"/>
                  </a:lnTo>
                  <a:lnTo>
                    <a:pt x="721" y="294"/>
                  </a:lnTo>
                  <a:lnTo>
                    <a:pt x="712" y="291"/>
                  </a:lnTo>
                  <a:lnTo>
                    <a:pt x="704" y="287"/>
                  </a:lnTo>
                  <a:lnTo>
                    <a:pt x="697" y="282"/>
                  </a:lnTo>
                  <a:lnTo>
                    <a:pt x="692" y="276"/>
                  </a:lnTo>
                  <a:lnTo>
                    <a:pt x="687" y="271"/>
                  </a:lnTo>
                  <a:lnTo>
                    <a:pt x="684" y="263"/>
                  </a:lnTo>
                  <a:lnTo>
                    <a:pt x="681" y="256"/>
                  </a:lnTo>
                  <a:lnTo>
                    <a:pt x="681" y="247"/>
                  </a:lnTo>
                  <a:lnTo>
                    <a:pt x="681" y="207"/>
                  </a:lnTo>
                  <a:lnTo>
                    <a:pt x="681" y="162"/>
                  </a:lnTo>
                  <a:lnTo>
                    <a:pt x="681" y="119"/>
                  </a:lnTo>
                  <a:lnTo>
                    <a:pt x="681" y="84"/>
                  </a:lnTo>
                  <a:lnTo>
                    <a:pt x="681" y="80"/>
                  </a:lnTo>
                  <a:lnTo>
                    <a:pt x="683" y="76"/>
                  </a:lnTo>
                  <a:lnTo>
                    <a:pt x="684" y="74"/>
                  </a:lnTo>
                  <a:lnTo>
                    <a:pt x="687" y="71"/>
                  </a:lnTo>
                  <a:lnTo>
                    <a:pt x="692" y="67"/>
                  </a:lnTo>
                  <a:lnTo>
                    <a:pt x="700" y="64"/>
                  </a:lnTo>
                  <a:lnTo>
                    <a:pt x="713" y="62"/>
                  </a:lnTo>
                  <a:lnTo>
                    <a:pt x="723" y="60"/>
                  </a:lnTo>
                  <a:lnTo>
                    <a:pt x="739" y="60"/>
                  </a:lnTo>
                  <a:lnTo>
                    <a:pt x="757" y="60"/>
                  </a:lnTo>
                  <a:lnTo>
                    <a:pt x="776" y="60"/>
                  </a:lnTo>
                  <a:lnTo>
                    <a:pt x="795" y="60"/>
                  </a:lnTo>
                  <a:lnTo>
                    <a:pt x="809" y="59"/>
                  </a:lnTo>
                  <a:lnTo>
                    <a:pt x="823" y="56"/>
                  </a:lnTo>
                  <a:lnTo>
                    <a:pt x="832" y="52"/>
                  </a:lnTo>
                  <a:lnTo>
                    <a:pt x="841" y="46"/>
                  </a:lnTo>
                  <a:lnTo>
                    <a:pt x="860" y="30"/>
                  </a:lnTo>
                  <a:lnTo>
                    <a:pt x="880" y="12"/>
                  </a:lnTo>
                  <a:lnTo>
                    <a:pt x="856" y="0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accent1">
                  <a:lumMod val="20000"/>
                  <a:lumOff val="8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95" b="0" i="0" u="none" strike="noStrike" kern="1200" cap="none" spc="0" normalizeH="0" baseline="0" noProof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1" name="Freeform 43"/>
            <p:cNvSpPr>
              <a:spLocks/>
            </p:cNvSpPr>
            <p:nvPr/>
          </p:nvSpPr>
          <p:spPr bwMode="auto">
            <a:xfrm>
              <a:off x="5125147" y="2469076"/>
              <a:ext cx="60368" cy="93383"/>
            </a:xfrm>
            <a:custGeom>
              <a:avLst/>
              <a:gdLst>
                <a:gd name="T0" fmla="*/ 790 w 837"/>
                <a:gd name="T1" fmla="*/ 101 h 1295"/>
                <a:gd name="T2" fmla="*/ 790 w 837"/>
                <a:gd name="T3" fmla="*/ 157 h 1295"/>
                <a:gd name="T4" fmla="*/ 756 w 837"/>
                <a:gd name="T5" fmla="*/ 197 h 1295"/>
                <a:gd name="T6" fmla="*/ 764 w 837"/>
                <a:gd name="T7" fmla="*/ 258 h 1295"/>
                <a:gd name="T8" fmla="*/ 825 w 837"/>
                <a:gd name="T9" fmla="*/ 459 h 1295"/>
                <a:gd name="T10" fmla="*/ 834 w 837"/>
                <a:gd name="T11" fmla="*/ 529 h 1295"/>
                <a:gd name="T12" fmla="*/ 790 w 837"/>
                <a:gd name="T13" fmla="*/ 617 h 1295"/>
                <a:gd name="T14" fmla="*/ 800 w 837"/>
                <a:gd name="T15" fmla="*/ 686 h 1295"/>
                <a:gd name="T16" fmla="*/ 776 w 837"/>
                <a:gd name="T17" fmla="*/ 724 h 1295"/>
                <a:gd name="T18" fmla="*/ 706 w 837"/>
                <a:gd name="T19" fmla="*/ 728 h 1295"/>
                <a:gd name="T20" fmla="*/ 670 w 837"/>
                <a:gd name="T21" fmla="*/ 759 h 1295"/>
                <a:gd name="T22" fmla="*/ 657 w 837"/>
                <a:gd name="T23" fmla="*/ 828 h 1295"/>
                <a:gd name="T24" fmla="*/ 617 w 837"/>
                <a:gd name="T25" fmla="*/ 907 h 1295"/>
                <a:gd name="T26" fmla="*/ 621 w 837"/>
                <a:gd name="T27" fmla="*/ 982 h 1295"/>
                <a:gd name="T28" fmla="*/ 660 w 837"/>
                <a:gd name="T29" fmla="*/ 1068 h 1295"/>
                <a:gd name="T30" fmla="*/ 652 w 837"/>
                <a:gd name="T31" fmla="*/ 1110 h 1295"/>
                <a:gd name="T32" fmla="*/ 611 w 837"/>
                <a:gd name="T33" fmla="*/ 1182 h 1295"/>
                <a:gd name="T34" fmla="*/ 571 w 837"/>
                <a:gd name="T35" fmla="*/ 1223 h 1295"/>
                <a:gd name="T36" fmla="*/ 465 w 837"/>
                <a:gd name="T37" fmla="*/ 1261 h 1295"/>
                <a:gd name="T38" fmla="*/ 405 w 837"/>
                <a:gd name="T39" fmla="*/ 1293 h 1295"/>
                <a:gd name="T40" fmla="*/ 360 w 837"/>
                <a:gd name="T41" fmla="*/ 1279 h 1295"/>
                <a:gd name="T42" fmla="*/ 312 w 837"/>
                <a:gd name="T43" fmla="*/ 1264 h 1295"/>
                <a:gd name="T44" fmla="*/ 275 w 837"/>
                <a:gd name="T45" fmla="*/ 1253 h 1295"/>
                <a:gd name="T46" fmla="*/ 280 w 837"/>
                <a:gd name="T47" fmla="*/ 1215 h 1295"/>
                <a:gd name="T48" fmla="*/ 328 w 837"/>
                <a:gd name="T49" fmla="*/ 1187 h 1295"/>
                <a:gd name="T50" fmla="*/ 324 w 837"/>
                <a:gd name="T51" fmla="*/ 1164 h 1295"/>
                <a:gd name="T52" fmla="*/ 251 w 837"/>
                <a:gd name="T53" fmla="*/ 1135 h 1295"/>
                <a:gd name="T54" fmla="*/ 204 w 837"/>
                <a:gd name="T55" fmla="*/ 1131 h 1295"/>
                <a:gd name="T56" fmla="*/ 173 w 837"/>
                <a:gd name="T57" fmla="*/ 1118 h 1295"/>
                <a:gd name="T58" fmla="*/ 141 w 837"/>
                <a:gd name="T59" fmla="*/ 1046 h 1295"/>
                <a:gd name="T60" fmla="*/ 96 w 837"/>
                <a:gd name="T61" fmla="*/ 1054 h 1295"/>
                <a:gd name="T62" fmla="*/ 52 w 837"/>
                <a:gd name="T63" fmla="*/ 1063 h 1295"/>
                <a:gd name="T64" fmla="*/ 0 w 837"/>
                <a:gd name="T65" fmla="*/ 1047 h 1295"/>
                <a:gd name="T66" fmla="*/ 45 w 837"/>
                <a:gd name="T67" fmla="*/ 959 h 1295"/>
                <a:gd name="T68" fmla="*/ 19 w 837"/>
                <a:gd name="T69" fmla="*/ 799 h 1295"/>
                <a:gd name="T70" fmla="*/ 20 w 837"/>
                <a:gd name="T71" fmla="*/ 710 h 1295"/>
                <a:gd name="T72" fmla="*/ 29 w 837"/>
                <a:gd name="T73" fmla="*/ 618 h 1295"/>
                <a:gd name="T74" fmla="*/ 45 w 837"/>
                <a:gd name="T75" fmla="*/ 593 h 1295"/>
                <a:gd name="T76" fmla="*/ 91 w 837"/>
                <a:gd name="T77" fmla="*/ 570 h 1295"/>
                <a:gd name="T78" fmla="*/ 99 w 837"/>
                <a:gd name="T79" fmla="*/ 497 h 1295"/>
                <a:gd name="T80" fmla="*/ 171 w 837"/>
                <a:gd name="T81" fmla="*/ 449 h 1295"/>
                <a:gd name="T82" fmla="*/ 241 w 837"/>
                <a:gd name="T83" fmla="*/ 418 h 1295"/>
                <a:gd name="T84" fmla="*/ 243 w 837"/>
                <a:gd name="T85" fmla="*/ 391 h 1295"/>
                <a:gd name="T86" fmla="*/ 203 w 837"/>
                <a:gd name="T87" fmla="*/ 293 h 1295"/>
                <a:gd name="T88" fmla="*/ 167 w 837"/>
                <a:gd name="T89" fmla="*/ 278 h 1295"/>
                <a:gd name="T90" fmla="*/ 148 w 837"/>
                <a:gd name="T91" fmla="*/ 299 h 1295"/>
                <a:gd name="T92" fmla="*/ 117 w 837"/>
                <a:gd name="T93" fmla="*/ 278 h 1295"/>
                <a:gd name="T94" fmla="*/ 120 w 837"/>
                <a:gd name="T95" fmla="*/ 239 h 1295"/>
                <a:gd name="T96" fmla="*/ 153 w 837"/>
                <a:gd name="T97" fmla="*/ 193 h 1295"/>
                <a:gd name="T98" fmla="*/ 152 w 837"/>
                <a:gd name="T99" fmla="*/ 121 h 1295"/>
                <a:gd name="T100" fmla="*/ 219 w 837"/>
                <a:gd name="T101" fmla="*/ 24 h 1295"/>
                <a:gd name="T102" fmla="*/ 271 w 837"/>
                <a:gd name="T103" fmla="*/ 1 h 1295"/>
                <a:gd name="T104" fmla="*/ 288 w 837"/>
                <a:gd name="T105" fmla="*/ 36 h 1295"/>
                <a:gd name="T106" fmla="*/ 272 w 837"/>
                <a:gd name="T107" fmla="*/ 71 h 1295"/>
                <a:gd name="T108" fmla="*/ 280 w 837"/>
                <a:gd name="T109" fmla="*/ 102 h 1295"/>
                <a:gd name="T110" fmla="*/ 437 w 837"/>
                <a:gd name="T111" fmla="*/ 169 h 1295"/>
                <a:gd name="T112" fmla="*/ 495 w 837"/>
                <a:gd name="T113" fmla="*/ 169 h 1295"/>
                <a:gd name="T114" fmla="*/ 545 w 837"/>
                <a:gd name="T115" fmla="*/ 157 h 1295"/>
                <a:gd name="T116" fmla="*/ 619 w 837"/>
                <a:gd name="T117" fmla="*/ 182 h 1295"/>
                <a:gd name="T118" fmla="*/ 686 w 837"/>
                <a:gd name="T119" fmla="*/ 181 h 1295"/>
                <a:gd name="T120" fmla="*/ 745 w 837"/>
                <a:gd name="T121" fmla="*/ 138 h 1295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837"/>
                <a:gd name="T184" fmla="*/ 0 h 1295"/>
                <a:gd name="T185" fmla="*/ 837 w 837"/>
                <a:gd name="T186" fmla="*/ 1295 h 1295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837" h="1295">
                  <a:moveTo>
                    <a:pt x="776" y="90"/>
                  </a:moveTo>
                  <a:lnTo>
                    <a:pt x="780" y="90"/>
                  </a:lnTo>
                  <a:lnTo>
                    <a:pt x="782" y="91"/>
                  </a:lnTo>
                  <a:lnTo>
                    <a:pt x="785" y="93"/>
                  </a:lnTo>
                  <a:lnTo>
                    <a:pt x="786" y="95"/>
                  </a:lnTo>
                  <a:lnTo>
                    <a:pt x="790" y="101"/>
                  </a:lnTo>
                  <a:lnTo>
                    <a:pt x="792" y="109"/>
                  </a:lnTo>
                  <a:lnTo>
                    <a:pt x="794" y="126"/>
                  </a:lnTo>
                  <a:lnTo>
                    <a:pt x="794" y="145"/>
                  </a:lnTo>
                  <a:lnTo>
                    <a:pt x="794" y="149"/>
                  </a:lnTo>
                  <a:lnTo>
                    <a:pt x="793" y="153"/>
                  </a:lnTo>
                  <a:lnTo>
                    <a:pt x="790" y="157"/>
                  </a:lnTo>
                  <a:lnTo>
                    <a:pt x="788" y="159"/>
                  </a:lnTo>
                  <a:lnTo>
                    <a:pt x="781" y="167"/>
                  </a:lnTo>
                  <a:lnTo>
                    <a:pt x="773" y="174"/>
                  </a:lnTo>
                  <a:lnTo>
                    <a:pt x="765" y="182"/>
                  </a:lnTo>
                  <a:lnTo>
                    <a:pt x="758" y="191"/>
                  </a:lnTo>
                  <a:lnTo>
                    <a:pt x="756" y="197"/>
                  </a:lnTo>
                  <a:lnTo>
                    <a:pt x="754" y="202"/>
                  </a:lnTo>
                  <a:lnTo>
                    <a:pt x="753" y="209"/>
                  </a:lnTo>
                  <a:lnTo>
                    <a:pt x="752" y="217"/>
                  </a:lnTo>
                  <a:lnTo>
                    <a:pt x="753" y="230"/>
                  </a:lnTo>
                  <a:lnTo>
                    <a:pt x="758" y="245"/>
                  </a:lnTo>
                  <a:lnTo>
                    <a:pt x="764" y="258"/>
                  </a:lnTo>
                  <a:lnTo>
                    <a:pt x="772" y="273"/>
                  </a:lnTo>
                  <a:lnTo>
                    <a:pt x="788" y="298"/>
                  </a:lnTo>
                  <a:lnTo>
                    <a:pt x="800" y="319"/>
                  </a:lnTo>
                  <a:lnTo>
                    <a:pt x="800" y="422"/>
                  </a:lnTo>
                  <a:lnTo>
                    <a:pt x="813" y="439"/>
                  </a:lnTo>
                  <a:lnTo>
                    <a:pt x="825" y="459"/>
                  </a:lnTo>
                  <a:lnTo>
                    <a:pt x="830" y="470"/>
                  </a:lnTo>
                  <a:lnTo>
                    <a:pt x="833" y="481"/>
                  </a:lnTo>
                  <a:lnTo>
                    <a:pt x="836" y="493"/>
                  </a:lnTo>
                  <a:lnTo>
                    <a:pt x="837" y="506"/>
                  </a:lnTo>
                  <a:lnTo>
                    <a:pt x="836" y="518"/>
                  </a:lnTo>
                  <a:lnTo>
                    <a:pt x="834" y="529"/>
                  </a:lnTo>
                  <a:lnTo>
                    <a:pt x="832" y="539"/>
                  </a:lnTo>
                  <a:lnTo>
                    <a:pt x="828" y="550"/>
                  </a:lnTo>
                  <a:lnTo>
                    <a:pt x="820" y="567"/>
                  </a:lnTo>
                  <a:lnTo>
                    <a:pt x="809" y="585"/>
                  </a:lnTo>
                  <a:lnTo>
                    <a:pt x="800" y="601"/>
                  </a:lnTo>
                  <a:lnTo>
                    <a:pt x="790" y="617"/>
                  </a:lnTo>
                  <a:lnTo>
                    <a:pt x="788" y="625"/>
                  </a:lnTo>
                  <a:lnTo>
                    <a:pt x="785" y="632"/>
                  </a:lnTo>
                  <a:lnTo>
                    <a:pt x="782" y="642"/>
                  </a:lnTo>
                  <a:lnTo>
                    <a:pt x="782" y="650"/>
                  </a:lnTo>
                  <a:lnTo>
                    <a:pt x="792" y="666"/>
                  </a:lnTo>
                  <a:lnTo>
                    <a:pt x="800" y="686"/>
                  </a:lnTo>
                  <a:lnTo>
                    <a:pt x="800" y="698"/>
                  </a:lnTo>
                  <a:lnTo>
                    <a:pt x="797" y="706"/>
                  </a:lnTo>
                  <a:lnTo>
                    <a:pt x="793" y="714"/>
                  </a:lnTo>
                  <a:lnTo>
                    <a:pt x="789" y="718"/>
                  </a:lnTo>
                  <a:lnTo>
                    <a:pt x="782" y="722"/>
                  </a:lnTo>
                  <a:lnTo>
                    <a:pt x="776" y="724"/>
                  </a:lnTo>
                  <a:lnTo>
                    <a:pt x="768" y="726"/>
                  </a:lnTo>
                  <a:lnTo>
                    <a:pt x="760" y="726"/>
                  </a:lnTo>
                  <a:lnTo>
                    <a:pt x="742" y="726"/>
                  </a:lnTo>
                  <a:lnTo>
                    <a:pt x="724" y="726"/>
                  </a:lnTo>
                  <a:lnTo>
                    <a:pt x="716" y="727"/>
                  </a:lnTo>
                  <a:lnTo>
                    <a:pt x="706" y="728"/>
                  </a:lnTo>
                  <a:lnTo>
                    <a:pt x="698" y="731"/>
                  </a:lnTo>
                  <a:lnTo>
                    <a:pt x="692" y="735"/>
                  </a:lnTo>
                  <a:lnTo>
                    <a:pt x="685" y="740"/>
                  </a:lnTo>
                  <a:lnTo>
                    <a:pt x="678" y="746"/>
                  </a:lnTo>
                  <a:lnTo>
                    <a:pt x="674" y="752"/>
                  </a:lnTo>
                  <a:lnTo>
                    <a:pt x="670" y="759"/>
                  </a:lnTo>
                  <a:lnTo>
                    <a:pt x="666" y="772"/>
                  </a:lnTo>
                  <a:lnTo>
                    <a:pt x="664" y="786"/>
                  </a:lnTo>
                  <a:lnTo>
                    <a:pt x="662" y="800"/>
                  </a:lnTo>
                  <a:lnTo>
                    <a:pt x="661" y="815"/>
                  </a:lnTo>
                  <a:lnTo>
                    <a:pt x="658" y="822"/>
                  </a:lnTo>
                  <a:lnTo>
                    <a:pt x="657" y="828"/>
                  </a:lnTo>
                  <a:lnTo>
                    <a:pt x="653" y="836"/>
                  </a:lnTo>
                  <a:lnTo>
                    <a:pt x="649" y="843"/>
                  </a:lnTo>
                  <a:lnTo>
                    <a:pt x="636" y="862"/>
                  </a:lnTo>
                  <a:lnTo>
                    <a:pt x="625" y="883"/>
                  </a:lnTo>
                  <a:lnTo>
                    <a:pt x="620" y="895"/>
                  </a:lnTo>
                  <a:lnTo>
                    <a:pt x="617" y="907"/>
                  </a:lnTo>
                  <a:lnTo>
                    <a:pt x="615" y="920"/>
                  </a:lnTo>
                  <a:lnTo>
                    <a:pt x="613" y="934"/>
                  </a:lnTo>
                  <a:lnTo>
                    <a:pt x="615" y="947"/>
                  </a:lnTo>
                  <a:lnTo>
                    <a:pt x="616" y="960"/>
                  </a:lnTo>
                  <a:lnTo>
                    <a:pt x="619" y="971"/>
                  </a:lnTo>
                  <a:lnTo>
                    <a:pt x="621" y="982"/>
                  </a:lnTo>
                  <a:lnTo>
                    <a:pt x="629" y="1002"/>
                  </a:lnTo>
                  <a:lnTo>
                    <a:pt x="637" y="1018"/>
                  </a:lnTo>
                  <a:lnTo>
                    <a:pt x="646" y="1035"/>
                  </a:lnTo>
                  <a:lnTo>
                    <a:pt x="654" y="1051"/>
                  </a:lnTo>
                  <a:lnTo>
                    <a:pt x="657" y="1060"/>
                  </a:lnTo>
                  <a:lnTo>
                    <a:pt x="660" y="1068"/>
                  </a:lnTo>
                  <a:lnTo>
                    <a:pt x="661" y="1079"/>
                  </a:lnTo>
                  <a:lnTo>
                    <a:pt x="661" y="1090"/>
                  </a:lnTo>
                  <a:lnTo>
                    <a:pt x="661" y="1098"/>
                  </a:lnTo>
                  <a:lnTo>
                    <a:pt x="658" y="1103"/>
                  </a:lnTo>
                  <a:lnTo>
                    <a:pt x="656" y="1107"/>
                  </a:lnTo>
                  <a:lnTo>
                    <a:pt x="652" y="1110"/>
                  </a:lnTo>
                  <a:lnTo>
                    <a:pt x="648" y="1111"/>
                  </a:lnTo>
                  <a:lnTo>
                    <a:pt x="644" y="1114"/>
                  </a:lnTo>
                  <a:lnTo>
                    <a:pt x="640" y="1116"/>
                  </a:lnTo>
                  <a:lnTo>
                    <a:pt x="637" y="1120"/>
                  </a:lnTo>
                  <a:lnTo>
                    <a:pt x="624" y="1155"/>
                  </a:lnTo>
                  <a:lnTo>
                    <a:pt x="611" y="1182"/>
                  </a:lnTo>
                  <a:lnTo>
                    <a:pt x="605" y="1191"/>
                  </a:lnTo>
                  <a:lnTo>
                    <a:pt x="599" y="1200"/>
                  </a:lnTo>
                  <a:lnTo>
                    <a:pt x="593" y="1207"/>
                  </a:lnTo>
                  <a:lnTo>
                    <a:pt x="585" y="1213"/>
                  </a:lnTo>
                  <a:lnTo>
                    <a:pt x="579" y="1219"/>
                  </a:lnTo>
                  <a:lnTo>
                    <a:pt x="571" y="1223"/>
                  </a:lnTo>
                  <a:lnTo>
                    <a:pt x="561" y="1227"/>
                  </a:lnTo>
                  <a:lnTo>
                    <a:pt x="551" y="1232"/>
                  </a:lnTo>
                  <a:lnTo>
                    <a:pt x="525" y="1240"/>
                  </a:lnTo>
                  <a:lnTo>
                    <a:pt x="493" y="1252"/>
                  </a:lnTo>
                  <a:lnTo>
                    <a:pt x="479" y="1256"/>
                  </a:lnTo>
                  <a:lnTo>
                    <a:pt x="465" y="1261"/>
                  </a:lnTo>
                  <a:lnTo>
                    <a:pt x="453" y="1268"/>
                  </a:lnTo>
                  <a:lnTo>
                    <a:pt x="443" y="1276"/>
                  </a:lnTo>
                  <a:lnTo>
                    <a:pt x="431" y="1283"/>
                  </a:lnTo>
                  <a:lnTo>
                    <a:pt x="419" y="1288"/>
                  </a:lnTo>
                  <a:lnTo>
                    <a:pt x="412" y="1291"/>
                  </a:lnTo>
                  <a:lnTo>
                    <a:pt x="405" y="1293"/>
                  </a:lnTo>
                  <a:lnTo>
                    <a:pt x="399" y="1293"/>
                  </a:lnTo>
                  <a:lnTo>
                    <a:pt x="391" y="1295"/>
                  </a:lnTo>
                  <a:lnTo>
                    <a:pt x="383" y="1293"/>
                  </a:lnTo>
                  <a:lnTo>
                    <a:pt x="375" y="1289"/>
                  </a:lnTo>
                  <a:lnTo>
                    <a:pt x="367" y="1285"/>
                  </a:lnTo>
                  <a:lnTo>
                    <a:pt x="360" y="1279"/>
                  </a:lnTo>
                  <a:lnTo>
                    <a:pt x="352" y="1273"/>
                  </a:lnTo>
                  <a:lnTo>
                    <a:pt x="344" y="1269"/>
                  </a:lnTo>
                  <a:lnTo>
                    <a:pt x="335" y="1265"/>
                  </a:lnTo>
                  <a:lnTo>
                    <a:pt x="324" y="1264"/>
                  </a:lnTo>
                  <a:lnTo>
                    <a:pt x="315" y="1264"/>
                  </a:lnTo>
                  <a:lnTo>
                    <a:pt x="312" y="1264"/>
                  </a:lnTo>
                  <a:lnTo>
                    <a:pt x="311" y="1264"/>
                  </a:lnTo>
                  <a:lnTo>
                    <a:pt x="300" y="1264"/>
                  </a:lnTo>
                  <a:lnTo>
                    <a:pt x="293" y="1264"/>
                  </a:lnTo>
                  <a:lnTo>
                    <a:pt x="283" y="1261"/>
                  </a:lnTo>
                  <a:lnTo>
                    <a:pt x="279" y="1259"/>
                  </a:lnTo>
                  <a:lnTo>
                    <a:pt x="275" y="1253"/>
                  </a:lnTo>
                  <a:lnTo>
                    <a:pt x="272" y="1248"/>
                  </a:lnTo>
                  <a:lnTo>
                    <a:pt x="271" y="1240"/>
                  </a:lnTo>
                  <a:lnTo>
                    <a:pt x="271" y="1232"/>
                  </a:lnTo>
                  <a:lnTo>
                    <a:pt x="273" y="1225"/>
                  </a:lnTo>
                  <a:lnTo>
                    <a:pt x="276" y="1220"/>
                  </a:lnTo>
                  <a:lnTo>
                    <a:pt x="280" y="1215"/>
                  </a:lnTo>
                  <a:lnTo>
                    <a:pt x="289" y="1210"/>
                  </a:lnTo>
                  <a:lnTo>
                    <a:pt x="300" y="1204"/>
                  </a:lnTo>
                  <a:lnTo>
                    <a:pt x="312" y="1200"/>
                  </a:lnTo>
                  <a:lnTo>
                    <a:pt x="321" y="1195"/>
                  </a:lnTo>
                  <a:lnTo>
                    <a:pt x="325" y="1192"/>
                  </a:lnTo>
                  <a:lnTo>
                    <a:pt x="328" y="1187"/>
                  </a:lnTo>
                  <a:lnTo>
                    <a:pt x="329" y="1182"/>
                  </a:lnTo>
                  <a:lnTo>
                    <a:pt x="331" y="1174"/>
                  </a:lnTo>
                  <a:lnTo>
                    <a:pt x="331" y="1171"/>
                  </a:lnTo>
                  <a:lnTo>
                    <a:pt x="329" y="1168"/>
                  </a:lnTo>
                  <a:lnTo>
                    <a:pt x="327" y="1166"/>
                  </a:lnTo>
                  <a:lnTo>
                    <a:pt x="324" y="1164"/>
                  </a:lnTo>
                  <a:lnTo>
                    <a:pt x="317" y="1163"/>
                  </a:lnTo>
                  <a:lnTo>
                    <a:pt x="308" y="1162"/>
                  </a:lnTo>
                  <a:lnTo>
                    <a:pt x="289" y="1162"/>
                  </a:lnTo>
                  <a:lnTo>
                    <a:pt x="276" y="1162"/>
                  </a:lnTo>
                  <a:lnTo>
                    <a:pt x="267" y="1154"/>
                  </a:lnTo>
                  <a:lnTo>
                    <a:pt x="251" y="1135"/>
                  </a:lnTo>
                  <a:lnTo>
                    <a:pt x="235" y="1116"/>
                  </a:lnTo>
                  <a:lnTo>
                    <a:pt x="228" y="1108"/>
                  </a:lnTo>
                  <a:lnTo>
                    <a:pt x="220" y="1119"/>
                  </a:lnTo>
                  <a:lnTo>
                    <a:pt x="212" y="1127"/>
                  </a:lnTo>
                  <a:lnTo>
                    <a:pt x="208" y="1130"/>
                  </a:lnTo>
                  <a:lnTo>
                    <a:pt x="204" y="1131"/>
                  </a:lnTo>
                  <a:lnTo>
                    <a:pt x="199" y="1131"/>
                  </a:lnTo>
                  <a:lnTo>
                    <a:pt x="192" y="1132"/>
                  </a:lnTo>
                  <a:lnTo>
                    <a:pt x="185" y="1131"/>
                  </a:lnTo>
                  <a:lnTo>
                    <a:pt x="181" y="1128"/>
                  </a:lnTo>
                  <a:lnTo>
                    <a:pt x="177" y="1123"/>
                  </a:lnTo>
                  <a:lnTo>
                    <a:pt x="173" y="1118"/>
                  </a:lnTo>
                  <a:lnTo>
                    <a:pt x="168" y="1103"/>
                  </a:lnTo>
                  <a:lnTo>
                    <a:pt x="164" y="1087"/>
                  </a:lnTo>
                  <a:lnTo>
                    <a:pt x="159" y="1070"/>
                  </a:lnTo>
                  <a:lnTo>
                    <a:pt x="152" y="1056"/>
                  </a:lnTo>
                  <a:lnTo>
                    <a:pt x="147" y="1050"/>
                  </a:lnTo>
                  <a:lnTo>
                    <a:pt x="141" y="1046"/>
                  </a:lnTo>
                  <a:lnTo>
                    <a:pt x="135" y="1043"/>
                  </a:lnTo>
                  <a:lnTo>
                    <a:pt x="125" y="1042"/>
                  </a:lnTo>
                  <a:lnTo>
                    <a:pt x="117" y="1043"/>
                  </a:lnTo>
                  <a:lnTo>
                    <a:pt x="109" y="1046"/>
                  </a:lnTo>
                  <a:lnTo>
                    <a:pt x="103" y="1050"/>
                  </a:lnTo>
                  <a:lnTo>
                    <a:pt x="96" y="1054"/>
                  </a:lnTo>
                  <a:lnTo>
                    <a:pt x="89" y="1058"/>
                  </a:lnTo>
                  <a:lnTo>
                    <a:pt x="81" y="1062"/>
                  </a:lnTo>
                  <a:lnTo>
                    <a:pt x="75" y="1064"/>
                  </a:lnTo>
                  <a:lnTo>
                    <a:pt x="65" y="1066"/>
                  </a:lnTo>
                  <a:lnTo>
                    <a:pt x="59" y="1064"/>
                  </a:lnTo>
                  <a:lnTo>
                    <a:pt x="52" y="1063"/>
                  </a:lnTo>
                  <a:lnTo>
                    <a:pt x="44" y="1060"/>
                  </a:lnTo>
                  <a:lnTo>
                    <a:pt x="37" y="1056"/>
                  </a:lnTo>
                  <a:lnTo>
                    <a:pt x="29" y="1054"/>
                  </a:lnTo>
                  <a:lnTo>
                    <a:pt x="20" y="1051"/>
                  </a:lnTo>
                  <a:lnTo>
                    <a:pt x="11" y="1048"/>
                  </a:lnTo>
                  <a:lnTo>
                    <a:pt x="0" y="1047"/>
                  </a:lnTo>
                  <a:lnTo>
                    <a:pt x="0" y="1011"/>
                  </a:lnTo>
                  <a:lnTo>
                    <a:pt x="12" y="1003"/>
                  </a:lnTo>
                  <a:lnTo>
                    <a:pt x="23" y="992"/>
                  </a:lnTo>
                  <a:lnTo>
                    <a:pt x="32" y="983"/>
                  </a:lnTo>
                  <a:lnTo>
                    <a:pt x="40" y="971"/>
                  </a:lnTo>
                  <a:lnTo>
                    <a:pt x="45" y="959"/>
                  </a:lnTo>
                  <a:lnTo>
                    <a:pt x="51" y="944"/>
                  </a:lnTo>
                  <a:lnTo>
                    <a:pt x="53" y="928"/>
                  </a:lnTo>
                  <a:lnTo>
                    <a:pt x="53" y="910"/>
                  </a:lnTo>
                  <a:lnTo>
                    <a:pt x="45" y="879"/>
                  </a:lnTo>
                  <a:lnTo>
                    <a:pt x="29" y="826"/>
                  </a:lnTo>
                  <a:lnTo>
                    <a:pt x="19" y="799"/>
                  </a:lnTo>
                  <a:lnTo>
                    <a:pt x="11" y="775"/>
                  </a:lnTo>
                  <a:lnTo>
                    <a:pt x="4" y="759"/>
                  </a:lnTo>
                  <a:lnTo>
                    <a:pt x="0" y="752"/>
                  </a:lnTo>
                  <a:lnTo>
                    <a:pt x="8" y="740"/>
                  </a:lnTo>
                  <a:lnTo>
                    <a:pt x="15" y="726"/>
                  </a:lnTo>
                  <a:lnTo>
                    <a:pt x="20" y="710"/>
                  </a:lnTo>
                  <a:lnTo>
                    <a:pt x="24" y="694"/>
                  </a:lnTo>
                  <a:lnTo>
                    <a:pt x="27" y="676"/>
                  </a:lnTo>
                  <a:lnTo>
                    <a:pt x="28" y="659"/>
                  </a:lnTo>
                  <a:lnTo>
                    <a:pt x="29" y="642"/>
                  </a:lnTo>
                  <a:lnTo>
                    <a:pt x="29" y="626"/>
                  </a:lnTo>
                  <a:lnTo>
                    <a:pt x="29" y="618"/>
                  </a:lnTo>
                  <a:lnTo>
                    <a:pt x="31" y="611"/>
                  </a:lnTo>
                  <a:lnTo>
                    <a:pt x="33" y="606"/>
                  </a:lnTo>
                  <a:lnTo>
                    <a:pt x="36" y="601"/>
                  </a:lnTo>
                  <a:lnTo>
                    <a:pt x="39" y="598"/>
                  </a:lnTo>
                  <a:lnTo>
                    <a:pt x="41" y="595"/>
                  </a:lnTo>
                  <a:lnTo>
                    <a:pt x="45" y="593"/>
                  </a:lnTo>
                  <a:lnTo>
                    <a:pt x="49" y="591"/>
                  </a:lnTo>
                  <a:lnTo>
                    <a:pt x="68" y="589"/>
                  </a:lnTo>
                  <a:lnTo>
                    <a:pt x="84" y="585"/>
                  </a:lnTo>
                  <a:lnTo>
                    <a:pt x="87" y="581"/>
                  </a:lnTo>
                  <a:lnTo>
                    <a:pt x="89" y="575"/>
                  </a:lnTo>
                  <a:lnTo>
                    <a:pt x="91" y="570"/>
                  </a:lnTo>
                  <a:lnTo>
                    <a:pt x="92" y="563"/>
                  </a:lnTo>
                  <a:lnTo>
                    <a:pt x="95" y="550"/>
                  </a:lnTo>
                  <a:lnTo>
                    <a:pt x="95" y="535"/>
                  </a:lnTo>
                  <a:lnTo>
                    <a:pt x="96" y="522"/>
                  </a:lnTo>
                  <a:lnTo>
                    <a:pt x="96" y="507"/>
                  </a:lnTo>
                  <a:lnTo>
                    <a:pt x="99" y="497"/>
                  </a:lnTo>
                  <a:lnTo>
                    <a:pt x="101" y="487"/>
                  </a:lnTo>
                  <a:lnTo>
                    <a:pt x="109" y="478"/>
                  </a:lnTo>
                  <a:lnTo>
                    <a:pt x="120" y="470"/>
                  </a:lnTo>
                  <a:lnTo>
                    <a:pt x="131" y="463"/>
                  </a:lnTo>
                  <a:lnTo>
                    <a:pt x="144" y="458"/>
                  </a:lnTo>
                  <a:lnTo>
                    <a:pt x="171" y="449"/>
                  </a:lnTo>
                  <a:lnTo>
                    <a:pt x="199" y="441"/>
                  </a:lnTo>
                  <a:lnTo>
                    <a:pt x="211" y="437"/>
                  </a:lnTo>
                  <a:lnTo>
                    <a:pt x="221" y="433"/>
                  </a:lnTo>
                  <a:lnTo>
                    <a:pt x="232" y="427"/>
                  </a:lnTo>
                  <a:lnTo>
                    <a:pt x="239" y="422"/>
                  </a:lnTo>
                  <a:lnTo>
                    <a:pt x="241" y="418"/>
                  </a:lnTo>
                  <a:lnTo>
                    <a:pt x="244" y="415"/>
                  </a:lnTo>
                  <a:lnTo>
                    <a:pt x="245" y="411"/>
                  </a:lnTo>
                  <a:lnTo>
                    <a:pt x="247" y="406"/>
                  </a:lnTo>
                  <a:lnTo>
                    <a:pt x="247" y="402"/>
                  </a:lnTo>
                  <a:lnTo>
                    <a:pt x="245" y="397"/>
                  </a:lnTo>
                  <a:lnTo>
                    <a:pt x="243" y="391"/>
                  </a:lnTo>
                  <a:lnTo>
                    <a:pt x="240" y="385"/>
                  </a:lnTo>
                  <a:lnTo>
                    <a:pt x="225" y="349"/>
                  </a:lnTo>
                  <a:lnTo>
                    <a:pt x="213" y="313"/>
                  </a:lnTo>
                  <a:lnTo>
                    <a:pt x="211" y="306"/>
                  </a:lnTo>
                  <a:lnTo>
                    <a:pt x="207" y="298"/>
                  </a:lnTo>
                  <a:lnTo>
                    <a:pt x="203" y="293"/>
                  </a:lnTo>
                  <a:lnTo>
                    <a:pt x="199" y="287"/>
                  </a:lnTo>
                  <a:lnTo>
                    <a:pt x="193" y="283"/>
                  </a:lnTo>
                  <a:lnTo>
                    <a:pt x="188" y="279"/>
                  </a:lnTo>
                  <a:lnTo>
                    <a:pt x="181" y="278"/>
                  </a:lnTo>
                  <a:lnTo>
                    <a:pt x="175" y="277"/>
                  </a:lnTo>
                  <a:lnTo>
                    <a:pt x="167" y="278"/>
                  </a:lnTo>
                  <a:lnTo>
                    <a:pt x="161" y="281"/>
                  </a:lnTo>
                  <a:lnTo>
                    <a:pt x="157" y="285"/>
                  </a:lnTo>
                  <a:lnTo>
                    <a:pt x="155" y="289"/>
                  </a:lnTo>
                  <a:lnTo>
                    <a:pt x="152" y="293"/>
                  </a:lnTo>
                  <a:lnTo>
                    <a:pt x="151" y="297"/>
                  </a:lnTo>
                  <a:lnTo>
                    <a:pt x="148" y="299"/>
                  </a:lnTo>
                  <a:lnTo>
                    <a:pt x="144" y="301"/>
                  </a:lnTo>
                  <a:lnTo>
                    <a:pt x="136" y="299"/>
                  </a:lnTo>
                  <a:lnTo>
                    <a:pt x="129" y="297"/>
                  </a:lnTo>
                  <a:lnTo>
                    <a:pt x="124" y="291"/>
                  </a:lnTo>
                  <a:lnTo>
                    <a:pt x="120" y="285"/>
                  </a:lnTo>
                  <a:lnTo>
                    <a:pt x="117" y="278"/>
                  </a:lnTo>
                  <a:lnTo>
                    <a:pt x="115" y="270"/>
                  </a:lnTo>
                  <a:lnTo>
                    <a:pt x="115" y="265"/>
                  </a:lnTo>
                  <a:lnTo>
                    <a:pt x="113" y="259"/>
                  </a:lnTo>
                  <a:lnTo>
                    <a:pt x="115" y="251"/>
                  </a:lnTo>
                  <a:lnTo>
                    <a:pt x="116" y="245"/>
                  </a:lnTo>
                  <a:lnTo>
                    <a:pt x="120" y="239"/>
                  </a:lnTo>
                  <a:lnTo>
                    <a:pt x="124" y="233"/>
                  </a:lnTo>
                  <a:lnTo>
                    <a:pt x="133" y="223"/>
                  </a:lnTo>
                  <a:lnTo>
                    <a:pt x="143" y="213"/>
                  </a:lnTo>
                  <a:lnTo>
                    <a:pt x="147" y="206"/>
                  </a:lnTo>
                  <a:lnTo>
                    <a:pt x="151" y="199"/>
                  </a:lnTo>
                  <a:lnTo>
                    <a:pt x="153" y="193"/>
                  </a:lnTo>
                  <a:lnTo>
                    <a:pt x="155" y="185"/>
                  </a:lnTo>
                  <a:lnTo>
                    <a:pt x="155" y="175"/>
                  </a:lnTo>
                  <a:lnTo>
                    <a:pt x="153" y="165"/>
                  </a:lnTo>
                  <a:lnTo>
                    <a:pt x="149" y="153"/>
                  </a:lnTo>
                  <a:lnTo>
                    <a:pt x="144" y="138"/>
                  </a:lnTo>
                  <a:lnTo>
                    <a:pt x="152" y="121"/>
                  </a:lnTo>
                  <a:lnTo>
                    <a:pt x="164" y="99"/>
                  </a:lnTo>
                  <a:lnTo>
                    <a:pt x="177" y="75"/>
                  </a:lnTo>
                  <a:lnTo>
                    <a:pt x="193" y="53"/>
                  </a:lnTo>
                  <a:lnTo>
                    <a:pt x="201" y="42"/>
                  </a:lnTo>
                  <a:lnTo>
                    <a:pt x="209" y="33"/>
                  </a:lnTo>
                  <a:lnTo>
                    <a:pt x="219" y="24"/>
                  </a:lnTo>
                  <a:lnTo>
                    <a:pt x="228" y="16"/>
                  </a:lnTo>
                  <a:lnTo>
                    <a:pt x="237" y="9"/>
                  </a:lnTo>
                  <a:lnTo>
                    <a:pt x="247" y="4"/>
                  </a:lnTo>
                  <a:lnTo>
                    <a:pt x="255" y="1"/>
                  </a:lnTo>
                  <a:lnTo>
                    <a:pt x="264" y="0"/>
                  </a:lnTo>
                  <a:lnTo>
                    <a:pt x="271" y="1"/>
                  </a:lnTo>
                  <a:lnTo>
                    <a:pt x="276" y="4"/>
                  </a:lnTo>
                  <a:lnTo>
                    <a:pt x="280" y="9"/>
                  </a:lnTo>
                  <a:lnTo>
                    <a:pt x="283" y="14"/>
                  </a:lnTo>
                  <a:lnTo>
                    <a:pt x="285" y="21"/>
                  </a:lnTo>
                  <a:lnTo>
                    <a:pt x="287" y="28"/>
                  </a:lnTo>
                  <a:lnTo>
                    <a:pt x="288" y="36"/>
                  </a:lnTo>
                  <a:lnTo>
                    <a:pt x="288" y="42"/>
                  </a:lnTo>
                  <a:lnTo>
                    <a:pt x="288" y="50"/>
                  </a:lnTo>
                  <a:lnTo>
                    <a:pt x="285" y="57"/>
                  </a:lnTo>
                  <a:lnTo>
                    <a:pt x="281" y="63"/>
                  </a:lnTo>
                  <a:lnTo>
                    <a:pt x="276" y="67"/>
                  </a:lnTo>
                  <a:lnTo>
                    <a:pt x="272" y="71"/>
                  </a:lnTo>
                  <a:lnTo>
                    <a:pt x="268" y="75"/>
                  </a:lnTo>
                  <a:lnTo>
                    <a:pt x="265" y="79"/>
                  </a:lnTo>
                  <a:lnTo>
                    <a:pt x="264" y="85"/>
                  </a:lnTo>
                  <a:lnTo>
                    <a:pt x="267" y="89"/>
                  </a:lnTo>
                  <a:lnTo>
                    <a:pt x="272" y="95"/>
                  </a:lnTo>
                  <a:lnTo>
                    <a:pt x="280" y="102"/>
                  </a:lnTo>
                  <a:lnTo>
                    <a:pt x="291" y="109"/>
                  </a:lnTo>
                  <a:lnTo>
                    <a:pt x="320" y="123"/>
                  </a:lnTo>
                  <a:lnTo>
                    <a:pt x="353" y="138"/>
                  </a:lnTo>
                  <a:lnTo>
                    <a:pt x="388" y="153"/>
                  </a:lnTo>
                  <a:lnTo>
                    <a:pt x="421" y="163"/>
                  </a:lnTo>
                  <a:lnTo>
                    <a:pt x="437" y="169"/>
                  </a:lnTo>
                  <a:lnTo>
                    <a:pt x="451" y="171"/>
                  </a:lnTo>
                  <a:lnTo>
                    <a:pt x="461" y="174"/>
                  </a:lnTo>
                  <a:lnTo>
                    <a:pt x="469" y="174"/>
                  </a:lnTo>
                  <a:lnTo>
                    <a:pt x="477" y="174"/>
                  </a:lnTo>
                  <a:lnTo>
                    <a:pt x="487" y="171"/>
                  </a:lnTo>
                  <a:lnTo>
                    <a:pt x="495" y="169"/>
                  </a:lnTo>
                  <a:lnTo>
                    <a:pt x="503" y="166"/>
                  </a:lnTo>
                  <a:lnTo>
                    <a:pt x="511" y="162"/>
                  </a:lnTo>
                  <a:lnTo>
                    <a:pt x="519" y="159"/>
                  </a:lnTo>
                  <a:lnTo>
                    <a:pt x="527" y="157"/>
                  </a:lnTo>
                  <a:lnTo>
                    <a:pt x="536" y="157"/>
                  </a:lnTo>
                  <a:lnTo>
                    <a:pt x="545" y="157"/>
                  </a:lnTo>
                  <a:lnTo>
                    <a:pt x="555" y="158"/>
                  </a:lnTo>
                  <a:lnTo>
                    <a:pt x="564" y="161"/>
                  </a:lnTo>
                  <a:lnTo>
                    <a:pt x="572" y="163"/>
                  </a:lnTo>
                  <a:lnTo>
                    <a:pt x="588" y="169"/>
                  </a:lnTo>
                  <a:lnTo>
                    <a:pt x="604" y="175"/>
                  </a:lnTo>
                  <a:lnTo>
                    <a:pt x="619" y="182"/>
                  </a:lnTo>
                  <a:lnTo>
                    <a:pt x="634" y="187"/>
                  </a:lnTo>
                  <a:lnTo>
                    <a:pt x="642" y="189"/>
                  </a:lnTo>
                  <a:lnTo>
                    <a:pt x="650" y="189"/>
                  </a:lnTo>
                  <a:lnTo>
                    <a:pt x="658" y="189"/>
                  </a:lnTo>
                  <a:lnTo>
                    <a:pt x="668" y="186"/>
                  </a:lnTo>
                  <a:lnTo>
                    <a:pt x="686" y="181"/>
                  </a:lnTo>
                  <a:lnTo>
                    <a:pt x="701" y="174"/>
                  </a:lnTo>
                  <a:lnTo>
                    <a:pt x="713" y="169"/>
                  </a:lnTo>
                  <a:lnTo>
                    <a:pt x="724" y="163"/>
                  </a:lnTo>
                  <a:lnTo>
                    <a:pt x="732" y="157"/>
                  </a:lnTo>
                  <a:lnTo>
                    <a:pt x="738" y="149"/>
                  </a:lnTo>
                  <a:lnTo>
                    <a:pt x="745" y="138"/>
                  </a:lnTo>
                  <a:lnTo>
                    <a:pt x="752" y="126"/>
                  </a:lnTo>
                  <a:lnTo>
                    <a:pt x="776" y="90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accent1">
                  <a:lumMod val="20000"/>
                  <a:lumOff val="8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95" b="0" i="0" u="none" strike="noStrike" kern="1200" cap="none" spc="0" normalizeH="0" baseline="0" noProof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2" name="Freeform 44"/>
            <p:cNvSpPr>
              <a:spLocks/>
            </p:cNvSpPr>
            <p:nvPr/>
          </p:nvSpPr>
          <p:spPr bwMode="auto">
            <a:xfrm>
              <a:off x="5041669" y="2475679"/>
              <a:ext cx="65320" cy="46927"/>
            </a:xfrm>
            <a:custGeom>
              <a:avLst/>
              <a:gdLst>
                <a:gd name="T0" fmla="*/ 858 w 909"/>
                <a:gd name="T1" fmla="*/ 601 h 650"/>
                <a:gd name="T2" fmla="*/ 822 w 909"/>
                <a:gd name="T3" fmla="*/ 605 h 650"/>
                <a:gd name="T4" fmla="*/ 805 w 909"/>
                <a:gd name="T5" fmla="*/ 628 h 650"/>
                <a:gd name="T6" fmla="*/ 773 w 909"/>
                <a:gd name="T7" fmla="*/ 632 h 650"/>
                <a:gd name="T8" fmla="*/ 633 w 909"/>
                <a:gd name="T9" fmla="*/ 632 h 650"/>
                <a:gd name="T10" fmla="*/ 545 w 909"/>
                <a:gd name="T11" fmla="*/ 633 h 650"/>
                <a:gd name="T12" fmla="*/ 517 w 909"/>
                <a:gd name="T13" fmla="*/ 645 h 650"/>
                <a:gd name="T14" fmla="*/ 482 w 909"/>
                <a:gd name="T15" fmla="*/ 614 h 650"/>
                <a:gd name="T16" fmla="*/ 457 w 909"/>
                <a:gd name="T17" fmla="*/ 602 h 650"/>
                <a:gd name="T18" fmla="*/ 434 w 909"/>
                <a:gd name="T19" fmla="*/ 605 h 650"/>
                <a:gd name="T20" fmla="*/ 402 w 909"/>
                <a:gd name="T21" fmla="*/ 626 h 650"/>
                <a:gd name="T22" fmla="*/ 378 w 909"/>
                <a:gd name="T23" fmla="*/ 638 h 650"/>
                <a:gd name="T24" fmla="*/ 361 w 909"/>
                <a:gd name="T25" fmla="*/ 630 h 650"/>
                <a:gd name="T26" fmla="*/ 286 w 909"/>
                <a:gd name="T27" fmla="*/ 632 h 650"/>
                <a:gd name="T28" fmla="*/ 237 w 909"/>
                <a:gd name="T29" fmla="*/ 625 h 650"/>
                <a:gd name="T30" fmla="*/ 165 w 909"/>
                <a:gd name="T31" fmla="*/ 600 h 650"/>
                <a:gd name="T32" fmla="*/ 113 w 909"/>
                <a:gd name="T33" fmla="*/ 590 h 650"/>
                <a:gd name="T34" fmla="*/ 128 w 909"/>
                <a:gd name="T35" fmla="*/ 504 h 650"/>
                <a:gd name="T36" fmla="*/ 132 w 909"/>
                <a:gd name="T37" fmla="*/ 459 h 650"/>
                <a:gd name="T38" fmla="*/ 88 w 909"/>
                <a:gd name="T39" fmla="*/ 445 h 650"/>
                <a:gd name="T40" fmla="*/ 63 w 909"/>
                <a:gd name="T41" fmla="*/ 435 h 650"/>
                <a:gd name="T42" fmla="*/ 53 w 909"/>
                <a:gd name="T43" fmla="*/ 412 h 650"/>
                <a:gd name="T44" fmla="*/ 16 w 909"/>
                <a:gd name="T45" fmla="*/ 407 h 650"/>
                <a:gd name="T46" fmla="*/ 20 w 909"/>
                <a:gd name="T47" fmla="*/ 355 h 650"/>
                <a:gd name="T48" fmla="*/ 91 w 909"/>
                <a:gd name="T49" fmla="*/ 275 h 650"/>
                <a:gd name="T50" fmla="*/ 132 w 909"/>
                <a:gd name="T51" fmla="*/ 217 h 650"/>
                <a:gd name="T52" fmla="*/ 144 w 909"/>
                <a:gd name="T53" fmla="*/ 173 h 650"/>
                <a:gd name="T54" fmla="*/ 136 w 909"/>
                <a:gd name="T55" fmla="*/ 67 h 650"/>
                <a:gd name="T56" fmla="*/ 152 w 909"/>
                <a:gd name="T57" fmla="*/ 41 h 650"/>
                <a:gd name="T58" fmla="*/ 183 w 909"/>
                <a:gd name="T59" fmla="*/ 29 h 650"/>
                <a:gd name="T60" fmla="*/ 211 w 909"/>
                <a:gd name="T61" fmla="*/ 4 h 650"/>
                <a:gd name="T62" fmla="*/ 241 w 909"/>
                <a:gd name="T63" fmla="*/ 1 h 650"/>
                <a:gd name="T64" fmla="*/ 310 w 909"/>
                <a:gd name="T65" fmla="*/ 31 h 650"/>
                <a:gd name="T66" fmla="*/ 404 w 909"/>
                <a:gd name="T67" fmla="*/ 88 h 650"/>
                <a:gd name="T68" fmla="*/ 438 w 909"/>
                <a:gd name="T69" fmla="*/ 96 h 650"/>
                <a:gd name="T70" fmla="*/ 461 w 909"/>
                <a:gd name="T71" fmla="*/ 83 h 650"/>
                <a:gd name="T72" fmla="*/ 490 w 909"/>
                <a:gd name="T73" fmla="*/ 59 h 650"/>
                <a:gd name="T74" fmla="*/ 517 w 909"/>
                <a:gd name="T75" fmla="*/ 56 h 650"/>
                <a:gd name="T76" fmla="*/ 553 w 909"/>
                <a:gd name="T77" fmla="*/ 91 h 650"/>
                <a:gd name="T78" fmla="*/ 554 w 909"/>
                <a:gd name="T79" fmla="*/ 160 h 650"/>
                <a:gd name="T80" fmla="*/ 576 w 909"/>
                <a:gd name="T81" fmla="*/ 193 h 650"/>
                <a:gd name="T82" fmla="*/ 605 w 909"/>
                <a:gd name="T83" fmla="*/ 239 h 650"/>
                <a:gd name="T84" fmla="*/ 602 w 909"/>
                <a:gd name="T85" fmla="*/ 276 h 650"/>
                <a:gd name="T86" fmla="*/ 609 w 909"/>
                <a:gd name="T87" fmla="*/ 293 h 650"/>
                <a:gd name="T88" fmla="*/ 636 w 909"/>
                <a:gd name="T89" fmla="*/ 307 h 650"/>
                <a:gd name="T90" fmla="*/ 686 w 909"/>
                <a:gd name="T91" fmla="*/ 312 h 650"/>
                <a:gd name="T92" fmla="*/ 741 w 909"/>
                <a:gd name="T93" fmla="*/ 323 h 650"/>
                <a:gd name="T94" fmla="*/ 770 w 909"/>
                <a:gd name="T95" fmla="*/ 352 h 650"/>
                <a:gd name="T96" fmla="*/ 820 w 909"/>
                <a:gd name="T97" fmla="*/ 436 h 650"/>
                <a:gd name="T98" fmla="*/ 857 w 909"/>
                <a:gd name="T99" fmla="*/ 455 h 650"/>
                <a:gd name="T100" fmla="*/ 882 w 909"/>
                <a:gd name="T101" fmla="*/ 483 h 650"/>
                <a:gd name="T102" fmla="*/ 889 w 909"/>
                <a:gd name="T103" fmla="*/ 540 h 650"/>
                <a:gd name="T104" fmla="*/ 904 w 909"/>
                <a:gd name="T105" fmla="*/ 568 h 65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909"/>
                <a:gd name="T160" fmla="*/ 0 h 650"/>
                <a:gd name="T161" fmla="*/ 909 w 909"/>
                <a:gd name="T162" fmla="*/ 650 h 650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909" h="650">
                  <a:moveTo>
                    <a:pt x="909" y="584"/>
                  </a:moveTo>
                  <a:lnTo>
                    <a:pt x="888" y="593"/>
                  </a:lnTo>
                  <a:lnTo>
                    <a:pt x="869" y="600"/>
                  </a:lnTo>
                  <a:lnTo>
                    <a:pt x="858" y="601"/>
                  </a:lnTo>
                  <a:lnTo>
                    <a:pt x="849" y="601"/>
                  </a:lnTo>
                  <a:lnTo>
                    <a:pt x="837" y="600"/>
                  </a:lnTo>
                  <a:lnTo>
                    <a:pt x="824" y="596"/>
                  </a:lnTo>
                  <a:lnTo>
                    <a:pt x="822" y="605"/>
                  </a:lnTo>
                  <a:lnTo>
                    <a:pt x="818" y="612"/>
                  </a:lnTo>
                  <a:lnTo>
                    <a:pt x="814" y="618"/>
                  </a:lnTo>
                  <a:lnTo>
                    <a:pt x="810" y="624"/>
                  </a:lnTo>
                  <a:lnTo>
                    <a:pt x="805" y="628"/>
                  </a:lnTo>
                  <a:lnTo>
                    <a:pt x="798" y="630"/>
                  </a:lnTo>
                  <a:lnTo>
                    <a:pt x="790" y="632"/>
                  </a:lnTo>
                  <a:lnTo>
                    <a:pt x="782" y="632"/>
                  </a:lnTo>
                  <a:lnTo>
                    <a:pt x="773" y="632"/>
                  </a:lnTo>
                  <a:lnTo>
                    <a:pt x="749" y="632"/>
                  </a:lnTo>
                  <a:lnTo>
                    <a:pt x="714" y="632"/>
                  </a:lnTo>
                  <a:lnTo>
                    <a:pt x="674" y="632"/>
                  </a:lnTo>
                  <a:lnTo>
                    <a:pt x="633" y="632"/>
                  </a:lnTo>
                  <a:lnTo>
                    <a:pt x="597" y="632"/>
                  </a:lnTo>
                  <a:lnTo>
                    <a:pt x="568" y="632"/>
                  </a:lnTo>
                  <a:lnTo>
                    <a:pt x="553" y="632"/>
                  </a:lnTo>
                  <a:lnTo>
                    <a:pt x="545" y="633"/>
                  </a:lnTo>
                  <a:lnTo>
                    <a:pt x="537" y="634"/>
                  </a:lnTo>
                  <a:lnTo>
                    <a:pt x="530" y="637"/>
                  </a:lnTo>
                  <a:lnTo>
                    <a:pt x="525" y="640"/>
                  </a:lnTo>
                  <a:lnTo>
                    <a:pt x="517" y="645"/>
                  </a:lnTo>
                  <a:lnTo>
                    <a:pt x="512" y="650"/>
                  </a:lnTo>
                  <a:lnTo>
                    <a:pt x="501" y="638"/>
                  </a:lnTo>
                  <a:lnTo>
                    <a:pt x="490" y="622"/>
                  </a:lnTo>
                  <a:lnTo>
                    <a:pt x="482" y="614"/>
                  </a:lnTo>
                  <a:lnTo>
                    <a:pt x="474" y="608"/>
                  </a:lnTo>
                  <a:lnTo>
                    <a:pt x="469" y="605"/>
                  </a:lnTo>
                  <a:lnTo>
                    <a:pt x="464" y="604"/>
                  </a:lnTo>
                  <a:lnTo>
                    <a:pt x="457" y="602"/>
                  </a:lnTo>
                  <a:lnTo>
                    <a:pt x="450" y="602"/>
                  </a:lnTo>
                  <a:lnTo>
                    <a:pt x="445" y="602"/>
                  </a:lnTo>
                  <a:lnTo>
                    <a:pt x="440" y="604"/>
                  </a:lnTo>
                  <a:lnTo>
                    <a:pt x="434" y="605"/>
                  </a:lnTo>
                  <a:lnTo>
                    <a:pt x="430" y="608"/>
                  </a:lnTo>
                  <a:lnTo>
                    <a:pt x="421" y="613"/>
                  </a:lnTo>
                  <a:lnTo>
                    <a:pt x="412" y="620"/>
                  </a:lnTo>
                  <a:lnTo>
                    <a:pt x="402" y="626"/>
                  </a:lnTo>
                  <a:lnTo>
                    <a:pt x="393" y="633"/>
                  </a:lnTo>
                  <a:lnTo>
                    <a:pt x="389" y="634"/>
                  </a:lnTo>
                  <a:lnTo>
                    <a:pt x="384" y="637"/>
                  </a:lnTo>
                  <a:lnTo>
                    <a:pt x="378" y="638"/>
                  </a:lnTo>
                  <a:lnTo>
                    <a:pt x="373" y="638"/>
                  </a:lnTo>
                  <a:lnTo>
                    <a:pt x="368" y="637"/>
                  </a:lnTo>
                  <a:lnTo>
                    <a:pt x="364" y="634"/>
                  </a:lnTo>
                  <a:lnTo>
                    <a:pt x="361" y="630"/>
                  </a:lnTo>
                  <a:lnTo>
                    <a:pt x="361" y="626"/>
                  </a:lnTo>
                  <a:lnTo>
                    <a:pt x="312" y="626"/>
                  </a:lnTo>
                  <a:lnTo>
                    <a:pt x="298" y="630"/>
                  </a:lnTo>
                  <a:lnTo>
                    <a:pt x="286" y="632"/>
                  </a:lnTo>
                  <a:lnTo>
                    <a:pt x="273" y="632"/>
                  </a:lnTo>
                  <a:lnTo>
                    <a:pt x="261" y="630"/>
                  </a:lnTo>
                  <a:lnTo>
                    <a:pt x="249" y="629"/>
                  </a:lnTo>
                  <a:lnTo>
                    <a:pt x="237" y="625"/>
                  </a:lnTo>
                  <a:lnTo>
                    <a:pt x="225" y="621"/>
                  </a:lnTo>
                  <a:lnTo>
                    <a:pt x="213" y="617"/>
                  </a:lnTo>
                  <a:lnTo>
                    <a:pt x="189" y="608"/>
                  </a:lnTo>
                  <a:lnTo>
                    <a:pt x="165" y="600"/>
                  </a:lnTo>
                  <a:lnTo>
                    <a:pt x="153" y="596"/>
                  </a:lnTo>
                  <a:lnTo>
                    <a:pt x="140" y="593"/>
                  </a:lnTo>
                  <a:lnTo>
                    <a:pt x="127" y="590"/>
                  </a:lnTo>
                  <a:lnTo>
                    <a:pt x="113" y="590"/>
                  </a:lnTo>
                  <a:lnTo>
                    <a:pt x="108" y="548"/>
                  </a:lnTo>
                  <a:lnTo>
                    <a:pt x="116" y="528"/>
                  </a:lnTo>
                  <a:lnTo>
                    <a:pt x="124" y="512"/>
                  </a:lnTo>
                  <a:lnTo>
                    <a:pt x="128" y="504"/>
                  </a:lnTo>
                  <a:lnTo>
                    <a:pt x="129" y="496"/>
                  </a:lnTo>
                  <a:lnTo>
                    <a:pt x="132" y="487"/>
                  </a:lnTo>
                  <a:lnTo>
                    <a:pt x="132" y="476"/>
                  </a:lnTo>
                  <a:lnTo>
                    <a:pt x="132" y="459"/>
                  </a:lnTo>
                  <a:lnTo>
                    <a:pt x="132" y="445"/>
                  </a:lnTo>
                  <a:lnTo>
                    <a:pt x="116" y="447"/>
                  </a:lnTo>
                  <a:lnTo>
                    <a:pt x="101" y="447"/>
                  </a:lnTo>
                  <a:lnTo>
                    <a:pt x="88" y="445"/>
                  </a:lnTo>
                  <a:lnTo>
                    <a:pt x="77" y="443"/>
                  </a:lnTo>
                  <a:lnTo>
                    <a:pt x="72" y="441"/>
                  </a:lnTo>
                  <a:lnTo>
                    <a:pt x="67" y="439"/>
                  </a:lnTo>
                  <a:lnTo>
                    <a:pt x="63" y="435"/>
                  </a:lnTo>
                  <a:lnTo>
                    <a:pt x="60" y="431"/>
                  </a:lnTo>
                  <a:lnTo>
                    <a:pt x="57" y="425"/>
                  </a:lnTo>
                  <a:lnTo>
                    <a:pt x="55" y="420"/>
                  </a:lnTo>
                  <a:lnTo>
                    <a:pt x="53" y="412"/>
                  </a:lnTo>
                  <a:lnTo>
                    <a:pt x="53" y="404"/>
                  </a:lnTo>
                  <a:lnTo>
                    <a:pt x="41" y="407"/>
                  </a:lnTo>
                  <a:lnTo>
                    <a:pt x="29" y="408"/>
                  </a:lnTo>
                  <a:lnTo>
                    <a:pt x="16" y="407"/>
                  </a:lnTo>
                  <a:lnTo>
                    <a:pt x="0" y="404"/>
                  </a:lnTo>
                  <a:lnTo>
                    <a:pt x="4" y="387"/>
                  </a:lnTo>
                  <a:lnTo>
                    <a:pt x="11" y="371"/>
                  </a:lnTo>
                  <a:lnTo>
                    <a:pt x="20" y="355"/>
                  </a:lnTo>
                  <a:lnTo>
                    <a:pt x="29" y="340"/>
                  </a:lnTo>
                  <a:lnTo>
                    <a:pt x="53" y="313"/>
                  </a:lnTo>
                  <a:lnTo>
                    <a:pt x="79" y="288"/>
                  </a:lnTo>
                  <a:lnTo>
                    <a:pt x="91" y="275"/>
                  </a:lnTo>
                  <a:lnTo>
                    <a:pt x="103" y="261"/>
                  </a:lnTo>
                  <a:lnTo>
                    <a:pt x="115" y="247"/>
                  </a:lnTo>
                  <a:lnTo>
                    <a:pt x="124" y="232"/>
                  </a:lnTo>
                  <a:lnTo>
                    <a:pt x="132" y="217"/>
                  </a:lnTo>
                  <a:lnTo>
                    <a:pt x="139" y="200"/>
                  </a:lnTo>
                  <a:lnTo>
                    <a:pt x="141" y="192"/>
                  </a:lnTo>
                  <a:lnTo>
                    <a:pt x="143" y="183"/>
                  </a:lnTo>
                  <a:lnTo>
                    <a:pt x="144" y="173"/>
                  </a:lnTo>
                  <a:lnTo>
                    <a:pt x="144" y="163"/>
                  </a:lnTo>
                  <a:lnTo>
                    <a:pt x="143" y="133"/>
                  </a:lnTo>
                  <a:lnTo>
                    <a:pt x="140" y="100"/>
                  </a:lnTo>
                  <a:lnTo>
                    <a:pt x="136" y="67"/>
                  </a:lnTo>
                  <a:lnTo>
                    <a:pt x="132" y="36"/>
                  </a:lnTo>
                  <a:lnTo>
                    <a:pt x="137" y="39"/>
                  </a:lnTo>
                  <a:lnTo>
                    <a:pt x="144" y="43"/>
                  </a:lnTo>
                  <a:lnTo>
                    <a:pt x="152" y="41"/>
                  </a:lnTo>
                  <a:lnTo>
                    <a:pt x="160" y="40"/>
                  </a:lnTo>
                  <a:lnTo>
                    <a:pt x="167" y="39"/>
                  </a:lnTo>
                  <a:lnTo>
                    <a:pt x="172" y="36"/>
                  </a:lnTo>
                  <a:lnTo>
                    <a:pt x="183" y="29"/>
                  </a:lnTo>
                  <a:lnTo>
                    <a:pt x="191" y="21"/>
                  </a:lnTo>
                  <a:lnTo>
                    <a:pt x="199" y="13"/>
                  </a:lnTo>
                  <a:lnTo>
                    <a:pt x="207" y="7"/>
                  </a:lnTo>
                  <a:lnTo>
                    <a:pt x="211" y="4"/>
                  </a:lnTo>
                  <a:lnTo>
                    <a:pt x="216" y="1"/>
                  </a:lnTo>
                  <a:lnTo>
                    <a:pt x="221" y="0"/>
                  </a:lnTo>
                  <a:lnTo>
                    <a:pt x="228" y="0"/>
                  </a:lnTo>
                  <a:lnTo>
                    <a:pt x="241" y="1"/>
                  </a:lnTo>
                  <a:lnTo>
                    <a:pt x="255" y="4"/>
                  </a:lnTo>
                  <a:lnTo>
                    <a:pt x="268" y="9"/>
                  </a:lnTo>
                  <a:lnTo>
                    <a:pt x="282" y="15"/>
                  </a:lnTo>
                  <a:lnTo>
                    <a:pt x="310" y="31"/>
                  </a:lnTo>
                  <a:lnTo>
                    <a:pt x="340" y="48"/>
                  </a:lnTo>
                  <a:lnTo>
                    <a:pt x="366" y="65"/>
                  </a:lnTo>
                  <a:lnTo>
                    <a:pt x="392" y="81"/>
                  </a:lnTo>
                  <a:lnTo>
                    <a:pt x="404" y="88"/>
                  </a:lnTo>
                  <a:lnTo>
                    <a:pt x="414" y="92"/>
                  </a:lnTo>
                  <a:lnTo>
                    <a:pt x="424" y="96"/>
                  </a:lnTo>
                  <a:lnTo>
                    <a:pt x="433" y="96"/>
                  </a:lnTo>
                  <a:lnTo>
                    <a:pt x="438" y="96"/>
                  </a:lnTo>
                  <a:lnTo>
                    <a:pt x="444" y="95"/>
                  </a:lnTo>
                  <a:lnTo>
                    <a:pt x="448" y="92"/>
                  </a:lnTo>
                  <a:lnTo>
                    <a:pt x="453" y="89"/>
                  </a:lnTo>
                  <a:lnTo>
                    <a:pt x="461" y="83"/>
                  </a:lnTo>
                  <a:lnTo>
                    <a:pt x="469" y="76"/>
                  </a:lnTo>
                  <a:lnTo>
                    <a:pt x="477" y="68"/>
                  </a:lnTo>
                  <a:lnTo>
                    <a:pt x="485" y="61"/>
                  </a:lnTo>
                  <a:lnTo>
                    <a:pt x="490" y="59"/>
                  </a:lnTo>
                  <a:lnTo>
                    <a:pt x="494" y="56"/>
                  </a:lnTo>
                  <a:lnTo>
                    <a:pt x="500" y="55"/>
                  </a:lnTo>
                  <a:lnTo>
                    <a:pt x="505" y="55"/>
                  </a:lnTo>
                  <a:lnTo>
                    <a:pt x="517" y="56"/>
                  </a:lnTo>
                  <a:lnTo>
                    <a:pt x="529" y="59"/>
                  </a:lnTo>
                  <a:lnTo>
                    <a:pt x="541" y="61"/>
                  </a:lnTo>
                  <a:lnTo>
                    <a:pt x="553" y="67"/>
                  </a:lnTo>
                  <a:lnTo>
                    <a:pt x="553" y="91"/>
                  </a:lnTo>
                  <a:lnTo>
                    <a:pt x="553" y="111"/>
                  </a:lnTo>
                  <a:lnTo>
                    <a:pt x="553" y="128"/>
                  </a:lnTo>
                  <a:lnTo>
                    <a:pt x="553" y="145"/>
                  </a:lnTo>
                  <a:lnTo>
                    <a:pt x="554" y="160"/>
                  </a:lnTo>
                  <a:lnTo>
                    <a:pt x="557" y="172"/>
                  </a:lnTo>
                  <a:lnTo>
                    <a:pt x="562" y="180"/>
                  </a:lnTo>
                  <a:lnTo>
                    <a:pt x="568" y="187"/>
                  </a:lnTo>
                  <a:lnTo>
                    <a:pt x="576" y="193"/>
                  </a:lnTo>
                  <a:lnTo>
                    <a:pt x="584" y="203"/>
                  </a:lnTo>
                  <a:lnTo>
                    <a:pt x="593" y="213"/>
                  </a:lnTo>
                  <a:lnTo>
                    <a:pt x="601" y="229"/>
                  </a:lnTo>
                  <a:lnTo>
                    <a:pt x="605" y="239"/>
                  </a:lnTo>
                  <a:lnTo>
                    <a:pt x="605" y="248"/>
                  </a:lnTo>
                  <a:lnTo>
                    <a:pt x="604" y="257"/>
                  </a:lnTo>
                  <a:lnTo>
                    <a:pt x="602" y="267"/>
                  </a:lnTo>
                  <a:lnTo>
                    <a:pt x="602" y="276"/>
                  </a:lnTo>
                  <a:lnTo>
                    <a:pt x="604" y="283"/>
                  </a:lnTo>
                  <a:lnTo>
                    <a:pt x="605" y="287"/>
                  </a:lnTo>
                  <a:lnTo>
                    <a:pt x="606" y="289"/>
                  </a:lnTo>
                  <a:lnTo>
                    <a:pt x="609" y="293"/>
                  </a:lnTo>
                  <a:lnTo>
                    <a:pt x="613" y="295"/>
                  </a:lnTo>
                  <a:lnTo>
                    <a:pt x="621" y="300"/>
                  </a:lnTo>
                  <a:lnTo>
                    <a:pt x="629" y="304"/>
                  </a:lnTo>
                  <a:lnTo>
                    <a:pt x="636" y="307"/>
                  </a:lnTo>
                  <a:lnTo>
                    <a:pt x="644" y="309"/>
                  </a:lnTo>
                  <a:lnTo>
                    <a:pt x="657" y="312"/>
                  </a:lnTo>
                  <a:lnTo>
                    <a:pt x="672" y="312"/>
                  </a:lnTo>
                  <a:lnTo>
                    <a:pt x="686" y="312"/>
                  </a:lnTo>
                  <a:lnTo>
                    <a:pt x="701" y="312"/>
                  </a:lnTo>
                  <a:lnTo>
                    <a:pt x="717" y="315"/>
                  </a:lnTo>
                  <a:lnTo>
                    <a:pt x="734" y="320"/>
                  </a:lnTo>
                  <a:lnTo>
                    <a:pt x="741" y="323"/>
                  </a:lnTo>
                  <a:lnTo>
                    <a:pt x="749" y="328"/>
                  </a:lnTo>
                  <a:lnTo>
                    <a:pt x="754" y="333"/>
                  </a:lnTo>
                  <a:lnTo>
                    <a:pt x="761" y="339"/>
                  </a:lnTo>
                  <a:lnTo>
                    <a:pt x="770" y="352"/>
                  </a:lnTo>
                  <a:lnTo>
                    <a:pt x="780" y="367"/>
                  </a:lnTo>
                  <a:lnTo>
                    <a:pt x="796" y="399"/>
                  </a:lnTo>
                  <a:lnTo>
                    <a:pt x="812" y="428"/>
                  </a:lnTo>
                  <a:lnTo>
                    <a:pt x="820" y="436"/>
                  </a:lnTo>
                  <a:lnTo>
                    <a:pt x="829" y="443"/>
                  </a:lnTo>
                  <a:lnTo>
                    <a:pt x="838" y="447"/>
                  </a:lnTo>
                  <a:lnTo>
                    <a:pt x="848" y="451"/>
                  </a:lnTo>
                  <a:lnTo>
                    <a:pt x="857" y="455"/>
                  </a:lnTo>
                  <a:lnTo>
                    <a:pt x="865" y="459"/>
                  </a:lnTo>
                  <a:lnTo>
                    <a:pt x="873" y="464"/>
                  </a:lnTo>
                  <a:lnTo>
                    <a:pt x="878" y="469"/>
                  </a:lnTo>
                  <a:lnTo>
                    <a:pt x="882" y="483"/>
                  </a:lnTo>
                  <a:lnTo>
                    <a:pt x="884" y="496"/>
                  </a:lnTo>
                  <a:lnTo>
                    <a:pt x="885" y="511"/>
                  </a:lnTo>
                  <a:lnTo>
                    <a:pt x="886" y="525"/>
                  </a:lnTo>
                  <a:lnTo>
                    <a:pt x="889" y="540"/>
                  </a:lnTo>
                  <a:lnTo>
                    <a:pt x="893" y="553"/>
                  </a:lnTo>
                  <a:lnTo>
                    <a:pt x="896" y="558"/>
                  </a:lnTo>
                  <a:lnTo>
                    <a:pt x="900" y="564"/>
                  </a:lnTo>
                  <a:lnTo>
                    <a:pt x="904" y="568"/>
                  </a:lnTo>
                  <a:lnTo>
                    <a:pt x="909" y="572"/>
                  </a:lnTo>
                  <a:lnTo>
                    <a:pt x="909" y="584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accent1">
                  <a:lumMod val="20000"/>
                  <a:lumOff val="8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95" b="0" i="0" u="none" strike="noStrike" kern="1200" cap="none" spc="0" normalizeH="0" baseline="0" noProof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3" name="Freeform 50"/>
            <p:cNvSpPr>
              <a:spLocks/>
            </p:cNvSpPr>
            <p:nvPr/>
          </p:nvSpPr>
          <p:spPr bwMode="auto">
            <a:xfrm>
              <a:off x="4912914" y="2464596"/>
              <a:ext cx="101400" cy="101872"/>
            </a:xfrm>
            <a:custGeom>
              <a:avLst/>
              <a:gdLst>
                <a:gd name="T0" fmla="*/ 54 w 1409"/>
                <a:gd name="T1" fmla="*/ 511 h 1414"/>
                <a:gd name="T2" fmla="*/ 107 w 1409"/>
                <a:gd name="T3" fmla="*/ 553 h 1414"/>
                <a:gd name="T4" fmla="*/ 192 w 1409"/>
                <a:gd name="T5" fmla="*/ 553 h 1414"/>
                <a:gd name="T6" fmla="*/ 204 w 1409"/>
                <a:gd name="T7" fmla="*/ 609 h 1414"/>
                <a:gd name="T8" fmla="*/ 227 w 1409"/>
                <a:gd name="T9" fmla="*/ 663 h 1414"/>
                <a:gd name="T10" fmla="*/ 304 w 1409"/>
                <a:gd name="T11" fmla="*/ 696 h 1414"/>
                <a:gd name="T12" fmla="*/ 334 w 1409"/>
                <a:gd name="T13" fmla="*/ 830 h 1414"/>
                <a:gd name="T14" fmla="*/ 383 w 1409"/>
                <a:gd name="T15" fmla="*/ 916 h 1414"/>
                <a:gd name="T16" fmla="*/ 435 w 1409"/>
                <a:gd name="T17" fmla="*/ 942 h 1414"/>
                <a:gd name="T18" fmla="*/ 452 w 1409"/>
                <a:gd name="T19" fmla="*/ 1006 h 1414"/>
                <a:gd name="T20" fmla="*/ 492 w 1409"/>
                <a:gd name="T21" fmla="*/ 1052 h 1414"/>
                <a:gd name="T22" fmla="*/ 559 w 1409"/>
                <a:gd name="T23" fmla="*/ 1064 h 1414"/>
                <a:gd name="T24" fmla="*/ 661 w 1409"/>
                <a:gd name="T25" fmla="*/ 1030 h 1414"/>
                <a:gd name="T26" fmla="*/ 735 w 1409"/>
                <a:gd name="T27" fmla="*/ 1048 h 1414"/>
                <a:gd name="T28" fmla="*/ 784 w 1409"/>
                <a:gd name="T29" fmla="*/ 1121 h 1414"/>
                <a:gd name="T30" fmla="*/ 924 w 1409"/>
                <a:gd name="T31" fmla="*/ 1157 h 1414"/>
                <a:gd name="T32" fmla="*/ 987 w 1409"/>
                <a:gd name="T33" fmla="*/ 1309 h 1414"/>
                <a:gd name="T34" fmla="*/ 1040 w 1409"/>
                <a:gd name="T35" fmla="*/ 1346 h 1414"/>
                <a:gd name="T36" fmla="*/ 1099 w 1409"/>
                <a:gd name="T37" fmla="*/ 1331 h 1414"/>
                <a:gd name="T38" fmla="*/ 1159 w 1409"/>
                <a:gd name="T39" fmla="*/ 1338 h 1414"/>
                <a:gd name="T40" fmla="*/ 1229 w 1409"/>
                <a:gd name="T41" fmla="*/ 1414 h 1414"/>
                <a:gd name="T42" fmla="*/ 1332 w 1409"/>
                <a:gd name="T43" fmla="*/ 1399 h 1414"/>
                <a:gd name="T44" fmla="*/ 1393 w 1409"/>
                <a:gd name="T45" fmla="*/ 1343 h 1414"/>
                <a:gd name="T46" fmla="*/ 1400 w 1409"/>
                <a:gd name="T47" fmla="*/ 1270 h 1414"/>
                <a:gd name="T48" fmla="*/ 1350 w 1409"/>
                <a:gd name="T49" fmla="*/ 1241 h 1414"/>
                <a:gd name="T50" fmla="*/ 1336 w 1409"/>
                <a:gd name="T51" fmla="*/ 1206 h 1414"/>
                <a:gd name="T52" fmla="*/ 1324 w 1409"/>
                <a:gd name="T53" fmla="*/ 1177 h 1414"/>
                <a:gd name="T54" fmla="*/ 1279 w 1409"/>
                <a:gd name="T55" fmla="*/ 1156 h 1414"/>
                <a:gd name="T56" fmla="*/ 1292 w 1409"/>
                <a:gd name="T57" fmla="*/ 1097 h 1414"/>
                <a:gd name="T58" fmla="*/ 1260 w 1409"/>
                <a:gd name="T59" fmla="*/ 1064 h 1414"/>
                <a:gd name="T60" fmla="*/ 1318 w 1409"/>
                <a:gd name="T61" fmla="*/ 957 h 1414"/>
                <a:gd name="T62" fmla="*/ 1288 w 1409"/>
                <a:gd name="T63" fmla="*/ 913 h 1414"/>
                <a:gd name="T64" fmla="*/ 1205 w 1409"/>
                <a:gd name="T65" fmla="*/ 890 h 1414"/>
                <a:gd name="T66" fmla="*/ 1157 w 1409"/>
                <a:gd name="T67" fmla="*/ 885 h 1414"/>
                <a:gd name="T68" fmla="*/ 1063 w 1409"/>
                <a:gd name="T69" fmla="*/ 969 h 1414"/>
                <a:gd name="T70" fmla="*/ 1004 w 1409"/>
                <a:gd name="T71" fmla="*/ 976 h 1414"/>
                <a:gd name="T72" fmla="*/ 943 w 1409"/>
                <a:gd name="T73" fmla="*/ 924 h 1414"/>
                <a:gd name="T74" fmla="*/ 895 w 1409"/>
                <a:gd name="T75" fmla="*/ 933 h 1414"/>
                <a:gd name="T76" fmla="*/ 824 w 1409"/>
                <a:gd name="T77" fmla="*/ 917 h 1414"/>
                <a:gd name="T78" fmla="*/ 792 w 1409"/>
                <a:gd name="T79" fmla="*/ 872 h 1414"/>
                <a:gd name="T80" fmla="*/ 817 w 1409"/>
                <a:gd name="T81" fmla="*/ 832 h 1414"/>
                <a:gd name="T82" fmla="*/ 808 w 1409"/>
                <a:gd name="T83" fmla="*/ 788 h 1414"/>
                <a:gd name="T84" fmla="*/ 783 w 1409"/>
                <a:gd name="T85" fmla="*/ 752 h 1414"/>
                <a:gd name="T86" fmla="*/ 828 w 1409"/>
                <a:gd name="T87" fmla="*/ 718 h 1414"/>
                <a:gd name="T88" fmla="*/ 843 w 1409"/>
                <a:gd name="T89" fmla="*/ 673 h 1414"/>
                <a:gd name="T90" fmla="*/ 795 w 1409"/>
                <a:gd name="T91" fmla="*/ 633 h 1414"/>
                <a:gd name="T92" fmla="*/ 752 w 1409"/>
                <a:gd name="T93" fmla="*/ 656 h 1414"/>
                <a:gd name="T94" fmla="*/ 735 w 1409"/>
                <a:gd name="T95" fmla="*/ 600 h 1414"/>
                <a:gd name="T96" fmla="*/ 720 w 1409"/>
                <a:gd name="T97" fmla="*/ 460 h 1414"/>
                <a:gd name="T98" fmla="*/ 660 w 1409"/>
                <a:gd name="T99" fmla="*/ 332 h 1414"/>
                <a:gd name="T100" fmla="*/ 632 w 1409"/>
                <a:gd name="T101" fmla="*/ 180 h 1414"/>
                <a:gd name="T102" fmla="*/ 585 w 1409"/>
                <a:gd name="T103" fmla="*/ 100 h 1414"/>
                <a:gd name="T104" fmla="*/ 607 w 1409"/>
                <a:gd name="T105" fmla="*/ 51 h 1414"/>
                <a:gd name="T106" fmla="*/ 569 w 1409"/>
                <a:gd name="T107" fmla="*/ 10 h 1414"/>
                <a:gd name="T108" fmla="*/ 518 w 1409"/>
                <a:gd name="T109" fmla="*/ 11 h 1414"/>
                <a:gd name="T110" fmla="*/ 507 w 1409"/>
                <a:gd name="T111" fmla="*/ 72 h 1414"/>
                <a:gd name="T112" fmla="*/ 480 w 1409"/>
                <a:gd name="T113" fmla="*/ 111 h 1414"/>
                <a:gd name="T114" fmla="*/ 426 w 1409"/>
                <a:gd name="T115" fmla="*/ 145 h 1414"/>
                <a:gd name="T116" fmla="*/ 362 w 1409"/>
                <a:gd name="T117" fmla="*/ 237 h 1414"/>
                <a:gd name="T118" fmla="*/ 290 w 1409"/>
                <a:gd name="T119" fmla="*/ 265 h 1414"/>
                <a:gd name="T120" fmla="*/ 223 w 1409"/>
                <a:gd name="T121" fmla="*/ 309 h 1414"/>
                <a:gd name="T122" fmla="*/ 100 w 1409"/>
                <a:gd name="T123" fmla="*/ 396 h 1414"/>
                <a:gd name="T124" fmla="*/ 20 w 1409"/>
                <a:gd name="T125" fmla="*/ 427 h 141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409"/>
                <a:gd name="T190" fmla="*/ 0 h 1414"/>
                <a:gd name="T191" fmla="*/ 1409 w 1409"/>
                <a:gd name="T192" fmla="*/ 1414 h 141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409" h="1414">
                  <a:moveTo>
                    <a:pt x="0" y="457"/>
                  </a:moveTo>
                  <a:lnTo>
                    <a:pt x="10" y="460"/>
                  </a:lnTo>
                  <a:lnTo>
                    <a:pt x="19" y="465"/>
                  </a:lnTo>
                  <a:lnTo>
                    <a:pt x="27" y="471"/>
                  </a:lnTo>
                  <a:lnTo>
                    <a:pt x="34" y="477"/>
                  </a:lnTo>
                  <a:lnTo>
                    <a:pt x="44" y="493"/>
                  </a:lnTo>
                  <a:lnTo>
                    <a:pt x="54" y="511"/>
                  </a:lnTo>
                  <a:lnTo>
                    <a:pt x="58" y="519"/>
                  </a:lnTo>
                  <a:lnTo>
                    <a:pt x="64" y="527"/>
                  </a:lnTo>
                  <a:lnTo>
                    <a:pt x="70" y="533"/>
                  </a:lnTo>
                  <a:lnTo>
                    <a:pt x="76" y="540"/>
                  </a:lnTo>
                  <a:lnTo>
                    <a:pt x="86" y="545"/>
                  </a:lnTo>
                  <a:lnTo>
                    <a:pt x="95" y="551"/>
                  </a:lnTo>
                  <a:lnTo>
                    <a:pt x="107" y="553"/>
                  </a:lnTo>
                  <a:lnTo>
                    <a:pt x="120" y="553"/>
                  </a:lnTo>
                  <a:lnTo>
                    <a:pt x="140" y="552"/>
                  </a:lnTo>
                  <a:lnTo>
                    <a:pt x="159" y="549"/>
                  </a:lnTo>
                  <a:lnTo>
                    <a:pt x="167" y="548"/>
                  </a:lnTo>
                  <a:lnTo>
                    <a:pt x="175" y="548"/>
                  </a:lnTo>
                  <a:lnTo>
                    <a:pt x="184" y="551"/>
                  </a:lnTo>
                  <a:lnTo>
                    <a:pt x="192" y="553"/>
                  </a:lnTo>
                  <a:lnTo>
                    <a:pt x="196" y="557"/>
                  </a:lnTo>
                  <a:lnTo>
                    <a:pt x="200" y="561"/>
                  </a:lnTo>
                  <a:lnTo>
                    <a:pt x="202" y="567"/>
                  </a:lnTo>
                  <a:lnTo>
                    <a:pt x="204" y="572"/>
                  </a:lnTo>
                  <a:lnTo>
                    <a:pt x="206" y="584"/>
                  </a:lnTo>
                  <a:lnTo>
                    <a:pt x="206" y="596"/>
                  </a:lnTo>
                  <a:lnTo>
                    <a:pt x="204" y="609"/>
                  </a:lnTo>
                  <a:lnTo>
                    <a:pt x="203" y="623"/>
                  </a:lnTo>
                  <a:lnTo>
                    <a:pt x="203" y="633"/>
                  </a:lnTo>
                  <a:lnTo>
                    <a:pt x="204" y="644"/>
                  </a:lnTo>
                  <a:lnTo>
                    <a:pt x="208" y="651"/>
                  </a:lnTo>
                  <a:lnTo>
                    <a:pt x="212" y="656"/>
                  </a:lnTo>
                  <a:lnTo>
                    <a:pt x="219" y="660"/>
                  </a:lnTo>
                  <a:lnTo>
                    <a:pt x="227" y="663"/>
                  </a:lnTo>
                  <a:lnTo>
                    <a:pt x="244" y="669"/>
                  </a:lnTo>
                  <a:lnTo>
                    <a:pt x="263" y="675"/>
                  </a:lnTo>
                  <a:lnTo>
                    <a:pt x="272" y="677"/>
                  </a:lnTo>
                  <a:lnTo>
                    <a:pt x="282" y="680"/>
                  </a:lnTo>
                  <a:lnTo>
                    <a:pt x="291" y="685"/>
                  </a:lnTo>
                  <a:lnTo>
                    <a:pt x="298" y="689"/>
                  </a:lnTo>
                  <a:lnTo>
                    <a:pt x="304" y="696"/>
                  </a:lnTo>
                  <a:lnTo>
                    <a:pt x="308" y="702"/>
                  </a:lnTo>
                  <a:lnTo>
                    <a:pt x="312" y="712"/>
                  </a:lnTo>
                  <a:lnTo>
                    <a:pt x="314" y="722"/>
                  </a:lnTo>
                  <a:lnTo>
                    <a:pt x="315" y="744"/>
                  </a:lnTo>
                  <a:lnTo>
                    <a:pt x="319" y="770"/>
                  </a:lnTo>
                  <a:lnTo>
                    <a:pt x="326" y="800"/>
                  </a:lnTo>
                  <a:lnTo>
                    <a:pt x="334" y="830"/>
                  </a:lnTo>
                  <a:lnTo>
                    <a:pt x="339" y="845"/>
                  </a:lnTo>
                  <a:lnTo>
                    <a:pt x="346" y="860"/>
                  </a:lnTo>
                  <a:lnTo>
                    <a:pt x="352" y="874"/>
                  </a:lnTo>
                  <a:lnTo>
                    <a:pt x="359" y="886"/>
                  </a:lnTo>
                  <a:lnTo>
                    <a:pt x="366" y="898"/>
                  </a:lnTo>
                  <a:lnTo>
                    <a:pt x="374" y="908"/>
                  </a:lnTo>
                  <a:lnTo>
                    <a:pt x="383" y="916"/>
                  </a:lnTo>
                  <a:lnTo>
                    <a:pt x="391" y="921"/>
                  </a:lnTo>
                  <a:lnTo>
                    <a:pt x="407" y="924"/>
                  </a:lnTo>
                  <a:lnTo>
                    <a:pt x="419" y="929"/>
                  </a:lnTo>
                  <a:lnTo>
                    <a:pt x="424" y="932"/>
                  </a:lnTo>
                  <a:lnTo>
                    <a:pt x="428" y="934"/>
                  </a:lnTo>
                  <a:lnTo>
                    <a:pt x="431" y="938"/>
                  </a:lnTo>
                  <a:lnTo>
                    <a:pt x="435" y="942"/>
                  </a:lnTo>
                  <a:lnTo>
                    <a:pt x="439" y="950"/>
                  </a:lnTo>
                  <a:lnTo>
                    <a:pt x="442" y="960"/>
                  </a:lnTo>
                  <a:lnTo>
                    <a:pt x="443" y="970"/>
                  </a:lnTo>
                  <a:lnTo>
                    <a:pt x="446" y="981"/>
                  </a:lnTo>
                  <a:lnTo>
                    <a:pt x="447" y="990"/>
                  </a:lnTo>
                  <a:lnTo>
                    <a:pt x="450" y="998"/>
                  </a:lnTo>
                  <a:lnTo>
                    <a:pt x="452" y="1006"/>
                  </a:lnTo>
                  <a:lnTo>
                    <a:pt x="456" y="1014"/>
                  </a:lnTo>
                  <a:lnTo>
                    <a:pt x="460" y="1022"/>
                  </a:lnTo>
                  <a:lnTo>
                    <a:pt x="466" y="1029"/>
                  </a:lnTo>
                  <a:lnTo>
                    <a:pt x="472" y="1036"/>
                  </a:lnTo>
                  <a:lnTo>
                    <a:pt x="478" y="1041"/>
                  </a:lnTo>
                  <a:lnTo>
                    <a:pt x="484" y="1046"/>
                  </a:lnTo>
                  <a:lnTo>
                    <a:pt x="492" y="1052"/>
                  </a:lnTo>
                  <a:lnTo>
                    <a:pt x="499" y="1056"/>
                  </a:lnTo>
                  <a:lnTo>
                    <a:pt x="507" y="1060"/>
                  </a:lnTo>
                  <a:lnTo>
                    <a:pt x="516" y="1062"/>
                  </a:lnTo>
                  <a:lnTo>
                    <a:pt x="524" y="1064"/>
                  </a:lnTo>
                  <a:lnTo>
                    <a:pt x="534" y="1065"/>
                  </a:lnTo>
                  <a:lnTo>
                    <a:pt x="541" y="1065"/>
                  </a:lnTo>
                  <a:lnTo>
                    <a:pt x="559" y="1064"/>
                  </a:lnTo>
                  <a:lnTo>
                    <a:pt x="576" y="1060"/>
                  </a:lnTo>
                  <a:lnTo>
                    <a:pt x="592" y="1054"/>
                  </a:lnTo>
                  <a:lnTo>
                    <a:pt x="609" y="1048"/>
                  </a:lnTo>
                  <a:lnTo>
                    <a:pt x="625" y="1041"/>
                  </a:lnTo>
                  <a:lnTo>
                    <a:pt x="643" y="1034"/>
                  </a:lnTo>
                  <a:lnTo>
                    <a:pt x="652" y="1033"/>
                  </a:lnTo>
                  <a:lnTo>
                    <a:pt x="661" y="1030"/>
                  </a:lnTo>
                  <a:lnTo>
                    <a:pt x="671" y="1030"/>
                  </a:lnTo>
                  <a:lnTo>
                    <a:pt x="680" y="1029"/>
                  </a:lnTo>
                  <a:lnTo>
                    <a:pt x="695" y="1030"/>
                  </a:lnTo>
                  <a:lnTo>
                    <a:pt x="708" y="1033"/>
                  </a:lnTo>
                  <a:lnTo>
                    <a:pt x="719" y="1037"/>
                  </a:lnTo>
                  <a:lnTo>
                    <a:pt x="727" y="1042"/>
                  </a:lnTo>
                  <a:lnTo>
                    <a:pt x="735" y="1048"/>
                  </a:lnTo>
                  <a:lnTo>
                    <a:pt x="741" y="1056"/>
                  </a:lnTo>
                  <a:lnTo>
                    <a:pt x="747" y="1064"/>
                  </a:lnTo>
                  <a:lnTo>
                    <a:pt x="752" y="1072"/>
                  </a:lnTo>
                  <a:lnTo>
                    <a:pt x="761" y="1089"/>
                  </a:lnTo>
                  <a:lnTo>
                    <a:pt x="771" y="1105"/>
                  </a:lnTo>
                  <a:lnTo>
                    <a:pt x="777" y="1113"/>
                  </a:lnTo>
                  <a:lnTo>
                    <a:pt x="784" y="1121"/>
                  </a:lnTo>
                  <a:lnTo>
                    <a:pt x="792" y="1126"/>
                  </a:lnTo>
                  <a:lnTo>
                    <a:pt x="801" y="1132"/>
                  </a:lnTo>
                  <a:lnTo>
                    <a:pt x="903" y="1132"/>
                  </a:lnTo>
                  <a:lnTo>
                    <a:pt x="909" y="1137"/>
                  </a:lnTo>
                  <a:lnTo>
                    <a:pt x="915" y="1144"/>
                  </a:lnTo>
                  <a:lnTo>
                    <a:pt x="920" y="1149"/>
                  </a:lnTo>
                  <a:lnTo>
                    <a:pt x="924" y="1157"/>
                  </a:lnTo>
                  <a:lnTo>
                    <a:pt x="932" y="1172"/>
                  </a:lnTo>
                  <a:lnTo>
                    <a:pt x="940" y="1189"/>
                  </a:lnTo>
                  <a:lnTo>
                    <a:pt x="952" y="1224"/>
                  </a:lnTo>
                  <a:lnTo>
                    <a:pt x="964" y="1261"/>
                  </a:lnTo>
                  <a:lnTo>
                    <a:pt x="969" y="1278"/>
                  </a:lnTo>
                  <a:lnTo>
                    <a:pt x="977" y="1294"/>
                  </a:lnTo>
                  <a:lnTo>
                    <a:pt x="987" y="1309"/>
                  </a:lnTo>
                  <a:lnTo>
                    <a:pt x="996" y="1322"/>
                  </a:lnTo>
                  <a:lnTo>
                    <a:pt x="1003" y="1327"/>
                  </a:lnTo>
                  <a:lnTo>
                    <a:pt x="1008" y="1333"/>
                  </a:lnTo>
                  <a:lnTo>
                    <a:pt x="1016" y="1338"/>
                  </a:lnTo>
                  <a:lnTo>
                    <a:pt x="1023" y="1341"/>
                  </a:lnTo>
                  <a:lnTo>
                    <a:pt x="1031" y="1345"/>
                  </a:lnTo>
                  <a:lnTo>
                    <a:pt x="1040" y="1346"/>
                  </a:lnTo>
                  <a:lnTo>
                    <a:pt x="1049" y="1347"/>
                  </a:lnTo>
                  <a:lnTo>
                    <a:pt x="1060" y="1349"/>
                  </a:lnTo>
                  <a:lnTo>
                    <a:pt x="1068" y="1347"/>
                  </a:lnTo>
                  <a:lnTo>
                    <a:pt x="1076" y="1345"/>
                  </a:lnTo>
                  <a:lnTo>
                    <a:pt x="1084" y="1341"/>
                  </a:lnTo>
                  <a:lnTo>
                    <a:pt x="1091" y="1337"/>
                  </a:lnTo>
                  <a:lnTo>
                    <a:pt x="1099" y="1331"/>
                  </a:lnTo>
                  <a:lnTo>
                    <a:pt x="1107" y="1327"/>
                  </a:lnTo>
                  <a:lnTo>
                    <a:pt x="1116" y="1325"/>
                  </a:lnTo>
                  <a:lnTo>
                    <a:pt x="1127" y="1325"/>
                  </a:lnTo>
                  <a:lnTo>
                    <a:pt x="1136" y="1325"/>
                  </a:lnTo>
                  <a:lnTo>
                    <a:pt x="1144" y="1329"/>
                  </a:lnTo>
                  <a:lnTo>
                    <a:pt x="1152" y="1333"/>
                  </a:lnTo>
                  <a:lnTo>
                    <a:pt x="1159" y="1338"/>
                  </a:lnTo>
                  <a:lnTo>
                    <a:pt x="1171" y="1353"/>
                  </a:lnTo>
                  <a:lnTo>
                    <a:pt x="1181" y="1369"/>
                  </a:lnTo>
                  <a:lnTo>
                    <a:pt x="1192" y="1386"/>
                  </a:lnTo>
                  <a:lnTo>
                    <a:pt x="1205" y="1401"/>
                  </a:lnTo>
                  <a:lnTo>
                    <a:pt x="1212" y="1406"/>
                  </a:lnTo>
                  <a:lnTo>
                    <a:pt x="1220" y="1410"/>
                  </a:lnTo>
                  <a:lnTo>
                    <a:pt x="1229" y="1414"/>
                  </a:lnTo>
                  <a:lnTo>
                    <a:pt x="1240" y="1414"/>
                  </a:lnTo>
                  <a:lnTo>
                    <a:pt x="1259" y="1414"/>
                  </a:lnTo>
                  <a:lnTo>
                    <a:pt x="1276" y="1413"/>
                  </a:lnTo>
                  <a:lnTo>
                    <a:pt x="1292" y="1411"/>
                  </a:lnTo>
                  <a:lnTo>
                    <a:pt x="1306" y="1407"/>
                  </a:lnTo>
                  <a:lnTo>
                    <a:pt x="1320" y="1403"/>
                  </a:lnTo>
                  <a:lnTo>
                    <a:pt x="1332" y="1399"/>
                  </a:lnTo>
                  <a:lnTo>
                    <a:pt x="1344" y="1394"/>
                  </a:lnTo>
                  <a:lnTo>
                    <a:pt x="1354" y="1387"/>
                  </a:lnTo>
                  <a:lnTo>
                    <a:pt x="1364" y="1381"/>
                  </a:lnTo>
                  <a:lnTo>
                    <a:pt x="1372" y="1373"/>
                  </a:lnTo>
                  <a:lnTo>
                    <a:pt x="1380" y="1363"/>
                  </a:lnTo>
                  <a:lnTo>
                    <a:pt x="1386" y="1354"/>
                  </a:lnTo>
                  <a:lnTo>
                    <a:pt x="1393" y="1343"/>
                  </a:lnTo>
                  <a:lnTo>
                    <a:pt x="1398" y="1331"/>
                  </a:lnTo>
                  <a:lnTo>
                    <a:pt x="1404" y="1319"/>
                  </a:lnTo>
                  <a:lnTo>
                    <a:pt x="1409" y="1306"/>
                  </a:lnTo>
                  <a:lnTo>
                    <a:pt x="1408" y="1294"/>
                  </a:lnTo>
                  <a:lnTo>
                    <a:pt x="1406" y="1285"/>
                  </a:lnTo>
                  <a:lnTo>
                    <a:pt x="1404" y="1277"/>
                  </a:lnTo>
                  <a:lnTo>
                    <a:pt x="1400" y="1270"/>
                  </a:lnTo>
                  <a:lnTo>
                    <a:pt x="1396" y="1265"/>
                  </a:lnTo>
                  <a:lnTo>
                    <a:pt x="1390" y="1261"/>
                  </a:lnTo>
                  <a:lnTo>
                    <a:pt x="1385" y="1257"/>
                  </a:lnTo>
                  <a:lnTo>
                    <a:pt x="1380" y="1254"/>
                  </a:lnTo>
                  <a:lnTo>
                    <a:pt x="1368" y="1249"/>
                  </a:lnTo>
                  <a:lnTo>
                    <a:pt x="1356" y="1244"/>
                  </a:lnTo>
                  <a:lnTo>
                    <a:pt x="1350" y="1241"/>
                  </a:lnTo>
                  <a:lnTo>
                    <a:pt x="1345" y="1237"/>
                  </a:lnTo>
                  <a:lnTo>
                    <a:pt x="1341" y="1233"/>
                  </a:lnTo>
                  <a:lnTo>
                    <a:pt x="1337" y="1228"/>
                  </a:lnTo>
                  <a:lnTo>
                    <a:pt x="1336" y="1224"/>
                  </a:lnTo>
                  <a:lnTo>
                    <a:pt x="1334" y="1218"/>
                  </a:lnTo>
                  <a:lnTo>
                    <a:pt x="1336" y="1213"/>
                  </a:lnTo>
                  <a:lnTo>
                    <a:pt x="1336" y="1206"/>
                  </a:lnTo>
                  <a:lnTo>
                    <a:pt x="1336" y="1201"/>
                  </a:lnTo>
                  <a:lnTo>
                    <a:pt x="1336" y="1196"/>
                  </a:lnTo>
                  <a:lnTo>
                    <a:pt x="1334" y="1190"/>
                  </a:lnTo>
                  <a:lnTo>
                    <a:pt x="1330" y="1186"/>
                  </a:lnTo>
                  <a:lnTo>
                    <a:pt x="1329" y="1182"/>
                  </a:lnTo>
                  <a:lnTo>
                    <a:pt x="1326" y="1180"/>
                  </a:lnTo>
                  <a:lnTo>
                    <a:pt x="1324" y="1177"/>
                  </a:lnTo>
                  <a:lnTo>
                    <a:pt x="1320" y="1176"/>
                  </a:lnTo>
                  <a:lnTo>
                    <a:pt x="1310" y="1172"/>
                  </a:lnTo>
                  <a:lnTo>
                    <a:pt x="1301" y="1168"/>
                  </a:lnTo>
                  <a:lnTo>
                    <a:pt x="1292" y="1165"/>
                  </a:lnTo>
                  <a:lnTo>
                    <a:pt x="1284" y="1161"/>
                  </a:lnTo>
                  <a:lnTo>
                    <a:pt x="1281" y="1158"/>
                  </a:lnTo>
                  <a:lnTo>
                    <a:pt x="1279" y="1156"/>
                  </a:lnTo>
                  <a:lnTo>
                    <a:pt x="1277" y="1153"/>
                  </a:lnTo>
                  <a:lnTo>
                    <a:pt x="1276" y="1150"/>
                  </a:lnTo>
                  <a:lnTo>
                    <a:pt x="1285" y="1132"/>
                  </a:lnTo>
                  <a:lnTo>
                    <a:pt x="1295" y="1113"/>
                  </a:lnTo>
                  <a:lnTo>
                    <a:pt x="1295" y="1108"/>
                  </a:lnTo>
                  <a:lnTo>
                    <a:pt x="1293" y="1102"/>
                  </a:lnTo>
                  <a:lnTo>
                    <a:pt x="1292" y="1097"/>
                  </a:lnTo>
                  <a:lnTo>
                    <a:pt x="1289" y="1093"/>
                  </a:lnTo>
                  <a:lnTo>
                    <a:pt x="1283" y="1086"/>
                  </a:lnTo>
                  <a:lnTo>
                    <a:pt x="1276" y="1081"/>
                  </a:lnTo>
                  <a:lnTo>
                    <a:pt x="1271" y="1076"/>
                  </a:lnTo>
                  <a:lnTo>
                    <a:pt x="1264" y="1070"/>
                  </a:lnTo>
                  <a:lnTo>
                    <a:pt x="1261" y="1068"/>
                  </a:lnTo>
                  <a:lnTo>
                    <a:pt x="1260" y="1064"/>
                  </a:lnTo>
                  <a:lnTo>
                    <a:pt x="1259" y="1058"/>
                  </a:lnTo>
                  <a:lnTo>
                    <a:pt x="1259" y="1053"/>
                  </a:lnTo>
                  <a:lnTo>
                    <a:pt x="1264" y="1012"/>
                  </a:lnTo>
                  <a:lnTo>
                    <a:pt x="1279" y="998"/>
                  </a:lnTo>
                  <a:lnTo>
                    <a:pt x="1296" y="982"/>
                  </a:lnTo>
                  <a:lnTo>
                    <a:pt x="1312" y="966"/>
                  </a:lnTo>
                  <a:lnTo>
                    <a:pt x="1318" y="957"/>
                  </a:lnTo>
                  <a:lnTo>
                    <a:pt x="1317" y="949"/>
                  </a:lnTo>
                  <a:lnTo>
                    <a:pt x="1316" y="942"/>
                  </a:lnTo>
                  <a:lnTo>
                    <a:pt x="1312" y="936"/>
                  </a:lnTo>
                  <a:lnTo>
                    <a:pt x="1306" y="929"/>
                  </a:lnTo>
                  <a:lnTo>
                    <a:pt x="1301" y="922"/>
                  </a:lnTo>
                  <a:lnTo>
                    <a:pt x="1295" y="917"/>
                  </a:lnTo>
                  <a:lnTo>
                    <a:pt x="1288" y="913"/>
                  </a:lnTo>
                  <a:lnTo>
                    <a:pt x="1280" y="908"/>
                  </a:lnTo>
                  <a:lnTo>
                    <a:pt x="1265" y="901"/>
                  </a:lnTo>
                  <a:lnTo>
                    <a:pt x="1251" y="896"/>
                  </a:lnTo>
                  <a:lnTo>
                    <a:pt x="1237" y="892"/>
                  </a:lnTo>
                  <a:lnTo>
                    <a:pt x="1228" y="890"/>
                  </a:lnTo>
                  <a:lnTo>
                    <a:pt x="1216" y="890"/>
                  </a:lnTo>
                  <a:lnTo>
                    <a:pt x="1205" y="890"/>
                  </a:lnTo>
                  <a:lnTo>
                    <a:pt x="1196" y="890"/>
                  </a:lnTo>
                  <a:lnTo>
                    <a:pt x="1187" y="890"/>
                  </a:lnTo>
                  <a:lnTo>
                    <a:pt x="1173" y="892"/>
                  </a:lnTo>
                  <a:lnTo>
                    <a:pt x="1164" y="892"/>
                  </a:lnTo>
                  <a:lnTo>
                    <a:pt x="1161" y="890"/>
                  </a:lnTo>
                  <a:lnTo>
                    <a:pt x="1159" y="888"/>
                  </a:lnTo>
                  <a:lnTo>
                    <a:pt x="1157" y="885"/>
                  </a:lnTo>
                  <a:lnTo>
                    <a:pt x="1156" y="878"/>
                  </a:lnTo>
                  <a:lnTo>
                    <a:pt x="1143" y="890"/>
                  </a:lnTo>
                  <a:lnTo>
                    <a:pt x="1127" y="905"/>
                  </a:lnTo>
                  <a:lnTo>
                    <a:pt x="1112" y="922"/>
                  </a:lnTo>
                  <a:lnTo>
                    <a:pt x="1095" y="938"/>
                  </a:lnTo>
                  <a:lnTo>
                    <a:pt x="1079" y="956"/>
                  </a:lnTo>
                  <a:lnTo>
                    <a:pt x="1063" y="969"/>
                  </a:lnTo>
                  <a:lnTo>
                    <a:pt x="1053" y="974"/>
                  </a:lnTo>
                  <a:lnTo>
                    <a:pt x="1045" y="978"/>
                  </a:lnTo>
                  <a:lnTo>
                    <a:pt x="1037" y="980"/>
                  </a:lnTo>
                  <a:lnTo>
                    <a:pt x="1029" y="981"/>
                  </a:lnTo>
                  <a:lnTo>
                    <a:pt x="1020" y="981"/>
                  </a:lnTo>
                  <a:lnTo>
                    <a:pt x="1012" y="978"/>
                  </a:lnTo>
                  <a:lnTo>
                    <a:pt x="1004" y="976"/>
                  </a:lnTo>
                  <a:lnTo>
                    <a:pt x="997" y="972"/>
                  </a:lnTo>
                  <a:lnTo>
                    <a:pt x="987" y="962"/>
                  </a:lnTo>
                  <a:lnTo>
                    <a:pt x="976" y="950"/>
                  </a:lnTo>
                  <a:lnTo>
                    <a:pt x="967" y="940"/>
                  </a:lnTo>
                  <a:lnTo>
                    <a:pt x="956" y="930"/>
                  </a:lnTo>
                  <a:lnTo>
                    <a:pt x="949" y="926"/>
                  </a:lnTo>
                  <a:lnTo>
                    <a:pt x="943" y="924"/>
                  </a:lnTo>
                  <a:lnTo>
                    <a:pt x="936" y="921"/>
                  </a:lnTo>
                  <a:lnTo>
                    <a:pt x="927" y="921"/>
                  </a:lnTo>
                  <a:lnTo>
                    <a:pt x="919" y="921"/>
                  </a:lnTo>
                  <a:lnTo>
                    <a:pt x="912" y="924"/>
                  </a:lnTo>
                  <a:lnTo>
                    <a:pt x="905" y="926"/>
                  </a:lnTo>
                  <a:lnTo>
                    <a:pt x="900" y="930"/>
                  </a:lnTo>
                  <a:lnTo>
                    <a:pt x="895" y="933"/>
                  </a:lnTo>
                  <a:lnTo>
                    <a:pt x="888" y="936"/>
                  </a:lnTo>
                  <a:lnTo>
                    <a:pt x="881" y="938"/>
                  </a:lnTo>
                  <a:lnTo>
                    <a:pt x="873" y="938"/>
                  </a:lnTo>
                  <a:lnTo>
                    <a:pt x="864" y="937"/>
                  </a:lnTo>
                  <a:lnTo>
                    <a:pt x="852" y="932"/>
                  </a:lnTo>
                  <a:lnTo>
                    <a:pt x="839" y="925"/>
                  </a:lnTo>
                  <a:lnTo>
                    <a:pt x="824" y="917"/>
                  </a:lnTo>
                  <a:lnTo>
                    <a:pt x="811" y="909"/>
                  </a:lnTo>
                  <a:lnTo>
                    <a:pt x="799" y="901"/>
                  </a:lnTo>
                  <a:lnTo>
                    <a:pt x="792" y="894"/>
                  </a:lnTo>
                  <a:lnTo>
                    <a:pt x="789" y="890"/>
                  </a:lnTo>
                  <a:lnTo>
                    <a:pt x="789" y="884"/>
                  </a:lnTo>
                  <a:lnTo>
                    <a:pt x="789" y="877"/>
                  </a:lnTo>
                  <a:lnTo>
                    <a:pt x="792" y="872"/>
                  </a:lnTo>
                  <a:lnTo>
                    <a:pt x="793" y="868"/>
                  </a:lnTo>
                  <a:lnTo>
                    <a:pt x="799" y="861"/>
                  </a:lnTo>
                  <a:lnTo>
                    <a:pt x="804" y="854"/>
                  </a:lnTo>
                  <a:lnTo>
                    <a:pt x="809" y="849"/>
                  </a:lnTo>
                  <a:lnTo>
                    <a:pt x="815" y="841"/>
                  </a:lnTo>
                  <a:lnTo>
                    <a:pt x="816" y="837"/>
                  </a:lnTo>
                  <a:lnTo>
                    <a:pt x="817" y="832"/>
                  </a:lnTo>
                  <a:lnTo>
                    <a:pt x="819" y="826"/>
                  </a:lnTo>
                  <a:lnTo>
                    <a:pt x="819" y="818"/>
                  </a:lnTo>
                  <a:lnTo>
                    <a:pt x="819" y="812"/>
                  </a:lnTo>
                  <a:lnTo>
                    <a:pt x="817" y="806"/>
                  </a:lnTo>
                  <a:lnTo>
                    <a:pt x="816" y="801"/>
                  </a:lnTo>
                  <a:lnTo>
                    <a:pt x="813" y="796"/>
                  </a:lnTo>
                  <a:lnTo>
                    <a:pt x="808" y="788"/>
                  </a:lnTo>
                  <a:lnTo>
                    <a:pt x="801" y="781"/>
                  </a:lnTo>
                  <a:lnTo>
                    <a:pt x="795" y="774"/>
                  </a:lnTo>
                  <a:lnTo>
                    <a:pt x="788" y="768"/>
                  </a:lnTo>
                  <a:lnTo>
                    <a:pt x="785" y="764"/>
                  </a:lnTo>
                  <a:lnTo>
                    <a:pt x="784" y="761"/>
                  </a:lnTo>
                  <a:lnTo>
                    <a:pt x="783" y="757"/>
                  </a:lnTo>
                  <a:lnTo>
                    <a:pt x="783" y="752"/>
                  </a:lnTo>
                  <a:lnTo>
                    <a:pt x="784" y="746"/>
                  </a:lnTo>
                  <a:lnTo>
                    <a:pt x="785" y="742"/>
                  </a:lnTo>
                  <a:lnTo>
                    <a:pt x="789" y="738"/>
                  </a:lnTo>
                  <a:lnTo>
                    <a:pt x="793" y="736"/>
                  </a:lnTo>
                  <a:lnTo>
                    <a:pt x="804" y="729"/>
                  </a:lnTo>
                  <a:lnTo>
                    <a:pt x="816" y="724"/>
                  </a:lnTo>
                  <a:lnTo>
                    <a:pt x="828" y="718"/>
                  </a:lnTo>
                  <a:lnTo>
                    <a:pt x="839" y="713"/>
                  </a:lnTo>
                  <a:lnTo>
                    <a:pt x="843" y="708"/>
                  </a:lnTo>
                  <a:lnTo>
                    <a:pt x="847" y="704"/>
                  </a:lnTo>
                  <a:lnTo>
                    <a:pt x="848" y="698"/>
                  </a:lnTo>
                  <a:lnTo>
                    <a:pt x="849" y="692"/>
                  </a:lnTo>
                  <a:lnTo>
                    <a:pt x="848" y="683"/>
                  </a:lnTo>
                  <a:lnTo>
                    <a:pt x="843" y="673"/>
                  </a:lnTo>
                  <a:lnTo>
                    <a:pt x="837" y="663"/>
                  </a:lnTo>
                  <a:lnTo>
                    <a:pt x="829" y="653"/>
                  </a:lnTo>
                  <a:lnTo>
                    <a:pt x="821" y="645"/>
                  </a:lnTo>
                  <a:lnTo>
                    <a:pt x="813" y="639"/>
                  </a:lnTo>
                  <a:lnTo>
                    <a:pt x="807" y="633"/>
                  </a:lnTo>
                  <a:lnTo>
                    <a:pt x="801" y="632"/>
                  </a:lnTo>
                  <a:lnTo>
                    <a:pt x="795" y="633"/>
                  </a:lnTo>
                  <a:lnTo>
                    <a:pt x="789" y="636"/>
                  </a:lnTo>
                  <a:lnTo>
                    <a:pt x="784" y="640"/>
                  </a:lnTo>
                  <a:lnTo>
                    <a:pt x="779" y="644"/>
                  </a:lnTo>
                  <a:lnTo>
                    <a:pt x="773" y="648"/>
                  </a:lnTo>
                  <a:lnTo>
                    <a:pt x="768" y="652"/>
                  </a:lnTo>
                  <a:lnTo>
                    <a:pt x="761" y="655"/>
                  </a:lnTo>
                  <a:lnTo>
                    <a:pt x="752" y="656"/>
                  </a:lnTo>
                  <a:lnTo>
                    <a:pt x="747" y="655"/>
                  </a:lnTo>
                  <a:lnTo>
                    <a:pt x="743" y="652"/>
                  </a:lnTo>
                  <a:lnTo>
                    <a:pt x="739" y="647"/>
                  </a:lnTo>
                  <a:lnTo>
                    <a:pt x="737" y="641"/>
                  </a:lnTo>
                  <a:lnTo>
                    <a:pt x="735" y="625"/>
                  </a:lnTo>
                  <a:lnTo>
                    <a:pt x="735" y="608"/>
                  </a:lnTo>
                  <a:lnTo>
                    <a:pt x="735" y="600"/>
                  </a:lnTo>
                  <a:lnTo>
                    <a:pt x="735" y="585"/>
                  </a:lnTo>
                  <a:lnTo>
                    <a:pt x="735" y="569"/>
                  </a:lnTo>
                  <a:lnTo>
                    <a:pt x="735" y="553"/>
                  </a:lnTo>
                  <a:lnTo>
                    <a:pt x="733" y="527"/>
                  </a:lnTo>
                  <a:lnTo>
                    <a:pt x="731" y="503"/>
                  </a:lnTo>
                  <a:lnTo>
                    <a:pt x="725" y="480"/>
                  </a:lnTo>
                  <a:lnTo>
                    <a:pt x="720" y="460"/>
                  </a:lnTo>
                  <a:lnTo>
                    <a:pt x="712" y="440"/>
                  </a:lnTo>
                  <a:lnTo>
                    <a:pt x="704" y="421"/>
                  </a:lnTo>
                  <a:lnTo>
                    <a:pt x="695" y="404"/>
                  </a:lnTo>
                  <a:lnTo>
                    <a:pt x="687" y="387"/>
                  </a:lnTo>
                  <a:lnTo>
                    <a:pt x="677" y="369"/>
                  </a:lnTo>
                  <a:lnTo>
                    <a:pt x="668" y="351"/>
                  </a:lnTo>
                  <a:lnTo>
                    <a:pt x="660" y="332"/>
                  </a:lnTo>
                  <a:lnTo>
                    <a:pt x="653" y="312"/>
                  </a:lnTo>
                  <a:lnTo>
                    <a:pt x="647" y="289"/>
                  </a:lnTo>
                  <a:lnTo>
                    <a:pt x="643" y="265"/>
                  </a:lnTo>
                  <a:lnTo>
                    <a:pt x="639" y="239"/>
                  </a:lnTo>
                  <a:lnTo>
                    <a:pt x="639" y="211"/>
                  </a:lnTo>
                  <a:lnTo>
                    <a:pt x="636" y="196"/>
                  </a:lnTo>
                  <a:lnTo>
                    <a:pt x="632" y="180"/>
                  </a:lnTo>
                  <a:lnTo>
                    <a:pt x="628" y="164"/>
                  </a:lnTo>
                  <a:lnTo>
                    <a:pt x="627" y="151"/>
                  </a:lnTo>
                  <a:lnTo>
                    <a:pt x="615" y="137"/>
                  </a:lnTo>
                  <a:lnTo>
                    <a:pt x="600" y="124"/>
                  </a:lnTo>
                  <a:lnTo>
                    <a:pt x="595" y="117"/>
                  </a:lnTo>
                  <a:lnTo>
                    <a:pt x="589" y="109"/>
                  </a:lnTo>
                  <a:lnTo>
                    <a:pt x="585" y="100"/>
                  </a:lnTo>
                  <a:lnTo>
                    <a:pt x="584" y="90"/>
                  </a:lnTo>
                  <a:lnTo>
                    <a:pt x="585" y="82"/>
                  </a:lnTo>
                  <a:lnTo>
                    <a:pt x="588" y="75"/>
                  </a:lnTo>
                  <a:lnTo>
                    <a:pt x="592" y="68"/>
                  </a:lnTo>
                  <a:lnTo>
                    <a:pt x="597" y="63"/>
                  </a:lnTo>
                  <a:lnTo>
                    <a:pt x="601" y="58"/>
                  </a:lnTo>
                  <a:lnTo>
                    <a:pt x="607" y="51"/>
                  </a:lnTo>
                  <a:lnTo>
                    <a:pt x="611" y="44"/>
                  </a:lnTo>
                  <a:lnTo>
                    <a:pt x="615" y="36"/>
                  </a:lnTo>
                  <a:lnTo>
                    <a:pt x="604" y="32"/>
                  </a:lnTo>
                  <a:lnTo>
                    <a:pt x="595" y="28"/>
                  </a:lnTo>
                  <a:lnTo>
                    <a:pt x="585" y="22"/>
                  </a:lnTo>
                  <a:lnTo>
                    <a:pt x="577" y="15"/>
                  </a:lnTo>
                  <a:lnTo>
                    <a:pt x="569" y="10"/>
                  </a:lnTo>
                  <a:lnTo>
                    <a:pt x="561" y="4"/>
                  </a:lnTo>
                  <a:lnTo>
                    <a:pt x="552" y="2"/>
                  </a:lnTo>
                  <a:lnTo>
                    <a:pt x="541" y="0"/>
                  </a:lnTo>
                  <a:lnTo>
                    <a:pt x="534" y="0"/>
                  </a:lnTo>
                  <a:lnTo>
                    <a:pt x="527" y="3"/>
                  </a:lnTo>
                  <a:lnTo>
                    <a:pt x="522" y="6"/>
                  </a:lnTo>
                  <a:lnTo>
                    <a:pt x="518" y="11"/>
                  </a:lnTo>
                  <a:lnTo>
                    <a:pt x="515" y="16"/>
                  </a:lnTo>
                  <a:lnTo>
                    <a:pt x="512" y="22"/>
                  </a:lnTo>
                  <a:lnTo>
                    <a:pt x="511" y="28"/>
                  </a:lnTo>
                  <a:lnTo>
                    <a:pt x="510" y="36"/>
                  </a:lnTo>
                  <a:lnTo>
                    <a:pt x="508" y="51"/>
                  </a:lnTo>
                  <a:lnTo>
                    <a:pt x="507" y="66"/>
                  </a:lnTo>
                  <a:lnTo>
                    <a:pt x="507" y="72"/>
                  </a:lnTo>
                  <a:lnTo>
                    <a:pt x="504" y="79"/>
                  </a:lnTo>
                  <a:lnTo>
                    <a:pt x="503" y="86"/>
                  </a:lnTo>
                  <a:lnTo>
                    <a:pt x="500" y="90"/>
                  </a:lnTo>
                  <a:lnTo>
                    <a:pt x="495" y="96"/>
                  </a:lnTo>
                  <a:lnTo>
                    <a:pt x="490" y="102"/>
                  </a:lnTo>
                  <a:lnTo>
                    <a:pt x="486" y="107"/>
                  </a:lnTo>
                  <a:lnTo>
                    <a:pt x="480" y="111"/>
                  </a:lnTo>
                  <a:lnTo>
                    <a:pt x="470" y="117"/>
                  </a:lnTo>
                  <a:lnTo>
                    <a:pt x="459" y="123"/>
                  </a:lnTo>
                  <a:lnTo>
                    <a:pt x="448" y="127"/>
                  </a:lnTo>
                  <a:lnTo>
                    <a:pt x="438" y="133"/>
                  </a:lnTo>
                  <a:lnTo>
                    <a:pt x="434" y="136"/>
                  </a:lnTo>
                  <a:lnTo>
                    <a:pt x="430" y="140"/>
                  </a:lnTo>
                  <a:lnTo>
                    <a:pt x="426" y="145"/>
                  </a:lnTo>
                  <a:lnTo>
                    <a:pt x="422" y="151"/>
                  </a:lnTo>
                  <a:lnTo>
                    <a:pt x="408" y="165"/>
                  </a:lnTo>
                  <a:lnTo>
                    <a:pt x="398" y="183"/>
                  </a:lnTo>
                  <a:lnTo>
                    <a:pt x="387" y="203"/>
                  </a:lnTo>
                  <a:lnTo>
                    <a:pt x="375" y="221"/>
                  </a:lnTo>
                  <a:lnTo>
                    <a:pt x="368" y="229"/>
                  </a:lnTo>
                  <a:lnTo>
                    <a:pt x="362" y="237"/>
                  </a:lnTo>
                  <a:lnTo>
                    <a:pt x="354" y="245"/>
                  </a:lnTo>
                  <a:lnTo>
                    <a:pt x="346" y="252"/>
                  </a:lnTo>
                  <a:lnTo>
                    <a:pt x="336" y="257"/>
                  </a:lnTo>
                  <a:lnTo>
                    <a:pt x="326" y="261"/>
                  </a:lnTo>
                  <a:lnTo>
                    <a:pt x="314" y="264"/>
                  </a:lnTo>
                  <a:lnTo>
                    <a:pt x="302" y="264"/>
                  </a:lnTo>
                  <a:lnTo>
                    <a:pt x="290" y="265"/>
                  </a:lnTo>
                  <a:lnTo>
                    <a:pt x="279" y="268"/>
                  </a:lnTo>
                  <a:lnTo>
                    <a:pt x="270" y="272"/>
                  </a:lnTo>
                  <a:lnTo>
                    <a:pt x="259" y="279"/>
                  </a:lnTo>
                  <a:lnTo>
                    <a:pt x="250" y="285"/>
                  </a:lnTo>
                  <a:lnTo>
                    <a:pt x="240" y="292"/>
                  </a:lnTo>
                  <a:lnTo>
                    <a:pt x="232" y="301"/>
                  </a:lnTo>
                  <a:lnTo>
                    <a:pt x="223" y="309"/>
                  </a:lnTo>
                  <a:lnTo>
                    <a:pt x="194" y="345"/>
                  </a:lnTo>
                  <a:lnTo>
                    <a:pt x="168" y="373"/>
                  </a:lnTo>
                  <a:lnTo>
                    <a:pt x="159" y="379"/>
                  </a:lnTo>
                  <a:lnTo>
                    <a:pt x="148" y="384"/>
                  </a:lnTo>
                  <a:lnTo>
                    <a:pt x="138" y="388"/>
                  </a:lnTo>
                  <a:lnTo>
                    <a:pt x="126" y="391"/>
                  </a:lnTo>
                  <a:lnTo>
                    <a:pt x="100" y="396"/>
                  </a:lnTo>
                  <a:lnTo>
                    <a:pt x="76" y="400"/>
                  </a:lnTo>
                  <a:lnTo>
                    <a:pt x="66" y="403"/>
                  </a:lnTo>
                  <a:lnTo>
                    <a:pt x="54" y="405"/>
                  </a:lnTo>
                  <a:lnTo>
                    <a:pt x="44" y="409"/>
                  </a:lnTo>
                  <a:lnTo>
                    <a:pt x="35" y="413"/>
                  </a:lnTo>
                  <a:lnTo>
                    <a:pt x="27" y="419"/>
                  </a:lnTo>
                  <a:lnTo>
                    <a:pt x="20" y="427"/>
                  </a:lnTo>
                  <a:lnTo>
                    <a:pt x="15" y="435"/>
                  </a:lnTo>
                  <a:lnTo>
                    <a:pt x="12" y="445"/>
                  </a:lnTo>
                  <a:lnTo>
                    <a:pt x="0" y="457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accent1">
                  <a:lumMod val="20000"/>
                  <a:lumOff val="8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95" b="0" i="0" u="none" strike="noStrike" kern="1200" cap="none" spc="0" normalizeH="0" baseline="0" noProof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4" name="Freeform 52"/>
            <p:cNvSpPr>
              <a:spLocks/>
            </p:cNvSpPr>
            <p:nvPr/>
          </p:nvSpPr>
          <p:spPr bwMode="auto">
            <a:xfrm>
              <a:off x="4886267" y="2332540"/>
              <a:ext cx="74753" cy="42211"/>
            </a:xfrm>
            <a:custGeom>
              <a:avLst/>
              <a:gdLst>
                <a:gd name="T0" fmla="*/ 982 w 1035"/>
                <a:gd name="T1" fmla="*/ 273 h 584"/>
                <a:gd name="T2" fmla="*/ 920 w 1035"/>
                <a:gd name="T3" fmla="*/ 316 h 584"/>
                <a:gd name="T4" fmla="*/ 877 w 1035"/>
                <a:gd name="T5" fmla="*/ 328 h 584"/>
                <a:gd name="T6" fmla="*/ 819 w 1035"/>
                <a:gd name="T7" fmla="*/ 324 h 584"/>
                <a:gd name="T8" fmla="*/ 763 w 1035"/>
                <a:gd name="T9" fmla="*/ 300 h 584"/>
                <a:gd name="T10" fmla="*/ 719 w 1035"/>
                <a:gd name="T11" fmla="*/ 265 h 584"/>
                <a:gd name="T12" fmla="*/ 674 w 1035"/>
                <a:gd name="T13" fmla="*/ 212 h 584"/>
                <a:gd name="T14" fmla="*/ 575 w 1035"/>
                <a:gd name="T15" fmla="*/ 142 h 584"/>
                <a:gd name="T16" fmla="*/ 517 w 1035"/>
                <a:gd name="T17" fmla="*/ 87 h 584"/>
                <a:gd name="T18" fmla="*/ 494 w 1035"/>
                <a:gd name="T19" fmla="*/ 46 h 584"/>
                <a:gd name="T20" fmla="*/ 483 w 1035"/>
                <a:gd name="T21" fmla="*/ 10 h 584"/>
                <a:gd name="T22" fmla="*/ 461 w 1035"/>
                <a:gd name="T23" fmla="*/ 22 h 584"/>
                <a:gd name="T24" fmla="*/ 445 w 1035"/>
                <a:gd name="T25" fmla="*/ 46 h 584"/>
                <a:gd name="T26" fmla="*/ 422 w 1035"/>
                <a:gd name="T27" fmla="*/ 47 h 584"/>
                <a:gd name="T28" fmla="*/ 381 w 1035"/>
                <a:gd name="T29" fmla="*/ 28 h 584"/>
                <a:gd name="T30" fmla="*/ 341 w 1035"/>
                <a:gd name="T31" fmla="*/ 19 h 584"/>
                <a:gd name="T32" fmla="*/ 313 w 1035"/>
                <a:gd name="T33" fmla="*/ 30 h 584"/>
                <a:gd name="T34" fmla="*/ 275 w 1035"/>
                <a:gd name="T35" fmla="*/ 51 h 584"/>
                <a:gd name="T36" fmla="*/ 249 w 1035"/>
                <a:gd name="T37" fmla="*/ 66 h 584"/>
                <a:gd name="T38" fmla="*/ 225 w 1035"/>
                <a:gd name="T39" fmla="*/ 104 h 584"/>
                <a:gd name="T40" fmla="*/ 187 w 1035"/>
                <a:gd name="T41" fmla="*/ 131 h 584"/>
                <a:gd name="T42" fmla="*/ 141 w 1035"/>
                <a:gd name="T43" fmla="*/ 147 h 584"/>
                <a:gd name="T44" fmla="*/ 100 w 1035"/>
                <a:gd name="T45" fmla="*/ 166 h 584"/>
                <a:gd name="T46" fmla="*/ 76 w 1035"/>
                <a:gd name="T47" fmla="*/ 200 h 584"/>
                <a:gd name="T48" fmla="*/ 30 w 1035"/>
                <a:gd name="T49" fmla="*/ 216 h 584"/>
                <a:gd name="T50" fmla="*/ 1 w 1035"/>
                <a:gd name="T51" fmla="*/ 243 h 584"/>
                <a:gd name="T52" fmla="*/ 8 w 1035"/>
                <a:gd name="T53" fmla="*/ 268 h 584"/>
                <a:gd name="T54" fmla="*/ 65 w 1035"/>
                <a:gd name="T55" fmla="*/ 301 h 584"/>
                <a:gd name="T56" fmla="*/ 122 w 1035"/>
                <a:gd name="T57" fmla="*/ 313 h 584"/>
                <a:gd name="T58" fmla="*/ 149 w 1035"/>
                <a:gd name="T59" fmla="*/ 303 h 584"/>
                <a:gd name="T60" fmla="*/ 187 w 1035"/>
                <a:gd name="T61" fmla="*/ 285 h 584"/>
                <a:gd name="T62" fmla="*/ 201 w 1035"/>
                <a:gd name="T63" fmla="*/ 336 h 584"/>
                <a:gd name="T64" fmla="*/ 238 w 1035"/>
                <a:gd name="T65" fmla="*/ 368 h 584"/>
                <a:gd name="T66" fmla="*/ 282 w 1035"/>
                <a:gd name="T67" fmla="*/ 393 h 584"/>
                <a:gd name="T68" fmla="*/ 286 w 1035"/>
                <a:gd name="T69" fmla="*/ 415 h 584"/>
                <a:gd name="T70" fmla="*/ 269 w 1035"/>
                <a:gd name="T71" fmla="*/ 413 h 584"/>
                <a:gd name="T72" fmla="*/ 281 w 1035"/>
                <a:gd name="T73" fmla="*/ 460 h 584"/>
                <a:gd name="T74" fmla="*/ 337 w 1035"/>
                <a:gd name="T75" fmla="*/ 477 h 584"/>
                <a:gd name="T76" fmla="*/ 367 w 1035"/>
                <a:gd name="T77" fmla="*/ 491 h 584"/>
                <a:gd name="T78" fmla="*/ 385 w 1035"/>
                <a:gd name="T79" fmla="*/ 531 h 584"/>
                <a:gd name="T80" fmla="*/ 463 w 1035"/>
                <a:gd name="T81" fmla="*/ 543 h 584"/>
                <a:gd name="T82" fmla="*/ 498 w 1035"/>
                <a:gd name="T83" fmla="*/ 533 h 584"/>
                <a:gd name="T84" fmla="*/ 547 w 1035"/>
                <a:gd name="T85" fmla="*/ 492 h 584"/>
                <a:gd name="T86" fmla="*/ 571 w 1035"/>
                <a:gd name="T87" fmla="*/ 483 h 584"/>
                <a:gd name="T88" fmla="*/ 597 w 1035"/>
                <a:gd name="T89" fmla="*/ 492 h 584"/>
                <a:gd name="T90" fmla="*/ 607 w 1035"/>
                <a:gd name="T91" fmla="*/ 517 h 584"/>
                <a:gd name="T92" fmla="*/ 618 w 1035"/>
                <a:gd name="T93" fmla="*/ 553 h 584"/>
                <a:gd name="T94" fmla="*/ 645 w 1035"/>
                <a:gd name="T95" fmla="*/ 569 h 584"/>
                <a:gd name="T96" fmla="*/ 722 w 1035"/>
                <a:gd name="T97" fmla="*/ 584 h 584"/>
                <a:gd name="T98" fmla="*/ 753 w 1035"/>
                <a:gd name="T99" fmla="*/ 560 h 584"/>
                <a:gd name="T100" fmla="*/ 771 w 1035"/>
                <a:gd name="T101" fmla="*/ 535 h 584"/>
                <a:gd name="T102" fmla="*/ 794 w 1035"/>
                <a:gd name="T103" fmla="*/ 512 h 584"/>
                <a:gd name="T104" fmla="*/ 931 w 1035"/>
                <a:gd name="T105" fmla="*/ 517 h 584"/>
                <a:gd name="T106" fmla="*/ 967 w 1035"/>
                <a:gd name="T107" fmla="*/ 505 h 584"/>
                <a:gd name="T108" fmla="*/ 979 w 1035"/>
                <a:gd name="T109" fmla="*/ 488 h 584"/>
                <a:gd name="T110" fmla="*/ 983 w 1035"/>
                <a:gd name="T111" fmla="*/ 437 h 584"/>
                <a:gd name="T112" fmla="*/ 1003 w 1035"/>
                <a:gd name="T113" fmla="*/ 344 h 584"/>
                <a:gd name="T114" fmla="*/ 1030 w 1035"/>
                <a:gd name="T115" fmla="*/ 249 h 58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035"/>
                <a:gd name="T175" fmla="*/ 0 h 584"/>
                <a:gd name="T176" fmla="*/ 1035 w 1035"/>
                <a:gd name="T177" fmla="*/ 584 h 58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035" h="584">
                  <a:moveTo>
                    <a:pt x="1030" y="223"/>
                  </a:moveTo>
                  <a:lnTo>
                    <a:pt x="1014" y="241"/>
                  </a:lnTo>
                  <a:lnTo>
                    <a:pt x="998" y="257"/>
                  </a:lnTo>
                  <a:lnTo>
                    <a:pt x="982" y="273"/>
                  </a:lnTo>
                  <a:lnTo>
                    <a:pt x="964" y="288"/>
                  </a:lnTo>
                  <a:lnTo>
                    <a:pt x="947" y="300"/>
                  </a:lnTo>
                  <a:lnTo>
                    <a:pt x="930" y="311"/>
                  </a:lnTo>
                  <a:lnTo>
                    <a:pt x="920" y="316"/>
                  </a:lnTo>
                  <a:lnTo>
                    <a:pt x="911" y="320"/>
                  </a:lnTo>
                  <a:lnTo>
                    <a:pt x="901" y="323"/>
                  </a:lnTo>
                  <a:lnTo>
                    <a:pt x="891" y="325"/>
                  </a:lnTo>
                  <a:lnTo>
                    <a:pt x="877" y="328"/>
                  </a:lnTo>
                  <a:lnTo>
                    <a:pt x="863" y="329"/>
                  </a:lnTo>
                  <a:lnTo>
                    <a:pt x="849" y="328"/>
                  </a:lnTo>
                  <a:lnTo>
                    <a:pt x="834" y="327"/>
                  </a:lnTo>
                  <a:lnTo>
                    <a:pt x="819" y="324"/>
                  </a:lnTo>
                  <a:lnTo>
                    <a:pt x="805" y="319"/>
                  </a:lnTo>
                  <a:lnTo>
                    <a:pt x="790" y="313"/>
                  </a:lnTo>
                  <a:lnTo>
                    <a:pt x="777" y="308"/>
                  </a:lnTo>
                  <a:lnTo>
                    <a:pt x="763" y="300"/>
                  </a:lnTo>
                  <a:lnTo>
                    <a:pt x="751" y="292"/>
                  </a:lnTo>
                  <a:lnTo>
                    <a:pt x="739" y="284"/>
                  </a:lnTo>
                  <a:lnTo>
                    <a:pt x="729" y="275"/>
                  </a:lnTo>
                  <a:lnTo>
                    <a:pt x="719" y="265"/>
                  </a:lnTo>
                  <a:lnTo>
                    <a:pt x="710" y="255"/>
                  </a:lnTo>
                  <a:lnTo>
                    <a:pt x="703" y="245"/>
                  </a:lnTo>
                  <a:lnTo>
                    <a:pt x="698" y="235"/>
                  </a:lnTo>
                  <a:lnTo>
                    <a:pt x="674" y="212"/>
                  </a:lnTo>
                  <a:lnTo>
                    <a:pt x="649" y="193"/>
                  </a:lnTo>
                  <a:lnTo>
                    <a:pt x="623" y="175"/>
                  </a:lnTo>
                  <a:lnTo>
                    <a:pt x="599" y="159"/>
                  </a:lnTo>
                  <a:lnTo>
                    <a:pt x="575" y="142"/>
                  </a:lnTo>
                  <a:lnTo>
                    <a:pt x="551" y="122"/>
                  </a:lnTo>
                  <a:lnTo>
                    <a:pt x="539" y="111"/>
                  </a:lnTo>
                  <a:lnTo>
                    <a:pt x="529" y="99"/>
                  </a:lnTo>
                  <a:lnTo>
                    <a:pt x="517" y="87"/>
                  </a:lnTo>
                  <a:lnTo>
                    <a:pt x="506" y="72"/>
                  </a:lnTo>
                  <a:lnTo>
                    <a:pt x="499" y="64"/>
                  </a:lnTo>
                  <a:lnTo>
                    <a:pt x="497" y="55"/>
                  </a:lnTo>
                  <a:lnTo>
                    <a:pt x="494" y="46"/>
                  </a:lnTo>
                  <a:lnTo>
                    <a:pt x="493" y="36"/>
                  </a:lnTo>
                  <a:lnTo>
                    <a:pt x="490" y="27"/>
                  </a:lnTo>
                  <a:lnTo>
                    <a:pt x="487" y="19"/>
                  </a:lnTo>
                  <a:lnTo>
                    <a:pt x="483" y="10"/>
                  </a:lnTo>
                  <a:lnTo>
                    <a:pt x="475" y="0"/>
                  </a:lnTo>
                  <a:lnTo>
                    <a:pt x="469" y="6"/>
                  </a:lnTo>
                  <a:lnTo>
                    <a:pt x="465" y="14"/>
                  </a:lnTo>
                  <a:lnTo>
                    <a:pt x="461" y="22"/>
                  </a:lnTo>
                  <a:lnTo>
                    <a:pt x="457" y="30"/>
                  </a:lnTo>
                  <a:lnTo>
                    <a:pt x="453" y="36"/>
                  </a:lnTo>
                  <a:lnTo>
                    <a:pt x="447" y="43"/>
                  </a:lnTo>
                  <a:lnTo>
                    <a:pt x="445" y="46"/>
                  </a:lnTo>
                  <a:lnTo>
                    <a:pt x="441" y="47"/>
                  </a:lnTo>
                  <a:lnTo>
                    <a:pt x="438" y="48"/>
                  </a:lnTo>
                  <a:lnTo>
                    <a:pt x="433" y="48"/>
                  </a:lnTo>
                  <a:lnTo>
                    <a:pt x="422" y="47"/>
                  </a:lnTo>
                  <a:lnTo>
                    <a:pt x="411" y="44"/>
                  </a:lnTo>
                  <a:lnTo>
                    <a:pt x="401" y="39"/>
                  </a:lnTo>
                  <a:lnTo>
                    <a:pt x="391" y="34"/>
                  </a:lnTo>
                  <a:lnTo>
                    <a:pt x="381" y="28"/>
                  </a:lnTo>
                  <a:lnTo>
                    <a:pt x="370" y="23"/>
                  </a:lnTo>
                  <a:lnTo>
                    <a:pt x="359" y="20"/>
                  </a:lnTo>
                  <a:lnTo>
                    <a:pt x="349" y="19"/>
                  </a:lnTo>
                  <a:lnTo>
                    <a:pt x="341" y="19"/>
                  </a:lnTo>
                  <a:lnTo>
                    <a:pt x="334" y="20"/>
                  </a:lnTo>
                  <a:lnTo>
                    <a:pt x="329" y="22"/>
                  </a:lnTo>
                  <a:lnTo>
                    <a:pt x="323" y="24"/>
                  </a:lnTo>
                  <a:lnTo>
                    <a:pt x="313" y="30"/>
                  </a:lnTo>
                  <a:lnTo>
                    <a:pt x="303" y="36"/>
                  </a:lnTo>
                  <a:lnTo>
                    <a:pt x="293" y="43"/>
                  </a:lnTo>
                  <a:lnTo>
                    <a:pt x="282" y="50"/>
                  </a:lnTo>
                  <a:lnTo>
                    <a:pt x="275" y="51"/>
                  </a:lnTo>
                  <a:lnTo>
                    <a:pt x="269" y="54"/>
                  </a:lnTo>
                  <a:lnTo>
                    <a:pt x="261" y="54"/>
                  </a:lnTo>
                  <a:lnTo>
                    <a:pt x="253" y="55"/>
                  </a:lnTo>
                  <a:lnTo>
                    <a:pt x="249" y="66"/>
                  </a:lnTo>
                  <a:lnTo>
                    <a:pt x="243" y="76"/>
                  </a:lnTo>
                  <a:lnTo>
                    <a:pt x="238" y="86"/>
                  </a:lnTo>
                  <a:lnTo>
                    <a:pt x="231" y="95"/>
                  </a:lnTo>
                  <a:lnTo>
                    <a:pt x="225" y="104"/>
                  </a:lnTo>
                  <a:lnTo>
                    <a:pt x="215" y="111"/>
                  </a:lnTo>
                  <a:lnTo>
                    <a:pt x="207" y="119"/>
                  </a:lnTo>
                  <a:lnTo>
                    <a:pt x="198" y="126"/>
                  </a:lnTo>
                  <a:lnTo>
                    <a:pt x="187" y="131"/>
                  </a:lnTo>
                  <a:lnTo>
                    <a:pt x="177" y="136"/>
                  </a:lnTo>
                  <a:lnTo>
                    <a:pt x="165" y="140"/>
                  </a:lnTo>
                  <a:lnTo>
                    <a:pt x="153" y="144"/>
                  </a:lnTo>
                  <a:lnTo>
                    <a:pt x="141" y="147"/>
                  </a:lnTo>
                  <a:lnTo>
                    <a:pt x="129" y="150"/>
                  </a:lnTo>
                  <a:lnTo>
                    <a:pt x="116" y="151"/>
                  </a:lnTo>
                  <a:lnTo>
                    <a:pt x="102" y="151"/>
                  </a:lnTo>
                  <a:lnTo>
                    <a:pt x="100" y="166"/>
                  </a:lnTo>
                  <a:lnTo>
                    <a:pt x="96" y="178"/>
                  </a:lnTo>
                  <a:lnTo>
                    <a:pt x="90" y="187"/>
                  </a:lnTo>
                  <a:lnTo>
                    <a:pt x="84" y="193"/>
                  </a:lnTo>
                  <a:lnTo>
                    <a:pt x="76" y="200"/>
                  </a:lnTo>
                  <a:lnTo>
                    <a:pt x="68" y="204"/>
                  </a:lnTo>
                  <a:lnTo>
                    <a:pt x="58" y="208"/>
                  </a:lnTo>
                  <a:lnTo>
                    <a:pt x="49" y="211"/>
                  </a:lnTo>
                  <a:lnTo>
                    <a:pt x="30" y="216"/>
                  </a:lnTo>
                  <a:lnTo>
                    <a:pt x="14" y="224"/>
                  </a:lnTo>
                  <a:lnTo>
                    <a:pt x="9" y="228"/>
                  </a:lnTo>
                  <a:lnTo>
                    <a:pt x="4" y="235"/>
                  </a:lnTo>
                  <a:lnTo>
                    <a:pt x="1" y="243"/>
                  </a:lnTo>
                  <a:lnTo>
                    <a:pt x="0" y="253"/>
                  </a:lnTo>
                  <a:lnTo>
                    <a:pt x="1" y="257"/>
                  </a:lnTo>
                  <a:lnTo>
                    <a:pt x="4" y="263"/>
                  </a:lnTo>
                  <a:lnTo>
                    <a:pt x="8" y="268"/>
                  </a:lnTo>
                  <a:lnTo>
                    <a:pt x="13" y="273"/>
                  </a:lnTo>
                  <a:lnTo>
                    <a:pt x="28" y="283"/>
                  </a:lnTo>
                  <a:lnTo>
                    <a:pt x="46" y="292"/>
                  </a:lnTo>
                  <a:lnTo>
                    <a:pt x="65" y="301"/>
                  </a:lnTo>
                  <a:lnTo>
                    <a:pt x="84" y="308"/>
                  </a:lnTo>
                  <a:lnTo>
                    <a:pt x="101" y="312"/>
                  </a:lnTo>
                  <a:lnTo>
                    <a:pt x="114" y="313"/>
                  </a:lnTo>
                  <a:lnTo>
                    <a:pt x="122" y="313"/>
                  </a:lnTo>
                  <a:lnTo>
                    <a:pt x="129" y="312"/>
                  </a:lnTo>
                  <a:lnTo>
                    <a:pt x="134" y="311"/>
                  </a:lnTo>
                  <a:lnTo>
                    <a:pt x="140" y="308"/>
                  </a:lnTo>
                  <a:lnTo>
                    <a:pt x="149" y="303"/>
                  </a:lnTo>
                  <a:lnTo>
                    <a:pt x="157" y="296"/>
                  </a:lnTo>
                  <a:lnTo>
                    <a:pt x="169" y="280"/>
                  </a:lnTo>
                  <a:lnTo>
                    <a:pt x="181" y="265"/>
                  </a:lnTo>
                  <a:lnTo>
                    <a:pt x="187" y="285"/>
                  </a:lnTo>
                  <a:lnTo>
                    <a:pt x="193" y="307"/>
                  </a:lnTo>
                  <a:lnTo>
                    <a:pt x="194" y="317"/>
                  </a:lnTo>
                  <a:lnTo>
                    <a:pt x="197" y="327"/>
                  </a:lnTo>
                  <a:lnTo>
                    <a:pt x="201" y="336"/>
                  </a:lnTo>
                  <a:lnTo>
                    <a:pt x="205" y="344"/>
                  </a:lnTo>
                  <a:lnTo>
                    <a:pt x="214" y="353"/>
                  </a:lnTo>
                  <a:lnTo>
                    <a:pt x="226" y="361"/>
                  </a:lnTo>
                  <a:lnTo>
                    <a:pt x="238" y="368"/>
                  </a:lnTo>
                  <a:lnTo>
                    <a:pt x="251" y="375"/>
                  </a:lnTo>
                  <a:lnTo>
                    <a:pt x="265" y="381"/>
                  </a:lnTo>
                  <a:lnTo>
                    <a:pt x="277" y="388"/>
                  </a:lnTo>
                  <a:lnTo>
                    <a:pt x="282" y="393"/>
                  </a:lnTo>
                  <a:lnTo>
                    <a:pt x="286" y="397"/>
                  </a:lnTo>
                  <a:lnTo>
                    <a:pt x="291" y="404"/>
                  </a:lnTo>
                  <a:lnTo>
                    <a:pt x="294" y="409"/>
                  </a:lnTo>
                  <a:lnTo>
                    <a:pt x="286" y="415"/>
                  </a:lnTo>
                  <a:lnTo>
                    <a:pt x="279" y="416"/>
                  </a:lnTo>
                  <a:lnTo>
                    <a:pt x="277" y="416"/>
                  </a:lnTo>
                  <a:lnTo>
                    <a:pt x="273" y="416"/>
                  </a:lnTo>
                  <a:lnTo>
                    <a:pt x="269" y="413"/>
                  </a:lnTo>
                  <a:lnTo>
                    <a:pt x="265" y="409"/>
                  </a:lnTo>
                  <a:lnTo>
                    <a:pt x="265" y="445"/>
                  </a:lnTo>
                  <a:lnTo>
                    <a:pt x="273" y="453"/>
                  </a:lnTo>
                  <a:lnTo>
                    <a:pt x="281" y="460"/>
                  </a:lnTo>
                  <a:lnTo>
                    <a:pt x="290" y="465"/>
                  </a:lnTo>
                  <a:lnTo>
                    <a:pt x="299" y="468"/>
                  </a:lnTo>
                  <a:lnTo>
                    <a:pt x="318" y="473"/>
                  </a:lnTo>
                  <a:lnTo>
                    <a:pt x="337" y="477"/>
                  </a:lnTo>
                  <a:lnTo>
                    <a:pt x="345" y="479"/>
                  </a:lnTo>
                  <a:lnTo>
                    <a:pt x="353" y="481"/>
                  </a:lnTo>
                  <a:lnTo>
                    <a:pt x="361" y="485"/>
                  </a:lnTo>
                  <a:lnTo>
                    <a:pt x="367" y="491"/>
                  </a:lnTo>
                  <a:lnTo>
                    <a:pt x="373" y="497"/>
                  </a:lnTo>
                  <a:lnTo>
                    <a:pt x="378" y="507"/>
                  </a:lnTo>
                  <a:lnTo>
                    <a:pt x="382" y="517"/>
                  </a:lnTo>
                  <a:lnTo>
                    <a:pt x="385" y="531"/>
                  </a:lnTo>
                  <a:lnTo>
                    <a:pt x="403" y="535"/>
                  </a:lnTo>
                  <a:lnTo>
                    <a:pt x="425" y="539"/>
                  </a:lnTo>
                  <a:lnTo>
                    <a:pt x="445" y="541"/>
                  </a:lnTo>
                  <a:lnTo>
                    <a:pt x="463" y="543"/>
                  </a:lnTo>
                  <a:lnTo>
                    <a:pt x="473" y="541"/>
                  </a:lnTo>
                  <a:lnTo>
                    <a:pt x="482" y="540"/>
                  </a:lnTo>
                  <a:lnTo>
                    <a:pt x="490" y="537"/>
                  </a:lnTo>
                  <a:lnTo>
                    <a:pt x="498" y="533"/>
                  </a:lnTo>
                  <a:lnTo>
                    <a:pt x="511" y="523"/>
                  </a:lnTo>
                  <a:lnTo>
                    <a:pt x="525" y="512"/>
                  </a:lnTo>
                  <a:lnTo>
                    <a:pt x="535" y="501"/>
                  </a:lnTo>
                  <a:lnTo>
                    <a:pt x="547" y="492"/>
                  </a:lnTo>
                  <a:lnTo>
                    <a:pt x="553" y="488"/>
                  </a:lnTo>
                  <a:lnTo>
                    <a:pt x="559" y="484"/>
                  </a:lnTo>
                  <a:lnTo>
                    <a:pt x="565" y="483"/>
                  </a:lnTo>
                  <a:lnTo>
                    <a:pt x="571" y="483"/>
                  </a:lnTo>
                  <a:lnTo>
                    <a:pt x="579" y="483"/>
                  </a:lnTo>
                  <a:lnTo>
                    <a:pt x="587" y="485"/>
                  </a:lnTo>
                  <a:lnTo>
                    <a:pt x="593" y="488"/>
                  </a:lnTo>
                  <a:lnTo>
                    <a:pt x="597" y="492"/>
                  </a:lnTo>
                  <a:lnTo>
                    <a:pt x="601" y="497"/>
                  </a:lnTo>
                  <a:lnTo>
                    <a:pt x="603" y="504"/>
                  </a:lnTo>
                  <a:lnTo>
                    <a:pt x="606" y="511"/>
                  </a:lnTo>
                  <a:lnTo>
                    <a:pt x="607" y="517"/>
                  </a:lnTo>
                  <a:lnTo>
                    <a:pt x="611" y="531"/>
                  </a:lnTo>
                  <a:lnTo>
                    <a:pt x="614" y="543"/>
                  </a:lnTo>
                  <a:lnTo>
                    <a:pt x="617" y="549"/>
                  </a:lnTo>
                  <a:lnTo>
                    <a:pt x="618" y="553"/>
                  </a:lnTo>
                  <a:lnTo>
                    <a:pt x="622" y="557"/>
                  </a:lnTo>
                  <a:lnTo>
                    <a:pt x="626" y="560"/>
                  </a:lnTo>
                  <a:lnTo>
                    <a:pt x="634" y="565"/>
                  </a:lnTo>
                  <a:lnTo>
                    <a:pt x="645" y="569"/>
                  </a:lnTo>
                  <a:lnTo>
                    <a:pt x="658" y="573"/>
                  </a:lnTo>
                  <a:lnTo>
                    <a:pt x="671" y="577"/>
                  </a:lnTo>
                  <a:lnTo>
                    <a:pt x="699" y="583"/>
                  </a:lnTo>
                  <a:lnTo>
                    <a:pt x="722" y="584"/>
                  </a:lnTo>
                  <a:lnTo>
                    <a:pt x="725" y="579"/>
                  </a:lnTo>
                  <a:lnTo>
                    <a:pt x="733" y="572"/>
                  </a:lnTo>
                  <a:lnTo>
                    <a:pt x="742" y="565"/>
                  </a:lnTo>
                  <a:lnTo>
                    <a:pt x="753" y="560"/>
                  </a:lnTo>
                  <a:lnTo>
                    <a:pt x="758" y="555"/>
                  </a:lnTo>
                  <a:lnTo>
                    <a:pt x="763" y="548"/>
                  </a:lnTo>
                  <a:lnTo>
                    <a:pt x="767" y="541"/>
                  </a:lnTo>
                  <a:lnTo>
                    <a:pt x="771" y="535"/>
                  </a:lnTo>
                  <a:lnTo>
                    <a:pt x="775" y="527"/>
                  </a:lnTo>
                  <a:lnTo>
                    <a:pt x="781" y="520"/>
                  </a:lnTo>
                  <a:lnTo>
                    <a:pt x="786" y="516"/>
                  </a:lnTo>
                  <a:lnTo>
                    <a:pt x="794" y="512"/>
                  </a:lnTo>
                  <a:lnTo>
                    <a:pt x="839" y="515"/>
                  </a:lnTo>
                  <a:lnTo>
                    <a:pt x="902" y="519"/>
                  </a:lnTo>
                  <a:lnTo>
                    <a:pt x="916" y="519"/>
                  </a:lnTo>
                  <a:lnTo>
                    <a:pt x="931" y="517"/>
                  </a:lnTo>
                  <a:lnTo>
                    <a:pt x="944" y="515"/>
                  </a:lnTo>
                  <a:lnTo>
                    <a:pt x="956" y="511"/>
                  </a:lnTo>
                  <a:lnTo>
                    <a:pt x="962" y="509"/>
                  </a:lnTo>
                  <a:lnTo>
                    <a:pt x="967" y="505"/>
                  </a:lnTo>
                  <a:lnTo>
                    <a:pt x="971" y="503"/>
                  </a:lnTo>
                  <a:lnTo>
                    <a:pt x="975" y="499"/>
                  </a:lnTo>
                  <a:lnTo>
                    <a:pt x="978" y="493"/>
                  </a:lnTo>
                  <a:lnTo>
                    <a:pt x="979" y="488"/>
                  </a:lnTo>
                  <a:lnTo>
                    <a:pt x="980" y="483"/>
                  </a:lnTo>
                  <a:lnTo>
                    <a:pt x="982" y="476"/>
                  </a:lnTo>
                  <a:lnTo>
                    <a:pt x="982" y="456"/>
                  </a:lnTo>
                  <a:lnTo>
                    <a:pt x="983" y="437"/>
                  </a:lnTo>
                  <a:lnTo>
                    <a:pt x="984" y="420"/>
                  </a:lnTo>
                  <a:lnTo>
                    <a:pt x="988" y="404"/>
                  </a:lnTo>
                  <a:lnTo>
                    <a:pt x="995" y="373"/>
                  </a:lnTo>
                  <a:lnTo>
                    <a:pt x="1003" y="344"/>
                  </a:lnTo>
                  <a:lnTo>
                    <a:pt x="1012" y="313"/>
                  </a:lnTo>
                  <a:lnTo>
                    <a:pt x="1022" y="283"/>
                  </a:lnTo>
                  <a:lnTo>
                    <a:pt x="1026" y="267"/>
                  </a:lnTo>
                  <a:lnTo>
                    <a:pt x="1030" y="249"/>
                  </a:lnTo>
                  <a:lnTo>
                    <a:pt x="1032" y="231"/>
                  </a:lnTo>
                  <a:lnTo>
                    <a:pt x="1035" y="211"/>
                  </a:lnTo>
                  <a:lnTo>
                    <a:pt x="1030" y="223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accent1">
                  <a:lumMod val="20000"/>
                  <a:lumOff val="8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95" b="0" i="0" u="none" strike="noStrike" kern="1200" cap="none" spc="0" normalizeH="0" baseline="0" noProof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5" name="Freeform 54"/>
            <p:cNvSpPr>
              <a:spLocks/>
            </p:cNvSpPr>
            <p:nvPr/>
          </p:nvSpPr>
          <p:spPr bwMode="auto">
            <a:xfrm>
              <a:off x="4804911" y="2291744"/>
              <a:ext cx="76168" cy="52351"/>
            </a:xfrm>
            <a:custGeom>
              <a:avLst/>
              <a:gdLst>
                <a:gd name="T0" fmla="*/ 31 w 1060"/>
                <a:gd name="T1" fmla="*/ 221 h 727"/>
                <a:gd name="T2" fmla="*/ 107 w 1060"/>
                <a:gd name="T3" fmla="*/ 156 h 727"/>
                <a:gd name="T4" fmla="*/ 115 w 1060"/>
                <a:gd name="T5" fmla="*/ 115 h 727"/>
                <a:gd name="T6" fmla="*/ 127 w 1060"/>
                <a:gd name="T7" fmla="*/ 30 h 727"/>
                <a:gd name="T8" fmla="*/ 159 w 1060"/>
                <a:gd name="T9" fmla="*/ 0 h 727"/>
                <a:gd name="T10" fmla="*/ 184 w 1060"/>
                <a:gd name="T11" fmla="*/ 12 h 727"/>
                <a:gd name="T12" fmla="*/ 209 w 1060"/>
                <a:gd name="T13" fmla="*/ 48 h 727"/>
                <a:gd name="T14" fmla="*/ 256 w 1060"/>
                <a:gd name="T15" fmla="*/ 67 h 727"/>
                <a:gd name="T16" fmla="*/ 371 w 1060"/>
                <a:gd name="T17" fmla="*/ 80 h 727"/>
                <a:gd name="T18" fmla="*/ 429 w 1060"/>
                <a:gd name="T19" fmla="*/ 99 h 727"/>
                <a:gd name="T20" fmla="*/ 460 w 1060"/>
                <a:gd name="T21" fmla="*/ 131 h 727"/>
                <a:gd name="T22" fmla="*/ 511 w 1060"/>
                <a:gd name="T23" fmla="*/ 131 h 727"/>
                <a:gd name="T24" fmla="*/ 598 w 1060"/>
                <a:gd name="T25" fmla="*/ 86 h 727"/>
                <a:gd name="T26" fmla="*/ 644 w 1060"/>
                <a:gd name="T27" fmla="*/ 76 h 727"/>
                <a:gd name="T28" fmla="*/ 681 w 1060"/>
                <a:gd name="T29" fmla="*/ 104 h 727"/>
                <a:gd name="T30" fmla="*/ 701 w 1060"/>
                <a:gd name="T31" fmla="*/ 158 h 727"/>
                <a:gd name="T32" fmla="*/ 726 w 1060"/>
                <a:gd name="T33" fmla="*/ 163 h 727"/>
                <a:gd name="T34" fmla="*/ 761 w 1060"/>
                <a:gd name="T35" fmla="*/ 156 h 727"/>
                <a:gd name="T36" fmla="*/ 782 w 1060"/>
                <a:gd name="T37" fmla="*/ 187 h 727"/>
                <a:gd name="T38" fmla="*/ 830 w 1060"/>
                <a:gd name="T39" fmla="*/ 172 h 727"/>
                <a:gd name="T40" fmla="*/ 869 w 1060"/>
                <a:gd name="T41" fmla="*/ 196 h 727"/>
                <a:gd name="T42" fmla="*/ 918 w 1060"/>
                <a:gd name="T43" fmla="*/ 220 h 727"/>
                <a:gd name="T44" fmla="*/ 936 w 1060"/>
                <a:gd name="T45" fmla="*/ 249 h 727"/>
                <a:gd name="T46" fmla="*/ 952 w 1060"/>
                <a:gd name="T47" fmla="*/ 263 h 727"/>
                <a:gd name="T48" fmla="*/ 993 w 1060"/>
                <a:gd name="T49" fmla="*/ 241 h 727"/>
                <a:gd name="T50" fmla="*/ 1030 w 1060"/>
                <a:gd name="T51" fmla="*/ 235 h 727"/>
                <a:gd name="T52" fmla="*/ 1045 w 1060"/>
                <a:gd name="T53" fmla="*/ 261 h 727"/>
                <a:gd name="T54" fmla="*/ 1052 w 1060"/>
                <a:gd name="T55" fmla="*/ 345 h 727"/>
                <a:gd name="T56" fmla="*/ 1050 w 1060"/>
                <a:gd name="T57" fmla="*/ 360 h 727"/>
                <a:gd name="T58" fmla="*/ 1002 w 1060"/>
                <a:gd name="T59" fmla="*/ 371 h 727"/>
                <a:gd name="T60" fmla="*/ 976 w 1060"/>
                <a:gd name="T61" fmla="*/ 408 h 727"/>
                <a:gd name="T62" fmla="*/ 952 w 1060"/>
                <a:gd name="T63" fmla="*/ 443 h 727"/>
                <a:gd name="T64" fmla="*/ 921 w 1060"/>
                <a:gd name="T65" fmla="*/ 487 h 727"/>
                <a:gd name="T66" fmla="*/ 933 w 1060"/>
                <a:gd name="T67" fmla="*/ 529 h 727"/>
                <a:gd name="T68" fmla="*/ 964 w 1060"/>
                <a:gd name="T69" fmla="*/ 559 h 727"/>
                <a:gd name="T70" fmla="*/ 946 w 1060"/>
                <a:gd name="T71" fmla="*/ 613 h 727"/>
                <a:gd name="T72" fmla="*/ 884 w 1060"/>
                <a:gd name="T73" fmla="*/ 661 h 727"/>
                <a:gd name="T74" fmla="*/ 830 w 1060"/>
                <a:gd name="T75" fmla="*/ 727 h 727"/>
                <a:gd name="T76" fmla="*/ 796 w 1060"/>
                <a:gd name="T77" fmla="*/ 663 h 727"/>
                <a:gd name="T78" fmla="*/ 757 w 1060"/>
                <a:gd name="T79" fmla="*/ 644 h 727"/>
                <a:gd name="T80" fmla="*/ 709 w 1060"/>
                <a:gd name="T81" fmla="*/ 649 h 727"/>
                <a:gd name="T82" fmla="*/ 674 w 1060"/>
                <a:gd name="T83" fmla="*/ 665 h 727"/>
                <a:gd name="T84" fmla="*/ 646 w 1060"/>
                <a:gd name="T85" fmla="*/ 647 h 727"/>
                <a:gd name="T86" fmla="*/ 609 w 1060"/>
                <a:gd name="T87" fmla="*/ 620 h 727"/>
                <a:gd name="T88" fmla="*/ 553 w 1060"/>
                <a:gd name="T89" fmla="*/ 607 h 727"/>
                <a:gd name="T90" fmla="*/ 526 w 1060"/>
                <a:gd name="T91" fmla="*/ 571 h 727"/>
                <a:gd name="T92" fmla="*/ 496 w 1060"/>
                <a:gd name="T93" fmla="*/ 553 h 727"/>
                <a:gd name="T94" fmla="*/ 469 w 1060"/>
                <a:gd name="T95" fmla="*/ 576 h 727"/>
                <a:gd name="T96" fmla="*/ 407 w 1060"/>
                <a:gd name="T97" fmla="*/ 575 h 727"/>
                <a:gd name="T98" fmla="*/ 367 w 1060"/>
                <a:gd name="T99" fmla="*/ 556 h 727"/>
                <a:gd name="T100" fmla="*/ 336 w 1060"/>
                <a:gd name="T101" fmla="*/ 500 h 727"/>
                <a:gd name="T102" fmla="*/ 303 w 1060"/>
                <a:gd name="T103" fmla="*/ 460 h 727"/>
                <a:gd name="T104" fmla="*/ 268 w 1060"/>
                <a:gd name="T105" fmla="*/ 449 h 727"/>
                <a:gd name="T106" fmla="*/ 211 w 1060"/>
                <a:gd name="T107" fmla="*/ 449 h 727"/>
                <a:gd name="T108" fmla="*/ 163 w 1060"/>
                <a:gd name="T109" fmla="*/ 435 h 727"/>
                <a:gd name="T110" fmla="*/ 99 w 1060"/>
                <a:gd name="T111" fmla="*/ 380 h 727"/>
                <a:gd name="T112" fmla="*/ 4 w 1060"/>
                <a:gd name="T113" fmla="*/ 241 h 727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60"/>
                <a:gd name="T172" fmla="*/ 0 h 727"/>
                <a:gd name="T173" fmla="*/ 1060 w 1060"/>
                <a:gd name="T174" fmla="*/ 727 h 727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60" h="727">
                  <a:moveTo>
                    <a:pt x="0" y="232"/>
                  </a:moveTo>
                  <a:lnTo>
                    <a:pt x="5" y="232"/>
                  </a:lnTo>
                  <a:lnTo>
                    <a:pt x="13" y="229"/>
                  </a:lnTo>
                  <a:lnTo>
                    <a:pt x="21" y="225"/>
                  </a:lnTo>
                  <a:lnTo>
                    <a:pt x="31" y="221"/>
                  </a:lnTo>
                  <a:lnTo>
                    <a:pt x="49" y="209"/>
                  </a:lnTo>
                  <a:lnTo>
                    <a:pt x="68" y="195"/>
                  </a:lnTo>
                  <a:lnTo>
                    <a:pt x="85" y="180"/>
                  </a:lnTo>
                  <a:lnTo>
                    <a:pt x="100" y="164"/>
                  </a:lnTo>
                  <a:lnTo>
                    <a:pt x="107" y="156"/>
                  </a:lnTo>
                  <a:lnTo>
                    <a:pt x="111" y="148"/>
                  </a:lnTo>
                  <a:lnTo>
                    <a:pt x="113" y="142"/>
                  </a:lnTo>
                  <a:lnTo>
                    <a:pt x="115" y="136"/>
                  </a:lnTo>
                  <a:lnTo>
                    <a:pt x="115" y="124"/>
                  </a:lnTo>
                  <a:lnTo>
                    <a:pt x="115" y="115"/>
                  </a:lnTo>
                  <a:lnTo>
                    <a:pt x="115" y="106"/>
                  </a:lnTo>
                  <a:lnTo>
                    <a:pt x="115" y="94"/>
                  </a:lnTo>
                  <a:lnTo>
                    <a:pt x="116" y="75"/>
                  </a:lnTo>
                  <a:lnTo>
                    <a:pt x="121" y="54"/>
                  </a:lnTo>
                  <a:lnTo>
                    <a:pt x="127" y="30"/>
                  </a:lnTo>
                  <a:lnTo>
                    <a:pt x="132" y="3"/>
                  </a:lnTo>
                  <a:lnTo>
                    <a:pt x="141" y="3"/>
                  </a:lnTo>
                  <a:lnTo>
                    <a:pt x="151" y="2"/>
                  </a:lnTo>
                  <a:lnTo>
                    <a:pt x="155" y="0"/>
                  </a:lnTo>
                  <a:lnTo>
                    <a:pt x="159" y="0"/>
                  </a:lnTo>
                  <a:lnTo>
                    <a:pt x="164" y="2"/>
                  </a:lnTo>
                  <a:lnTo>
                    <a:pt x="168" y="3"/>
                  </a:lnTo>
                  <a:lnTo>
                    <a:pt x="175" y="6"/>
                  </a:lnTo>
                  <a:lnTo>
                    <a:pt x="180" y="10"/>
                  </a:lnTo>
                  <a:lnTo>
                    <a:pt x="184" y="12"/>
                  </a:lnTo>
                  <a:lnTo>
                    <a:pt x="188" y="16"/>
                  </a:lnTo>
                  <a:lnTo>
                    <a:pt x="195" y="24"/>
                  </a:lnTo>
                  <a:lnTo>
                    <a:pt x="200" y="32"/>
                  </a:lnTo>
                  <a:lnTo>
                    <a:pt x="204" y="42"/>
                  </a:lnTo>
                  <a:lnTo>
                    <a:pt x="209" y="48"/>
                  </a:lnTo>
                  <a:lnTo>
                    <a:pt x="212" y="51"/>
                  </a:lnTo>
                  <a:lnTo>
                    <a:pt x="215" y="54"/>
                  </a:lnTo>
                  <a:lnTo>
                    <a:pt x="219" y="56"/>
                  </a:lnTo>
                  <a:lnTo>
                    <a:pt x="223" y="58"/>
                  </a:lnTo>
                  <a:lnTo>
                    <a:pt x="256" y="67"/>
                  </a:lnTo>
                  <a:lnTo>
                    <a:pt x="283" y="72"/>
                  </a:lnTo>
                  <a:lnTo>
                    <a:pt x="307" y="75"/>
                  </a:lnTo>
                  <a:lnTo>
                    <a:pt x="328" y="76"/>
                  </a:lnTo>
                  <a:lnTo>
                    <a:pt x="349" y="78"/>
                  </a:lnTo>
                  <a:lnTo>
                    <a:pt x="371" y="80"/>
                  </a:lnTo>
                  <a:lnTo>
                    <a:pt x="383" y="82"/>
                  </a:lnTo>
                  <a:lnTo>
                    <a:pt x="395" y="84"/>
                  </a:lnTo>
                  <a:lnTo>
                    <a:pt x="407" y="88"/>
                  </a:lnTo>
                  <a:lnTo>
                    <a:pt x="421" y="94"/>
                  </a:lnTo>
                  <a:lnTo>
                    <a:pt x="429" y="99"/>
                  </a:lnTo>
                  <a:lnTo>
                    <a:pt x="436" y="106"/>
                  </a:lnTo>
                  <a:lnTo>
                    <a:pt x="443" y="112"/>
                  </a:lnTo>
                  <a:lnTo>
                    <a:pt x="448" y="119"/>
                  </a:lnTo>
                  <a:lnTo>
                    <a:pt x="455" y="126"/>
                  </a:lnTo>
                  <a:lnTo>
                    <a:pt x="460" y="131"/>
                  </a:lnTo>
                  <a:lnTo>
                    <a:pt x="467" y="135"/>
                  </a:lnTo>
                  <a:lnTo>
                    <a:pt x="476" y="136"/>
                  </a:lnTo>
                  <a:lnTo>
                    <a:pt x="488" y="135"/>
                  </a:lnTo>
                  <a:lnTo>
                    <a:pt x="500" y="134"/>
                  </a:lnTo>
                  <a:lnTo>
                    <a:pt x="511" y="131"/>
                  </a:lnTo>
                  <a:lnTo>
                    <a:pt x="521" y="127"/>
                  </a:lnTo>
                  <a:lnTo>
                    <a:pt x="542" y="116"/>
                  </a:lnTo>
                  <a:lnTo>
                    <a:pt x="562" y="106"/>
                  </a:lnTo>
                  <a:lnTo>
                    <a:pt x="581" y="95"/>
                  </a:lnTo>
                  <a:lnTo>
                    <a:pt x="598" y="86"/>
                  </a:lnTo>
                  <a:lnTo>
                    <a:pt x="608" y="82"/>
                  </a:lnTo>
                  <a:lnTo>
                    <a:pt x="616" y="79"/>
                  </a:lnTo>
                  <a:lnTo>
                    <a:pt x="624" y="76"/>
                  </a:lnTo>
                  <a:lnTo>
                    <a:pt x="632" y="76"/>
                  </a:lnTo>
                  <a:lnTo>
                    <a:pt x="644" y="76"/>
                  </a:lnTo>
                  <a:lnTo>
                    <a:pt x="654" y="80"/>
                  </a:lnTo>
                  <a:lnTo>
                    <a:pt x="664" y="84"/>
                  </a:lnTo>
                  <a:lnTo>
                    <a:pt x="670" y="90"/>
                  </a:lnTo>
                  <a:lnTo>
                    <a:pt x="676" y="96"/>
                  </a:lnTo>
                  <a:lnTo>
                    <a:pt x="681" y="104"/>
                  </a:lnTo>
                  <a:lnTo>
                    <a:pt x="685" y="112"/>
                  </a:lnTo>
                  <a:lnTo>
                    <a:pt x="688" y="120"/>
                  </a:lnTo>
                  <a:lnTo>
                    <a:pt x="693" y="138"/>
                  </a:lnTo>
                  <a:lnTo>
                    <a:pt x="698" y="152"/>
                  </a:lnTo>
                  <a:lnTo>
                    <a:pt x="701" y="158"/>
                  </a:lnTo>
                  <a:lnTo>
                    <a:pt x="705" y="162"/>
                  </a:lnTo>
                  <a:lnTo>
                    <a:pt x="710" y="166"/>
                  </a:lnTo>
                  <a:lnTo>
                    <a:pt x="716" y="166"/>
                  </a:lnTo>
                  <a:lnTo>
                    <a:pt x="721" y="166"/>
                  </a:lnTo>
                  <a:lnTo>
                    <a:pt x="726" y="163"/>
                  </a:lnTo>
                  <a:lnTo>
                    <a:pt x="732" y="160"/>
                  </a:lnTo>
                  <a:lnTo>
                    <a:pt x="737" y="158"/>
                  </a:lnTo>
                  <a:lnTo>
                    <a:pt x="748" y="151"/>
                  </a:lnTo>
                  <a:lnTo>
                    <a:pt x="758" y="148"/>
                  </a:lnTo>
                  <a:lnTo>
                    <a:pt x="761" y="156"/>
                  </a:lnTo>
                  <a:lnTo>
                    <a:pt x="764" y="164"/>
                  </a:lnTo>
                  <a:lnTo>
                    <a:pt x="768" y="172"/>
                  </a:lnTo>
                  <a:lnTo>
                    <a:pt x="772" y="177"/>
                  </a:lnTo>
                  <a:lnTo>
                    <a:pt x="777" y="183"/>
                  </a:lnTo>
                  <a:lnTo>
                    <a:pt x="782" y="187"/>
                  </a:lnTo>
                  <a:lnTo>
                    <a:pt x="788" y="189"/>
                  </a:lnTo>
                  <a:lnTo>
                    <a:pt x="794" y="189"/>
                  </a:lnTo>
                  <a:lnTo>
                    <a:pt x="809" y="181"/>
                  </a:lnTo>
                  <a:lnTo>
                    <a:pt x="825" y="172"/>
                  </a:lnTo>
                  <a:lnTo>
                    <a:pt x="830" y="172"/>
                  </a:lnTo>
                  <a:lnTo>
                    <a:pt x="836" y="173"/>
                  </a:lnTo>
                  <a:lnTo>
                    <a:pt x="841" y="176"/>
                  </a:lnTo>
                  <a:lnTo>
                    <a:pt x="846" y="180"/>
                  </a:lnTo>
                  <a:lnTo>
                    <a:pt x="857" y="187"/>
                  </a:lnTo>
                  <a:lnTo>
                    <a:pt x="869" y="196"/>
                  </a:lnTo>
                  <a:lnTo>
                    <a:pt x="881" y="205"/>
                  </a:lnTo>
                  <a:lnTo>
                    <a:pt x="894" y="212"/>
                  </a:lnTo>
                  <a:lnTo>
                    <a:pt x="902" y="216"/>
                  </a:lnTo>
                  <a:lnTo>
                    <a:pt x="910" y="217"/>
                  </a:lnTo>
                  <a:lnTo>
                    <a:pt x="918" y="220"/>
                  </a:lnTo>
                  <a:lnTo>
                    <a:pt x="926" y="220"/>
                  </a:lnTo>
                  <a:lnTo>
                    <a:pt x="933" y="232"/>
                  </a:lnTo>
                  <a:lnTo>
                    <a:pt x="933" y="239"/>
                  </a:lnTo>
                  <a:lnTo>
                    <a:pt x="934" y="244"/>
                  </a:lnTo>
                  <a:lnTo>
                    <a:pt x="936" y="249"/>
                  </a:lnTo>
                  <a:lnTo>
                    <a:pt x="937" y="253"/>
                  </a:lnTo>
                  <a:lnTo>
                    <a:pt x="940" y="257"/>
                  </a:lnTo>
                  <a:lnTo>
                    <a:pt x="944" y="260"/>
                  </a:lnTo>
                  <a:lnTo>
                    <a:pt x="946" y="261"/>
                  </a:lnTo>
                  <a:lnTo>
                    <a:pt x="952" y="263"/>
                  </a:lnTo>
                  <a:lnTo>
                    <a:pt x="961" y="261"/>
                  </a:lnTo>
                  <a:lnTo>
                    <a:pt x="970" y="257"/>
                  </a:lnTo>
                  <a:lnTo>
                    <a:pt x="978" y="253"/>
                  </a:lnTo>
                  <a:lnTo>
                    <a:pt x="986" y="247"/>
                  </a:lnTo>
                  <a:lnTo>
                    <a:pt x="993" y="241"/>
                  </a:lnTo>
                  <a:lnTo>
                    <a:pt x="1001" y="237"/>
                  </a:lnTo>
                  <a:lnTo>
                    <a:pt x="1009" y="233"/>
                  </a:lnTo>
                  <a:lnTo>
                    <a:pt x="1017" y="232"/>
                  </a:lnTo>
                  <a:lnTo>
                    <a:pt x="1025" y="233"/>
                  </a:lnTo>
                  <a:lnTo>
                    <a:pt x="1030" y="235"/>
                  </a:lnTo>
                  <a:lnTo>
                    <a:pt x="1036" y="239"/>
                  </a:lnTo>
                  <a:lnTo>
                    <a:pt x="1038" y="243"/>
                  </a:lnTo>
                  <a:lnTo>
                    <a:pt x="1042" y="248"/>
                  </a:lnTo>
                  <a:lnTo>
                    <a:pt x="1044" y="255"/>
                  </a:lnTo>
                  <a:lnTo>
                    <a:pt x="1045" y="261"/>
                  </a:lnTo>
                  <a:lnTo>
                    <a:pt x="1046" y="269"/>
                  </a:lnTo>
                  <a:lnTo>
                    <a:pt x="1046" y="301"/>
                  </a:lnTo>
                  <a:lnTo>
                    <a:pt x="1048" y="328"/>
                  </a:lnTo>
                  <a:lnTo>
                    <a:pt x="1049" y="337"/>
                  </a:lnTo>
                  <a:lnTo>
                    <a:pt x="1052" y="345"/>
                  </a:lnTo>
                  <a:lnTo>
                    <a:pt x="1053" y="348"/>
                  </a:lnTo>
                  <a:lnTo>
                    <a:pt x="1056" y="351"/>
                  </a:lnTo>
                  <a:lnTo>
                    <a:pt x="1057" y="352"/>
                  </a:lnTo>
                  <a:lnTo>
                    <a:pt x="1060" y="352"/>
                  </a:lnTo>
                  <a:lnTo>
                    <a:pt x="1050" y="360"/>
                  </a:lnTo>
                  <a:lnTo>
                    <a:pt x="1042" y="367"/>
                  </a:lnTo>
                  <a:lnTo>
                    <a:pt x="1034" y="369"/>
                  </a:lnTo>
                  <a:lnTo>
                    <a:pt x="1029" y="371"/>
                  </a:lnTo>
                  <a:lnTo>
                    <a:pt x="1016" y="371"/>
                  </a:lnTo>
                  <a:lnTo>
                    <a:pt x="1002" y="371"/>
                  </a:lnTo>
                  <a:lnTo>
                    <a:pt x="992" y="371"/>
                  </a:lnTo>
                  <a:lnTo>
                    <a:pt x="981" y="371"/>
                  </a:lnTo>
                  <a:lnTo>
                    <a:pt x="981" y="385"/>
                  </a:lnTo>
                  <a:lnTo>
                    <a:pt x="978" y="397"/>
                  </a:lnTo>
                  <a:lnTo>
                    <a:pt x="976" y="408"/>
                  </a:lnTo>
                  <a:lnTo>
                    <a:pt x="972" y="417"/>
                  </a:lnTo>
                  <a:lnTo>
                    <a:pt x="968" y="425"/>
                  </a:lnTo>
                  <a:lnTo>
                    <a:pt x="962" y="432"/>
                  </a:lnTo>
                  <a:lnTo>
                    <a:pt x="957" y="437"/>
                  </a:lnTo>
                  <a:lnTo>
                    <a:pt x="952" y="443"/>
                  </a:lnTo>
                  <a:lnTo>
                    <a:pt x="940" y="453"/>
                  </a:lnTo>
                  <a:lnTo>
                    <a:pt x="930" y="464"/>
                  </a:lnTo>
                  <a:lnTo>
                    <a:pt x="926" y="471"/>
                  </a:lnTo>
                  <a:lnTo>
                    <a:pt x="924" y="477"/>
                  </a:lnTo>
                  <a:lnTo>
                    <a:pt x="921" y="487"/>
                  </a:lnTo>
                  <a:lnTo>
                    <a:pt x="921" y="497"/>
                  </a:lnTo>
                  <a:lnTo>
                    <a:pt x="922" y="508"/>
                  </a:lnTo>
                  <a:lnTo>
                    <a:pt x="924" y="516"/>
                  </a:lnTo>
                  <a:lnTo>
                    <a:pt x="928" y="524"/>
                  </a:lnTo>
                  <a:lnTo>
                    <a:pt x="933" y="529"/>
                  </a:lnTo>
                  <a:lnTo>
                    <a:pt x="940" y="533"/>
                  </a:lnTo>
                  <a:lnTo>
                    <a:pt x="946" y="537"/>
                  </a:lnTo>
                  <a:lnTo>
                    <a:pt x="954" y="539"/>
                  </a:lnTo>
                  <a:lnTo>
                    <a:pt x="964" y="539"/>
                  </a:lnTo>
                  <a:lnTo>
                    <a:pt x="964" y="559"/>
                  </a:lnTo>
                  <a:lnTo>
                    <a:pt x="964" y="569"/>
                  </a:lnTo>
                  <a:lnTo>
                    <a:pt x="962" y="583"/>
                  </a:lnTo>
                  <a:lnTo>
                    <a:pt x="958" y="593"/>
                  </a:lnTo>
                  <a:lnTo>
                    <a:pt x="953" y="604"/>
                  </a:lnTo>
                  <a:lnTo>
                    <a:pt x="946" y="613"/>
                  </a:lnTo>
                  <a:lnTo>
                    <a:pt x="937" y="623"/>
                  </a:lnTo>
                  <a:lnTo>
                    <a:pt x="928" y="631"/>
                  </a:lnTo>
                  <a:lnTo>
                    <a:pt x="917" y="637"/>
                  </a:lnTo>
                  <a:lnTo>
                    <a:pt x="906" y="645"/>
                  </a:lnTo>
                  <a:lnTo>
                    <a:pt x="884" y="661"/>
                  </a:lnTo>
                  <a:lnTo>
                    <a:pt x="861" y="679"/>
                  </a:lnTo>
                  <a:lnTo>
                    <a:pt x="852" y="689"/>
                  </a:lnTo>
                  <a:lnTo>
                    <a:pt x="844" y="700"/>
                  </a:lnTo>
                  <a:lnTo>
                    <a:pt x="836" y="712"/>
                  </a:lnTo>
                  <a:lnTo>
                    <a:pt x="830" y="727"/>
                  </a:lnTo>
                  <a:lnTo>
                    <a:pt x="824" y="711"/>
                  </a:lnTo>
                  <a:lnTo>
                    <a:pt x="817" y="695"/>
                  </a:lnTo>
                  <a:lnTo>
                    <a:pt x="809" y="681"/>
                  </a:lnTo>
                  <a:lnTo>
                    <a:pt x="801" y="668"/>
                  </a:lnTo>
                  <a:lnTo>
                    <a:pt x="796" y="663"/>
                  </a:lnTo>
                  <a:lnTo>
                    <a:pt x="789" y="657"/>
                  </a:lnTo>
                  <a:lnTo>
                    <a:pt x="782" y="653"/>
                  </a:lnTo>
                  <a:lnTo>
                    <a:pt x="774" y="649"/>
                  </a:lnTo>
                  <a:lnTo>
                    <a:pt x="766" y="645"/>
                  </a:lnTo>
                  <a:lnTo>
                    <a:pt x="757" y="644"/>
                  </a:lnTo>
                  <a:lnTo>
                    <a:pt x="746" y="643"/>
                  </a:lnTo>
                  <a:lnTo>
                    <a:pt x="734" y="641"/>
                  </a:lnTo>
                  <a:lnTo>
                    <a:pt x="725" y="643"/>
                  </a:lnTo>
                  <a:lnTo>
                    <a:pt x="717" y="645"/>
                  </a:lnTo>
                  <a:lnTo>
                    <a:pt x="709" y="649"/>
                  </a:lnTo>
                  <a:lnTo>
                    <a:pt x="702" y="653"/>
                  </a:lnTo>
                  <a:lnTo>
                    <a:pt x="694" y="659"/>
                  </a:lnTo>
                  <a:lnTo>
                    <a:pt x="688" y="663"/>
                  </a:lnTo>
                  <a:lnTo>
                    <a:pt x="681" y="665"/>
                  </a:lnTo>
                  <a:lnTo>
                    <a:pt x="674" y="665"/>
                  </a:lnTo>
                  <a:lnTo>
                    <a:pt x="666" y="665"/>
                  </a:lnTo>
                  <a:lnTo>
                    <a:pt x="660" y="661"/>
                  </a:lnTo>
                  <a:lnTo>
                    <a:pt x="654" y="657"/>
                  </a:lnTo>
                  <a:lnTo>
                    <a:pt x="650" y="652"/>
                  </a:lnTo>
                  <a:lnTo>
                    <a:pt x="646" y="647"/>
                  </a:lnTo>
                  <a:lnTo>
                    <a:pt x="642" y="640"/>
                  </a:lnTo>
                  <a:lnTo>
                    <a:pt x="638" y="635"/>
                  </a:lnTo>
                  <a:lnTo>
                    <a:pt x="632" y="629"/>
                  </a:lnTo>
                  <a:lnTo>
                    <a:pt x="620" y="624"/>
                  </a:lnTo>
                  <a:lnTo>
                    <a:pt x="609" y="620"/>
                  </a:lnTo>
                  <a:lnTo>
                    <a:pt x="598" y="617"/>
                  </a:lnTo>
                  <a:lnTo>
                    <a:pt x="589" y="615"/>
                  </a:lnTo>
                  <a:lnTo>
                    <a:pt x="573" y="612"/>
                  </a:lnTo>
                  <a:lnTo>
                    <a:pt x="558" y="609"/>
                  </a:lnTo>
                  <a:lnTo>
                    <a:pt x="553" y="607"/>
                  </a:lnTo>
                  <a:lnTo>
                    <a:pt x="546" y="604"/>
                  </a:lnTo>
                  <a:lnTo>
                    <a:pt x="541" y="599"/>
                  </a:lnTo>
                  <a:lnTo>
                    <a:pt x="536" y="592"/>
                  </a:lnTo>
                  <a:lnTo>
                    <a:pt x="532" y="583"/>
                  </a:lnTo>
                  <a:lnTo>
                    <a:pt x="526" y="571"/>
                  </a:lnTo>
                  <a:lnTo>
                    <a:pt x="522" y="557"/>
                  </a:lnTo>
                  <a:lnTo>
                    <a:pt x="517" y="539"/>
                  </a:lnTo>
                  <a:lnTo>
                    <a:pt x="509" y="543"/>
                  </a:lnTo>
                  <a:lnTo>
                    <a:pt x="503" y="548"/>
                  </a:lnTo>
                  <a:lnTo>
                    <a:pt x="496" y="553"/>
                  </a:lnTo>
                  <a:lnTo>
                    <a:pt x="491" y="560"/>
                  </a:lnTo>
                  <a:lnTo>
                    <a:pt x="487" y="565"/>
                  </a:lnTo>
                  <a:lnTo>
                    <a:pt x="481" y="571"/>
                  </a:lnTo>
                  <a:lnTo>
                    <a:pt x="476" y="575"/>
                  </a:lnTo>
                  <a:lnTo>
                    <a:pt x="469" y="576"/>
                  </a:lnTo>
                  <a:lnTo>
                    <a:pt x="456" y="576"/>
                  </a:lnTo>
                  <a:lnTo>
                    <a:pt x="443" y="576"/>
                  </a:lnTo>
                  <a:lnTo>
                    <a:pt x="429" y="576"/>
                  </a:lnTo>
                  <a:lnTo>
                    <a:pt x="415" y="576"/>
                  </a:lnTo>
                  <a:lnTo>
                    <a:pt x="407" y="575"/>
                  </a:lnTo>
                  <a:lnTo>
                    <a:pt x="400" y="575"/>
                  </a:lnTo>
                  <a:lnTo>
                    <a:pt x="393" y="572"/>
                  </a:lnTo>
                  <a:lnTo>
                    <a:pt x="387" y="571"/>
                  </a:lnTo>
                  <a:lnTo>
                    <a:pt x="376" y="564"/>
                  </a:lnTo>
                  <a:lnTo>
                    <a:pt x="367" y="556"/>
                  </a:lnTo>
                  <a:lnTo>
                    <a:pt x="360" y="547"/>
                  </a:lnTo>
                  <a:lnTo>
                    <a:pt x="353" y="536"/>
                  </a:lnTo>
                  <a:lnTo>
                    <a:pt x="347" y="524"/>
                  </a:lnTo>
                  <a:lnTo>
                    <a:pt x="341" y="512"/>
                  </a:lnTo>
                  <a:lnTo>
                    <a:pt x="336" y="500"/>
                  </a:lnTo>
                  <a:lnTo>
                    <a:pt x="329" y="489"/>
                  </a:lnTo>
                  <a:lnTo>
                    <a:pt x="323" y="479"/>
                  </a:lnTo>
                  <a:lnTo>
                    <a:pt x="313" y="469"/>
                  </a:lnTo>
                  <a:lnTo>
                    <a:pt x="309" y="464"/>
                  </a:lnTo>
                  <a:lnTo>
                    <a:pt x="303" y="460"/>
                  </a:lnTo>
                  <a:lnTo>
                    <a:pt x="297" y="457"/>
                  </a:lnTo>
                  <a:lnTo>
                    <a:pt x="291" y="455"/>
                  </a:lnTo>
                  <a:lnTo>
                    <a:pt x="284" y="452"/>
                  </a:lnTo>
                  <a:lnTo>
                    <a:pt x="276" y="451"/>
                  </a:lnTo>
                  <a:lnTo>
                    <a:pt x="268" y="449"/>
                  </a:lnTo>
                  <a:lnTo>
                    <a:pt x="259" y="449"/>
                  </a:lnTo>
                  <a:lnTo>
                    <a:pt x="252" y="449"/>
                  </a:lnTo>
                  <a:lnTo>
                    <a:pt x="241" y="449"/>
                  </a:lnTo>
                  <a:lnTo>
                    <a:pt x="227" y="449"/>
                  </a:lnTo>
                  <a:lnTo>
                    <a:pt x="211" y="449"/>
                  </a:lnTo>
                  <a:lnTo>
                    <a:pt x="201" y="448"/>
                  </a:lnTo>
                  <a:lnTo>
                    <a:pt x="191" y="447"/>
                  </a:lnTo>
                  <a:lnTo>
                    <a:pt x="181" y="444"/>
                  </a:lnTo>
                  <a:lnTo>
                    <a:pt x="172" y="440"/>
                  </a:lnTo>
                  <a:lnTo>
                    <a:pt x="163" y="435"/>
                  </a:lnTo>
                  <a:lnTo>
                    <a:pt x="153" y="429"/>
                  </a:lnTo>
                  <a:lnTo>
                    <a:pt x="144" y="423"/>
                  </a:lnTo>
                  <a:lnTo>
                    <a:pt x="135" y="415"/>
                  </a:lnTo>
                  <a:lnTo>
                    <a:pt x="116" y="399"/>
                  </a:lnTo>
                  <a:lnTo>
                    <a:pt x="99" y="380"/>
                  </a:lnTo>
                  <a:lnTo>
                    <a:pt x="83" y="361"/>
                  </a:lnTo>
                  <a:lnTo>
                    <a:pt x="67" y="340"/>
                  </a:lnTo>
                  <a:lnTo>
                    <a:pt x="39" y="301"/>
                  </a:lnTo>
                  <a:lnTo>
                    <a:pt x="19" y="265"/>
                  </a:lnTo>
                  <a:lnTo>
                    <a:pt x="4" y="241"/>
                  </a:lnTo>
                  <a:lnTo>
                    <a:pt x="0" y="232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accent1">
                  <a:lumMod val="20000"/>
                  <a:lumOff val="8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95" b="0" i="0" u="none" strike="noStrike" kern="1200" cap="none" spc="0" normalizeH="0" baseline="0" noProof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6" name="Freeform 55"/>
            <p:cNvSpPr>
              <a:spLocks/>
            </p:cNvSpPr>
            <p:nvPr/>
          </p:nvSpPr>
          <p:spPr bwMode="auto">
            <a:xfrm>
              <a:off x="4780858" y="2306129"/>
              <a:ext cx="51879" cy="41739"/>
            </a:xfrm>
            <a:custGeom>
              <a:avLst/>
              <a:gdLst>
                <a:gd name="T0" fmla="*/ 320 w 723"/>
                <a:gd name="T1" fmla="*/ 27 h 579"/>
                <a:gd name="T2" fmla="*/ 308 w 723"/>
                <a:gd name="T3" fmla="*/ 11 h 579"/>
                <a:gd name="T4" fmla="*/ 296 w 723"/>
                <a:gd name="T5" fmla="*/ 0 h 579"/>
                <a:gd name="T6" fmla="*/ 260 w 723"/>
                <a:gd name="T7" fmla="*/ 30 h 579"/>
                <a:gd name="T8" fmla="*/ 241 w 723"/>
                <a:gd name="T9" fmla="*/ 47 h 579"/>
                <a:gd name="T10" fmla="*/ 197 w 723"/>
                <a:gd name="T11" fmla="*/ 66 h 579"/>
                <a:gd name="T12" fmla="*/ 183 w 723"/>
                <a:gd name="T13" fmla="*/ 86 h 579"/>
                <a:gd name="T14" fmla="*/ 164 w 723"/>
                <a:gd name="T15" fmla="*/ 123 h 579"/>
                <a:gd name="T16" fmla="*/ 143 w 723"/>
                <a:gd name="T17" fmla="*/ 140 h 579"/>
                <a:gd name="T18" fmla="*/ 107 w 723"/>
                <a:gd name="T19" fmla="*/ 151 h 579"/>
                <a:gd name="T20" fmla="*/ 80 w 723"/>
                <a:gd name="T21" fmla="*/ 196 h 579"/>
                <a:gd name="T22" fmla="*/ 59 w 723"/>
                <a:gd name="T23" fmla="*/ 270 h 579"/>
                <a:gd name="T24" fmla="*/ 48 w 723"/>
                <a:gd name="T25" fmla="*/ 331 h 579"/>
                <a:gd name="T26" fmla="*/ 56 w 723"/>
                <a:gd name="T27" fmla="*/ 358 h 579"/>
                <a:gd name="T28" fmla="*/ 55 w 723"/>
                <a:gd name="T29" fmla="*/ 387 h 579"/>
                <a:gd name="T30" fmla="*/ 35 w 723"/>
                <a:gd name="T31" fmla="*/ 398 h 579"/>
                <a:gd name="T32" fmla="*/ 0 w 723"/>
                <a:gd name="T33" fmla="*/ 399 h 579"/>
                <a:gd name="T34" fmla="*/ 6 w 723"/>
                <a:gd name="T35" fmla="*/ 419 h 579"/>
                <a:gd name="T36" fmla="*/ 24 w 723"/>
                <a:gd name="T37" fmla="*/ 444 h 579"/>
                <a:gd name="T38" fmla="*/ 44 w 723"/>
                <a:gd name="T39" fmla="*/ 472 h 579"/>
                <a:gd name="T40" fmla="*/ 48 w 723"/>
                <a:gd name="T41" fmla="*/ 495 h 579"/>
                <a:gd name="T42" fmla="*/ 39 w 723"/>
                <a:gd name="T43" fmla="*/ 531 h 579"/>
                <a:gd name="T44" fmla="*/ 38 w 723"/>
                <a:gd name="T45" fmla="*/ 555 h 579"/>
                <a:gd name="T46" fmla="*/ 44 w 723"/>
                <a:gd name="T47" fmla="*/ 565 h 579"/>
                <a:gd name="T48" fmla="*/ 55 w 723"/>
                <a:gd name="T49" fmla="*/ 572 h 579"/>
                <a:gd name="T50" fmla="*/ 116 w 723"/>
                <a:gd name="T51" fmla="*/ 572 h 579"/>
                <a:gd name="T52" fmla="*/ 171 w 723"/>
                <a:gd name="T53" fmla="*/ 561 h 579"/>
                <a:gd name="T54" fmla="*/ 223 w 723"/>
                <a:gd name="T55" fmla="*/ 543 h 579"/>
                <a:gd name="T56" fmla="*/ 299 w 723"/>
                <a:gd name="T57" fmla="*/ 504 h 579"/>
                <a:gd name="T58" fmla="*/ 361 w 723"/>
                <a:gd name="T59" fmla="*/ 506 h 579"/>
                <a:gd name="T60" fmla="*/ 383 w 723"/>
                <a:gd name="T61" fmla="*/ 546 h 579"/>
                <a:gd name="T62" fmla="*/ 405 w 723"/>
                <a:gd name="T63" fmla="*/ 556 h 579"/>
                <a:gd name="T64" fmla="*/ 421 w 723"/>
                <a:gd name="T65" fmla="*/ 543 h 579"/>
                <a:gd name="T66" fmla="*/ 443 w 723"/>
                <a:gd name="T67" fmla="*/ 560 h 579"/>
                <a:gd name="T68" fmla="*/ 459 w 723"/>
                <a:gd name="T69" fmla="*/ 575 h 579"/>
                <a:gd name="T70" fmla="*/ 480 w 723"/>
                <a:gd name="T71" fmla="*/ 577 h 579"/>
                <a:gd name="T72" fmla="*/ 493 w 723"/>
                <a:gd name="T73" fmla="*/ 567 h 579"/>
                <a:gd name="T74" fmla="*/ 505 w 723"/>
                <a:gd name="T75" fmla="*/ 552 h 579"/>
                <a:gd name="T76" fmla="*/ 556 w 723"/>
                <a:gd name="T77" fmla="*/ 538 h 579"/>
                <a:gd name="T78" fmla="*/ 603 w 723"/>
                <a:gd name="T79" fmla="*/ 514 h 579"/>
                <a:gd name="T80" fmla="*/ 636 w 723"/>
                <a:gd name="T81" fmla="*/ 482 h 579"/>
                <a:gd name="T82" fmla="*/ 684 w 723"/>
                <a:gd name="T83" fmla="*/ 415 h 579"/>
                <a:gd name="T84" fmla="*/ 723 w 723"/>
                <a:gd name="T85" fmla="*/ 368 h 579"/>
                <a:gd name="T86" fmla="*/ 696 w 723"/>
                <a:gd name="T87" fmla="*/ 348 h 579"/>
                <a:gd name="T88" fmla="*/ 668 w 723"/>
                <a:gd name="T89" fmla="*/ 299 h 579"/>
                <a:gd name="T90" fmla="*/ 649 w 723"/>
                <a:gd name="T91" fmla="*/ 271 h 579"/>
                <a:gd name="T92" fmla="*/ 620 w 723"/>
                <a:gd name="T93" fmla="*/ 252 h 579"/>
                <a:gd name="T94" fmla="*/ 584 w 723"/>
                <a:gd name="T95" fmla="*/ 248 h 579"/>
                <a:gd name="T96" fmla="*/ 543 w 723"/>
                <a:gd name="T97" fmla="*/ 248 h 579"/>
                <a:gd name="T98" fmla="*/ 515 w 723"/>
                <a:gd name="T99" fmla="*/ 243 h 579"/>
                <a:gd name="T100" fmla="*/ 489 w 723"/>
                <a:gd name="T101" fmla="*/ 231 h 579"/>
                <a:gd name="T102" fmla="*/ 459 w 723"/>
                <a:gd name="T103" fmla="*/ 206 h 579"/>
                <a:gd name="T104" fmla="*/ 417 w 723"/>
                <a:gd name="T105" fmla="*/ 154 h 579"/>
                <a:gd name="T106" fmla="*/ 356 w 723"/>
                <a:gd name="T107" fmla="*/ 60 h 579"/>
                <a:gd name="T108" fmla="*/ 320 w 723"/>
                <a:gd name="T109" fmla="*/ 19 h 579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723"/>
                <a:gd name="T166" fmla="*/ 0 h 579"/>
                <a:gd name="T167" fmla="*/ 723 w 723"/>
                <a:gd name="T168" fmla="*/ 579 h 579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723" h="579">
                  <a:moveTo>
                    <a:pt x="332" y="31"/>
                  </a:moveTo>
                  <a:lnTo>
                    <a:pt x="325" y="30"/>
                  </a:lnTo>
                  <a:lnTo>
                    <a:pt x="320" y="27"/>
                  </a:lnTo>
                  <a:lnTo>
                    <a:pt x="316" y="22"/>
                  </a:lnTo>
                  <a:lnTo>
                    <a:pt x="311" y="16"/>
                  </a:lnTo>
                  <a:lnTo>
                    <a:pt x="308" y="11"/>
                  </a:lnTo>
                  <a:lnTo>
                    <a:pt x="304" y="6"/>
                  </a:lnTo>
                  <a:lnTo>
                    <a:pt x="300" y="2"/>
                  </a:lnTo>
                  <a:lnTo>
                    <a:pt x="296" y="0"/>
                  </a:lnTo>
                  <a:lnTo>
                    <a:pt x="280" y="10"/>
                  </a:lnTo>
                  <a:lnTo>
                    <a:pt x="265" y="19"/>
                  </a:lnTo>
                  <a:lnTo>
                    <a:pt x="260" y="30"/>
                  </a:lnTo>
                  <a:lnTo>
                    <a:pt x="255" y="36"/>
                  </a:lnTo>
                  <a:lnTo>
                    <a:pt x="249" y="43"/>
                  </a:lnTo>
                  <a:lnTo>
                    <a:pt x="241" y="47"/>
                  </a:lnTo>
                  <a:lnTo>
                    <a:pt x="225" y="54"/>
                  </a:lnTo>
                  <a:lnTo>
                    <a:pt x="205" y="62"/>
                  </a:lnTo>
                  <a:lnTo>
                    <a:pt x="197" y="66"/>
                  </a:lnTo>
                  <a:lnTo>
                    <a:pt x="192" y="72"/>
                  </a:lnTo>
                  <a:lnTo>
                    <a:pt x="187" y="79"/>
                  </a:lnTo>
                  <a:lnTo>
                    <a:pt x="183" y="86"/>
                  </a:lnTo>
                  <a:lnTo>
                    <a:pt x="176" y="100"/>
                  </a:lnTo>
                  <a:lnTo>
                    <a:pt x="168" y="115"/>
                  </a:lnTo>
                  <a:lnTo>
                    <a:pt x="164" y="123"/>
                  </a:lnTo>
                  <a:lnTo>
                    <a:pt x="159" y="130"/>
                  </a:lnTo>
                  <a:lnTo>
                    <a:pt x="152" y="135"/>
                  </a:lnTo>
                  <a:lnTo>
                    <a:pt x="143" y="140"/>
                  </a:lnTo>
                  <a:lnTo>
                    <a:pt x="133" y="146"/>
                  </a:lnTo>
                  <a:lnTo>
                    <a:pt x="121" y="148"/>
                  </a:lnTo>
                  <a:lnTo>
                    <a:pt x="107" y="151"/>
                  </a:lnTo>
                  <a:lnTo>
                    <a:pt x="91" y="151"/>
                  </a:lnTo>
                  <a:lnTo>
                    <a:pt x="85" y="175"/>
                  </a:lnTo>
                  <a:lnTo>
                    <a:pt x="80" y="196"/>
                  </a:lnTo>
                  <a:lnTo>
                    <a:pt x="75" y="216"/>
                  </a:lnTo>
                  <a:lnTo>
                    <a:pt x="70" y="235"/>
                  </a:lnTo>
                  <a:lnTo>
                    <a:pt x="59" y="270"/>
                  </a:lnTo>
                  <a:lnTo>
                    <a:pt x="48" y="308"/>
                  </a:lnTo>
                  <a:lnTo>
                    <a:pt x="48" y="320"/>
                  </a:lnTo>
                  <a:lnTo>
                    <a:pt x="48" y="331"/>
                  </a:lnTo>
                  <a:lnTo>
                    <a:pt x="51" y="340"/>
                  </a:lnTo>
                  <a:lnTo>
                    <a:pt x="54" y="350"/>
                  </a:lnTo>
                  <a:lnTo>
                    <a:pt x="56" y="358"/>
                  </a:lnTo>
                  <a:lnTo>
                    <a:pt x="58" y="367"/>
                  </a:lnTo>
                  <a:lnTo>
                    <a:pt x="58" y="376"/>
                  </a:lnTo>
                  <a:lnTo>
                    <a:pt x="55" y="387"/>
                  </a:lnTo>
                  <a:lnTo>
                    <a:pt x="50" y="392"/>
                  </a:lnTo>
                  <a:lnTo>
                    <a:pt x="43" y="396"/>
                  </a:lnTo>
                  <a:lnTo>
                    <a:pt x="35" y="398"/>
                  </a:lnTo>
                  <a:lnTo>
                    <a:pt x="28" y="399"/>
                  </a:lnTo>
                  <a:lnTo>
                    <a:pt x="12" y="399"/>
                  </a:lnTo>
                  <a:lnTo>
                    <a:pt x="0" y="399"/>
                  </a:lnTo>
                  <a:lnTo>
                    <a:pt x="2" y="406"/>
                  </a:lnTo>
                  <a:lnTo>
                    <a:pt x="3" y="412"/>
                  </a:lnTo>
                  <a:lnTo>
                    <a:pt x="6" y="419"/>
                  </a:lnTo>
                  <a:lnTo>
                    <a:pt x="8" y="424"/>
                  </a:lnTo>
                  <a:lnTo>
                    <a:pt x="16" y="435"/>
                  </a:lnTo>
                  <a:lnTo>
                    <a:pt x="24" y="444"/>
                  </a:lnTo>
                  <a:lnTo>
                    <a:pt x="34" y="455"/>
                  </a:lnTo>
                  <a:lnTo>
                    <a:pt x="42" y="466"/>
                  </a:lnTo>
                  <a:lnTo>
                    <a:pt x="44" y="472"/>
                  </a:lnTo>
                  <a:lnTo>
                    <a:pt x="47" y="479"/>
                  </a:lnTo>
                  <a:lnTo>
                    <a:pt x="48" y="487"/>
                  </a:lnTo>
                  <a:lnTo>
                    <a:pt x="48" y="495"/>
                  </a:lnTo>
                  <a:lnTo>
                    <a:pt x="47" y="507"/>
                  </a:lnTo>
                  <a:lnTo>
                    <a:pt x="43" y="519"/>
                  </a:lnTo>
                  <a:lnTo>
                    <a:pt x="39" y="531"/>
                  </a:lnTo>
                  <a:lnTo>
                    <a:pt x="36" y="543"/>
                  </a:lnTo>
                  <a:lnTo>
                    <a:pt x="38" y="550"/>
                  </a:lnTo>
                  <a:lnTo>
                    <a:pt x="38" y="555"/>
                  </a:lnTo>
                  <a:lnTo>
                    <a:pt x="40" y="559"/>
                  </a:lnTo>
                  <a:lnTo>
                    <a:pt x="42" y="563"/>
                  </a:lnTo>
                  <a:lnTo>
                    <a:pt x="44" y="565"/>
                  </a:lnTo>
                  <a:lnTo>
                    <a:pt x="48" y="568"/>
                  </a:lnTo>
                  <a:lnTo>
                    <a:pt x="51" y="571"/>
                  </a:lnTo>
                  <a:lnTo>
                    <a:pt x="55" y="572"/>
                  </a:lnTo>
                  <a:lnTo>
                    <a:pt x="75" y="573"/>
                  </a:lnTo>
                  <a:lnTo>
                    <a:pt x="96" y="573"/>
                  </a:lnTo>
                  <a:lnTo>
                    <a:pt x="116" y="572"/>
                  </a:lnTo>
                  <a:lnTo>
                    <a:pt x="135" y="569"/>
                  </a:lnTo>
                  <a:lnTo>
                    <a:pt x="153" y="567"/>
                  </a:lnTo>
                  <a:lnTo>
                    <a:pt x="171" y="561"/>
                  </a:lnTo>
                  <a:lnTo>
                    <a:pt x="188" y="556"/>
                  </a:lnTo>
                  <a:lnTo>
                    <a:pt x="205" y="550"/>
                  </a:lnTo>
                  <a:lnTo>
                    <a:pt x="223" y="543"/>
                  </a:lnTo>
                  <a:lnTo>
                    <a:pt x="239" y="535"/>
                  </a:lnTo>
                  <a:lnTo>
                    <a:pt x="271" y="519"/>
                  </a:lnTo>
                  <a:lnTo>
                    <a:pt x="299" y="504"/>
                  </a:lnTo>
                  <a:lnTo>
                    <a:pt x="325" y="492"/>
                  </a:lnTo>
                  <a:lnTo>
                    <a:pt x="349" y="483"/>
                  </a:lnTo>
                  <a:lnTo>
                    <a:pt x="361" y="506"/>
                  </a:lnTo>
                  <a:lnTo>
                    <a:pt x="372" y="527"/>
                  </a:lnTo>
                  <a:lnTo>
                    <a:pt x="377" y="536"/>
                  </a:lnTo>
                  <a:lnTo>
                    <a:pt x="383" y="546"/>
                  </a:lnTo>
                  <a:lnTo>
                    <a:pt x="389" y="554"/>
                  </a:lnTo>
                  <a:lnTo>
                    <a:pt x="397" y="561"/>
                  </a:lnTo>
                  <a:lnTo>
                    <a:pt x="405" y="556"/>
                  </a:lnTo>
                  <a:lnTo>
                    <a:pt x="412" y="552"/>
                  </a:lnTo>
                  <a:lnTo>
                    <a:pt x="417" y="548"/>
                  </a:lnTo>
                  <a:lnTo>
                    <a:pt x="421" y="543"/>
                  </a:lnTo>
                  <a:lnTo>
                    <a:pt x="431" y="548"/>
                  </a:lnTo>
                  <a:lnTo>
                    <a:pt x="437" y="554"/>
                  </a:lnTo>
                  <a:lnTo>
                    <a:pt x="443" y="560"/>
                  </a:lnTo>
                  <a:lnTo>
                    <a:pt x="448" y="565"/>
                  </a:lnTo>
                  <a:lnTo>
                    <a:pt x="453" y="571"/>
                  </a:lnTo>
                  <a:lnTo>
                    <a:pt x="459" y="575"/>
                  </a:lnTo>
                  <a:lnTo>
                    <a:pt x="464" y="577"/>
                  </a:lnTo>
                  <a:lnTo>
                    <a:pt x="471" y="579"/>
                  </a:lnTo>
                  <a:lnTo>
                    <a:pt x="480" y="577"/>
                  </a:lnTo>
                  <a:lnTo>
                    <a:pt x="487" y="575"/>
                  </a:lnTo>
                  <a:lnTo>
                    <a:pt x="491" y="571"/>
                  </a:lnTo>
                  <a:lnTo>
                    <a:pt x="493" y="567"/>
                  </a:lnTo>
                  <a:lnTo>
                    <a:pt x="496" y="561"/>
                  </a:lnTo>
                  <a:lnTo>
                    <a:pt x="500" y="556"/>
                  </a:lnTo>
                  <a:lnTo>
                    <a:pt x="505" y="552"/>
                  </a:lnTo>
                  <a:lnTo>
                    <a:pt x="512" y="550"/>
                  </a:lnTo>
                  <a:lnTo>
                    <a:pt x="536" y="544"/>
                  </a:lnTo>
                  <a:lnTo>
                    <a:pt x="556" y="538"/>
                  </a:lnTo>
                  <a:lnTo>
                    <a:pt x="573" y="531"/>
                  </a:lnTo>
                  <a:lnTo>
                    <a:pt x="589" y="523"/>
                  </a:lnTo>
                  <a:lnTo>
                    <a:pt x="603" y="514"/>
                  </a:lnTo>
                  <a:lnTo>
                    <a:pt x="615" y="503"/>
                  </a:lnTo>
                  <a:lnTo>
                    <a:pt x="625" y="492"/>
                  </a:lnTo>
                  <a:lnTo>
                    <a:pt x="636" y="482"/>
                  </a:lnTo>
                  <a:lnTo>
                    <a:pt x="655" y="456"/>
                  </a:lnTo>
                  <a:lnTo>
                    <a:pt x="673" y="428"/>
                  </a:lnTo>
                  <a:lnTo>
                    <a:pt x="684" y="415"/>
                  </a:lnTo>
                  <a:lnTo>
                    <a:pt x="695" y="399"/>
                  </a:lnTo>
                  <a:lnTo>
                    <a:pt x="708" y="384"/>
                  </a:lnTo>
                  <a:lnTo>
                    <a:pt x="723" y="368"/>
                  </a:lnTo>
                  <a:lnTo>
                    <a:pt x="713" y="363"/>
                  </a:lnTo>
                  <a:lnTo>
                    <a:pt x="704" y="356"/>
                  </a:lnTo>
                  <a:lnTo>
                    <a:pt x="696" y="348"/>
                  </a:lnTo>
                  <a:lnTo>
                    <a:pt x="689" y="339"/>
                  </a:lnTo>
                  <a:lnTo>
                    <a:pt x="679" y="320"/>
                  </a:lnTo>
                  <a:lnTo>
                    <a:pt x="668" y="299"/>
                  </a:lnTo>
                  <a:lnTo>
                    <a:pt x="663" y="290"/>
                  </a:lnTo>
                  <a:lnTo>
                    <a:pt x="656" y="280"/>
                  </a:lnTo>
                  <a:lnTo>
                    <a:pt x="649" y="271"/>
                  </a:lnTo>
                  <a:lnTo>
                    <a:pt x="641" y="263"/>
                  </a:lnTo>
                  <a:lnTo>
                    <a:pt x="631" y="258"/>
                  </a:lnTo>
                  <a:lnTo>
                    <a:pt x="620" y="252"/>
                  </a:lnTo>
                  <a:lnTo>
                    <a:pt x="607" y="250"/>
                  </a:lnTo>
                  <a:lnTo>
                    <a:pt x="591" y="248"/>
                  </a:lnTo>
                  <a:lnTo>
                    <a:pt x="584" y="248"/>
                  </a:lnTo>
                  <a:lnTo>
                    <a:pt x="573" y="248"/>
                  </a:lnTo>
                  <a:lnTo>
                    <a:pt x="559" y="248"/>
                  </a:lnTo>
                  <a:lnTo>
                    <a:pt x="543" y="248"/>
                  </a:lnTo>
                  <a:lnTo>
                    <a:pt x="533" y="247"/>
                  </a:lnTo>
                  <a:lnTo>
                    <a:pt x="524" y="246"/>
                  </a:lnTo>
                  <a:lnTo>
                    <a:pt x="515" y="243"/>
                  </a:lnTo>
                  <a:lnTo>
                    <a:pt x="507" y="240"/>
                  </a:lnTo>
                  <a:lnTo>
                    <a:pt x="497" y="236"/>
                  </a:lnTo>
                  <a:lnTo>
                    <a:pt x="489" y="231"/>
                  </a:lnTo>
                  <a:lnTo>
                    <a:pt x="481" y="226"/>
                  </a:lnTo>
                  <a:lnTo>
                    <a:pt x="473" y="220"/>
                  </a:lnTo>
                  <a:lnTo>
                    <a:pt x="459" y="206"/>
                  </a:lnTo>
                  <a:lnTo>
                    <a:pt x="444" y="190"/>
                  </a:lnTo>
                  <a:lnTo>
                    <a:pt x="431" y="172"/>
                  </a:lnTo>
                  <a:lnTo>
                    <a:pt x="417" y="154"/>
                  </a:lnTo>
                  <a:lnTo>
                    <a:pt x="392" y="115"/>
                  </a:lnTo>
                  <a:lnTo>
                    <a:pt x="368" y="78"/>
                  </a:lnTo>
                  <a:lnTo>
                    <a:pt x="356" y="60"/>
                  </a:lnTo>
                  <a:lnTo>
                    <a:pt x="344" y="44"/>
                  </a:lnTo>
                  <a:lnTo>
                    <a:pt x="332" y="31"/>
                  </a:lnTo>
                  <a:lnTo>
                    <a:pt x="320" y="19"/>
                  </a:lnTo>
                  <a:lnTo>
                    <a:pt x="332" y="31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accent1">
                  <a:lumMod val="20000"/>
                  <a:lumOff val="8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95" b="0" i="0" u="none" strike="noStrike" kern="1200" cap="none" spc="0" normalizeH="0" baseline="0" noProof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7" name="Freeform 60"/>
            <p:cNvSpPr>
              <a:spLocks/>
            </p:cNvSpPr>
            <p:nvPr/>
          </p:nvSpPr>
          <p:spPr bwMode="auto">
            <a:xfrm>
              <a:off x="4851366" y="2410359"/>
              <a:ext cx="43625" cy="48106"/>
            </a:xfrm>
            <a:custGeom>
              <a:avLst/>
              <a:gdLst>
                <a:gd name="T0" fmla="*/ 499 w 602"/>
                <a:gd name="T1" fmla="*/ 649 h 668"/>
                <a:gd name="T2" fmla="*/ 528 w 602"/>
                <a:gd name="T3" fmla="*/ 616 h 668"/>
                <a:gd name="T4" fmla="*/ 568 w 602"/>
                <a:gd name="T5" fmla="*/ 584 h 668"/>
                <a:gd name="T6" fmla="*/ 592 w 602"/>
                <a:gd name="T7" fmla="*/ 557 h 668"/>
                <a:gd name="T8" fmla="*/ 602 w 602"/>
                <a:gd name="T9" fmla="*/ 524 h 668"/>
                <a:gd name="T10" fmla="*/ 599 w 602"/>
                <a:gd name="T11" fmla="*/ 511 h 668"/>
                <a:gd name="T12" fmla="*/ 587 w 602"/>
                <a:gd name="T13" fmla="*/ 497 h 668"/>
                <a:gd name="T14" fmla="*/ 575 w 602"/>
                <a:gd name="T15" fmla="*/ 483 h 668"/>
                <a:gd name="T16" fmla="*/ 572 w 602"/>
                <a:gd name="T17" fmla="*/ 469 h 668"/>
                <a:gd name="T18" fmla="*/ 582 w 602"/>
                <a:gd name="T19" fmla="*/ 437 h 668"/>
                <a:gd name="T20" fmla="*/ 598 w 602"/>
                <a:gd name="T21" fmla="*/ 409 h 668"/>
                <a:gd name="T22" fmla="*/ 602 w 602"/>
                <a:gd name="T23" fmla="*/ 367 h 668"/>
                <a:gd name="T24" fmla="*/ 596 w 602"/>
                <a:gd name="T25" fmla="*/ 335 h 668"/>
                <a:gd name="T26" fmla="*/ 580 w 602"/>
                <a:gd name="T27" fmla="*/ 316 h 668"/>
                <a:gd name="T28" fmla="*/ 562 w 602"/>
                <a:gd name="T29" fmla="*/ 275 h 668"/>
                <a:gd name="T30" fmla="*/ 536 w 602"/>
                <a:gd name="T31" fmla="*/ 263 h 668"/>
                <a:gd name="T32" fmla="*/ 491 w 602"/>
                <a:gd name="T33" fmla="*/ 226 h 668"/>
                <a:gd name="T34" fmla="*/ 459 w 602"/>
                <a:gd name="T35" fmla="*/ 208 h 668"/>
                <a:gd name="T36" fmla="*/ 434 w 602"/>
                <a:gd name="T37" fmla="*/ 206 h 668"/>
                <a:gd name="T38" fmla="*/ 420 w 602"/>
                <a:gd name="T39" fmla="*/ 211 h 668"/>
                <a:gd name="T40" fmla="*/ 402 w 602"/>
                <a:gd name="T41" fmla="*/ 234 h 668"/>
                <a:gd name="T42" fmla="*/ 387 w 602"/>
                <a:gd name="T43" fmla="*/ 246 h 668"/>
                <a:gd name="T44" fmla="*/ 372 w 602"/>
                <a:gd name="T45" fmla="*/ 247 h 668"/>
                <a:gd name="T46" fmla="*/ 356 w 602"/>
                <a:gd name="T47" fmla="*/ 239 h 668"/>
                <a:gd name="T48" fmla="*/ 346 w 602"/>
                <a:gd name="T49" fmla="*/ 224 h 668"/>
                <a:gd name="T50" fmla="*/ 336 w 602"/>
                <a:gd name="T51" fmla="*/ 190 h 668"/>
                <a:gd name="T52" fmla="*/ 331 w 602"/>
                <a:gd name="T53" fmla="*/ 140 h 668"/>
                <a:gd name="T54" fmla="*/ 320 w 602"/>
                <a:gd name="T55" fmla="*/ 95 h 668"/>
                <a:gd name="T56" fmla="*/ 308 w 602"/>
                <a:gd name="T57" fmla="*/ 78 h 668"/>
                <a:gd name="T58" fmla="*/ 292 w 602"/>
                <a:gd name="T59" fmla="*/ 68 h 668"/>
                <a:gd name="T60" fmla="*/ 271 w 602"/>
                <a:gd name="T61" fmla="*/ 67 h 668"/>
                <a:gd name="T62" fmla="*/ 252 w 602"/>
                <a:gd name="T63" fmla="*/ 75 h 668"/>
                <a:gd name="T64" fmla="*/ 231 w 602"/>
                <a:gd name="T65" fmla="*/ 84 h 668"/>
                <a:gd name="T66" fmla="*/ 211 w 602"/>
                <a:gd name="T67" fmla="*/ 82 h 668"/>
                <a:gd name="T68" fmla="*/ 183 w 602"/>
                <a:gd name="T69" fmla="*/ 67 h 668"/>
                <a:gd name="T70" fmla="*/ 144 w 602"/>
                <a:gd name="T71" fmla="*/ 28 h 668"/>
                <a:gd name="T72" fmla="*/ 134 w 602"/>
                <a:gd name="T73" fmla="*/ 7 h 668"/>
                <a:gd name="T74" fmla="*/ 112 w 602"/>
                <a:gd name="T75" fmla="*/ 11 h 668"/>
                <a:gd name="T76" fmla="*/ 91 w 602"/>
                <a:gd name="T77" fmla="*/ 35 h 668"/>
                <a:gd name="T78" fmla="*/ 84 w 602"/>
                <a:gd name="T79" fmla="*/ 67 h 668"/>
                <a:gd name="T80" fmla="*/ 84 w 602"/>
                <a:gd name="T81" fmla="*/ 203 h 668"/>
                <a:gd name="T82" fmla="*/ 82 w 602"/>
                <a:gd name="T83" fmla="*/ 279 h 668"/>
                <a:gd name="T84" fmla="*/ 68 w 602"/>
                <a:gd name="T85" fmla="*/ 303 h 668"/>
                <a:gd name="T86" fmla="*/ 48 w 602"/>
                <a:gd name="T87" fmla="*/ 321 h 668"/>
                <a:gd name="T88" fmla="*/ 14 w 602"/>
                <a:gd name="T89" fmla="*/ 345 h 668"/>
                <a:gd name="T90" fmla="*/ 0 w 602"/>
                <a:gd name="T91" fmla="*/ 361 h 668"/>
                <a:gd name="T92" fmla="*/ 24 w 602"/>
                <a:gd name="T93" fmla="*/ 368 h 668"/>
                <a:gd name="T94" fmla="*/ 63 w 602"/>
                <a:gd name="T95" fmla="*/ 399 h 668"/>
                <a:gd name="T96" fmla="*/ 100 w 602"/>
                <a:gd name="T97" fmla="*/ 445 h 668"/>
                <a:gd name="T98" fmla="*/ 122 w 602"/>
                <a:gd name="T99" fmla="*/ 468 h 668"/>
                <a:gd name="T100" fmla="*/ 160 w 602"/>
                <a:gd name="T101" fmla="*/ 479 h 668"/>
                <a:gd name="T102" fmla="*/ 200 w 602"/>
                <a:gd name="T103" fmla="*/ 485 h 668"/>
                <a:gd name="T104" fmla="*/ 223 w 602"/>
                <a:gd name="T105" fmla="*/ 499 h 668"/>
                <a:gd name="T106" fmla="*/ 235 w 602"/>
                <a:gd name="T107" fmla="*/ 524 h 668"/>
                <a:gd name="T108" fmla="*/ 244 w 602"/>
                <a:gd name="T109" fmla="*/ 551 h 668"/>
                <a:gd name="T110" fmla="*/ 262 w 602"/>
                <a:gd name="T111" fmla="*/ 571 h 668"/>
                <a:gd name="T112" fmla="*/ 294 w 602"/>
                <a:gd name="T113" fmla="*/ 585 h 668"/>
                <a:gd name="T114" fmla="*/ 352 w 602"/>
                <a:gd name="T115" fmla="*/ 597 h 668"/>
                <a:gd name="T116" fmla="*/ 416 w 602"/>
                <a:gd name="T117" fmla="*/ 607 h 668"/>
                <a:gd name="T118" fmla="*/ 454 w 602"/>
                <a:gd name="T119" fmla="*/ 619 h 668"/>
                <a:gd name="T120" fmla="*/ 476 w 602"/>
                <a:gd name="T121" fmla="*/ 633 h 668"/>
                <a:gd name="T122" fmla="*/ 494 w 602"/>
                <a:gd name="T123" fmla="*/ 656 h 66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602"/>
                <a:gd name="T187" fmla="*/ 0 h 668"/>
                <a:gd name="T188" fmla="*/ 602 w 602"/>
                <a:gd name="T189" fmla="*/ 668 h 66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602" h="668">
                  <a:moveTo>
                    <a:pt x="494" y="668"/>
                  </a:moveTo>
                  <a:lnTo>
                    <a:pt x="495" y="659"/>
                  </a:lnTo>
                  <a:lnTo>
                    <a:pt x="499" y="649"/>
                  </a:lnTo>
                  <a:lnTo>
                    <a:pt x="504" y="641"/>
                  </a:lnTo>
                  <a:lnTo>
                    <a:pt x="511" y="632"/>
                  </a:lnTo>
                  <a:lnTo>
                    <a:pt x="528" y="616"/>
                  </a:lnTo>
                  <a:lnTo>
                    <a:pt x="548" y="601"/>
                  </a:lnTo>
                  <a:lnTo>
                    <a:pt x="558" y="593"/>
                  </a:lnTo>
                  <a:lnTo>
                    <a:pt x="568" y="584"/>
                  </a:lnTo>
                  <a:lnTo>
                    <a:pt x="578" y="576"/>
                  </a:lnTo>
                  <a:lnTo>
                    <a:pt x="586" y="567"/>
                  </a:lnTo>
                  <a:lnTo>
                    <a:pt x="592" y="557"/>
                  </a:lnTo>
                  <a:lnTo>
                    <a:pt x="598" y="547"/>
                  </a:lnTo>
                  <a:lnTo>
                    <a:pt x="602" y="536"/>
                  </a:lnTo>
                  <a:lnTo>
                    <a:pt x="602" y="524"/>
                  </a:lnTo>
                  <a:lnTo>
                    <a:pt x="602" y="519"/>
                  </a:lnTo>
                  <a:lnTo>
                    <a:pt x="600" y="515"/>
                  </a:lnTo>
                  <a:lnTo>
                    <a:pt x="599" y="511"/>
                  </a:lnTo>
                  <a:lnTo>
                    <a:pt x="598" y="507"/>
                  </a:lnTo>
                  <a:lnTo>
                    <a:pt x="592" y="501"/>
                  </a:lnTo>
                  <a:lnTo>
                    <a:pt x="587" y="497"/>
                  </a:lnTo>
                  <a:lnTo>
                    <a:pt x="582" y="492"/>
                  </a:lnTo>
                  <a:lnTo>
                    <a:pt x="576" y="487"/>
                  </a:lnTo>
                  <a:lnTo>
                    <a:pt x="575" y="483"/>
                  </a:lnTo>
                  <a:lnTo>
                    <a:pt x="574" y="480"/>
                  </a:lnTo>
                  <a:lnTo>
                    <a:pt x="572" y="475"/>
                  </a:lnTo>
                  <a:lnTo>
                    <a:pt x="572" y="469"/>
                  </a:lnTo>
                  <a:lnTo>
                    <a:pt x="574" y="457"/>
                  </a:lnTo>
                  <a:lnTo>
                    <a:pt x="576" y="447"/>
                  </a:lnTo>
                  <a:lnTo>
                    <a:pt x="582" y="437"/>
                  </a:lnTo>
                  <a:lnTo>
                    <a:pt x="587" y="429"/>
                  </a:lnTo>
                  <a:lnTo>
                    <a:pt x="592" y="420"/>
                  </a:lnTo>
                  <a:lnTo>
                    <a:pt x="598" y="409"/>
                  </a:lnTo>
                  <a:lnTo>
                    <a:pt x="600" y="396"/>
                  </a:lnTo>
                  <a:lnTo>
                    <a:pt x="602" y="379"/>
                  </a:lnTo>
                  <a:lnTo>
                    <a:pt x="602" y="367"/>
                  </a:lnTo>
                  <a:lnTo>
                    <a:pt x="600" y="355"/>
                  </a:lnTo>
                  <a:lnTo>
                    <a:pt x="599" y="344"/>
                  </a:lnTo>
                  <a:lnTo>
                    <a:pt x="596" y="335"/>
                  </a:lnTo>
                  <a:lnTo>
                    <a:pt x="592" y="327"/>
                  </a:lnTo>
                  <a:lnTo>
                    <a:pt x="587" y="321"/>
                  </a:lnTo>
                  <a:lnTo>
                    <a:pt x="580" y="316"/>
                  </a:lnTo>
                  <a:lnTo>
                    <a:pt x="572" y="313"/>
                  </a:lnTo>
                  <a:lnTo>
                    <a:pt x="572" y="278"/>
                  </a:lnTo>
                  <a:lnTo>
                    <a:pt x="562" y="275"/>
                  </a:lnTo>
                  <a:lnTo>
                    <a:pt x="554" y="272"/>
                  </a:lnTo>
                  <a:lnTo>
                    <a:pt x="544" y="268"/>
                  </a:lnTo>
                  <a:lnTo>
                    <a:pt x="536" y="263"/>
                  </a:lnTo>
                  <a:lnTo>
                    <a:pt x="520" y="252"/>
                  </a:lnTo>
                  <a:lnTo>
                    <a:pt x="506" y="239"/>
                  </a:lnTo>
                  <a:lnTo>
                    <a:pt x="491" y="226"/>
                  </a:lnTo>
                  <a:lnTo>
                    <a:pt x="475" y="215"/>
                  </a:lnTo>
                  <a:lnTo>
                    <a:pt x="467" y="211"/>
                  </a:lnTo>
                  <a:lnTo>
                    <a:pt x="459" y="208"/>
                  </a:lnTo>
                  <a:lnTo>
                    <a:pt x="450" y="206"/>
                  </a:lnTo>
                  <a:lnTo>
                    <a:pt x="439" y="204"/>
                  </a:lnTo>
                  <a:lnTo>
                    <a:pt x="434" y="206"/>
                  </a:lnTo>
                  <a:lnTo>
                    <a:pt x="430" y="207"/>
                  </a:lnTo>
                  <a:lnTo>
                    <a:pt x="424" y="208"/>
                  </a:lnTo>
                  <a:lnTo>
                    <a:pt x="420" y="211"/>
                  </a:lnTo>
                  <a:lnTo>
                    <a:pt x="414" y="218"/>
                  </a:lnTo>
                  <a:lnTo>
                    <a:pt x="407" y="226"/>
                  </a:lnTo>
                  <a:lnTo>
                    <a:pt x="402" y="234"/>
                  </a:lnTo>
                  <a:lnTo>
                    <a:pt x="395" y="240"/>
                  </a:lnTo>
                  <a:lnTo>
                    <a:pt x="391" y="243"/>
                  </a:lnTo>
                  <a:lnTo>
                    <a:pt x="387" y="246"/>
                  </a:lnTo>
                  <a:lnTo>
                    <a:pt x="383" y="247"/>
                  </a:lnTo>
                  <a:lnTo>
                    <a:pt x="379" y="247"/>
                  </a:lnTo>
                  <a:lnTo>
                    <a:pt x="372" y="247"/>
                  </a:lnTo>
                  <a:lnTo>
                    <a:pt x="366" y="246"/>
                  </a:lnTo>
                  <a:lnTo>
                    <a:pt x="360" y="243"/>
                  </a:lnTo>
                  <a:lnTo>
                    <a:pt x="356" y="239"/>
                  </a:lnTo>
                  <a:lnTo>
                    <a:pt x="352" y="235"/>
                  </a:lnTo>
                  <a:lnTo>
                    <a:pt x="348" y="231"/>
                  </a:lnTo>
                  <a:lnTo>
                    <a:pt x="346" y="224"/>
                  </a:lnTo>
                  <a:lnTo>
                    <a:pt x="343" y="219"/>
                  </a:lnTo>
                  <a:lnTo>
                    <a:pt x="339" y="206"/>
                  </a:lnTo>
                  <a:lnTo>
                    <a:pt x="336" y="190"/>
                  </a:lnTo>
                  <a:lnTo>
                    <a:pt x="334" y="174"/>
                  </a:lnTo>
                  <a:lnTo>
                    <a:pt x="332" y="156"/>
                  </a:lnTo>
                  <a:lnTo>
                    <a:pt x="331" y="140"/>
                  </a:lnTo>
                  <a:lnTo>
                    <a:pt x="328" y="123"/>
                  </a:lnTo>
                  <a:lnTo>
                    <a:pt x="324" y="108"/>
                  </a:lnTo>
                  <a:lnTo>
                    <a:pt x="320" y="95"/>
                  </a:lnTo>
                  <a:lnTo>
                    <a:pt x="316" y="88"/>
                  </a:lnTo>
                  <a:lnTo>
                    <a:pt x="314" y="83"/>
                  </a:lnTo>
                  <a:lnTo>
                    <a:pt x="308" y="78"/>
                  </a:lnTo>
                  <a:lnTo>
                    <a:pt x="304" y="74"/>
                  </a:lnTo>
                  <a:lnTo>
                    <a:pt x="299" y="71"/>
                  </a:lnTo>
                  <a:lnTo>
                    <a:pt x="292" y="68"/>
                  </a:lnTo>
                  <a:lnTo>
                    <a:pt x="284" y="67"/>
                  </a:lnTo>
                  <a:lnTo>
                    <a:pt x="276" y="67"/>
                  </a:lnTo>
                  <a:lnTo>
                    <a:pt x="271" y="67"/>
                  </a:lnTo>
                  <a:lnTo>
                    <a:pt x="264" y="70"/>
                  </a:lnTo>
                  <a:lnTo>
                    <a:pt x="258" y="72"/>
                  </a:lnTo>
                  <a:lnTo>
                    <a:pt x="252" y="75"/>
                  </a:lnTo>
                  <a:lnTo>
                    <a:pt x="246" y="79"/>
                  </a:lnTo>
                  <a:lnTo>
                    <a:pt x="239" y="82"/>
                  </a:lnTo>
                  <a:lnTo>
                    <a:pt x="231" y="84"/>
                  </a:lnTo>
                  <a:lnTo>
                    <a:pt x="223" y="84"/>
                  </a:lnTo>
                  <a:lnTo>
                    <a:pt x="216" y="84"/>
                  </a:lnTo>
                  <a:lnTo>
                    <a:pt x="211" y="82"/>
                  </a:lnTo>
                  <a:lnTo>
                    <a:pt x="204" y="80"/>
                  </a:lnTo>
                  <a:lnTo>
                    <a:pt x="196" y="76"/>
                  </a:lnTo>
                  <a:lnTo>
                    <a:pt x="183" y="67"/>
                  </a:lnTo>
                  <a:lnTo>
                    <a:pt x="168" y="56"/>
                  </a:lnTo>
                  <a:lnTo>
                    <a:pt x="155" y="43"/>
                  </a:lnTo>
                  <a:lnTo>
                    <a:pt x="144" y="28"/>
                  </a:lnTo>
                  <a:lnTo>
                    <a:pt x="140" y="22"/>
                  </a:lnTo>
                  <a:lnTo>
                    <a:pt x="136" y="14"/>
                  </a:lnTo>
                  <a:lnTo>
                    <a:pt x="134" y="7"/>
                  </a:lnTo>
                  <a:lnTo>
                    <a:pt x="132" y="0"/>
                  </a:lnTo>
                  <a:lnTo>
                    <a:pt x="122" y="6"/>
                  </a:lnTo>
                  <a:lnTo>
                    <a:pt x="112" y="11"/>
                  </a:lnTo>
                  <a:lnTo>
                    <a:pt x="104" y="19"/>
                  </a:lnTo>
                  <a:lnTo>
                    <a:pt x="96" y="27"/>
                  </a:lnTo>
                  <a:lnTo>
                    <a:pt x="91" y="35"/>
                  </a:lnTo>
                  <a:lnTo>
                    <a:pt x="87" y="46"/>
                  </a:lnTo>
                  <a:lnTo>
                    <a:pt x="84" y="55"/>
                  </a:lnTo>
                  <a:lnTo>
                    <a:pt x="84" y="67"/>
                  </a:lnTo>
                  <a:lnTo>
                    <a:pt x="84" y="115"/>
                  </a:lnTo>
                  <a:lnTo>
                    <a:pt x="84" y="158"/>
                  </a:lnTo>
                  <a:lnTo>
                    <a:pt x="84" y="203"/>
                  </a:lnTo>
                  <a:lnTo>
                    <a:pt x="84" y="259"/>
                  </a:lnTo>
                  <a:lnTo>
                    <a:pt x="83" y="270"/>
                  </a:lnTo>
                  <a:lnTo>
                    <a:pt x="82" y="279"/>
                  </a:lnTo>
                  <a:lnTo>
                    <a:pt x="78" y="288"/>
                  </a:lnTo>
                  <a:lnTo>
                    <a:pt x="74" y="296"/>
                  </a:lnTo>
                  <a:lnTo>
                    <a:pt x="68" y="303"/>
                  </a:lnTo>
                  <a:lnTo>
                    <a:pt x="62" y="309"/>
                  </a:lnTo>
                  <a:lnTo>
                    <a:pt x="56" y="316"/>
                  </a:lnTo>
                  <a:lnTo>
                    <a:pt x="48" y="321"/>
                  </a:lnTo>
                  <a:lnTo>
                    <a:pt x="35" y="332"/>
                  </a:lnTo>
                  <a:lnTo>
                    <a:pt x="20" y="341"/>
                  </a:lnTo>
                  <a:lnTo>
                    <a:pt x="14" y="345"/>
                  </a:lnTo>
                  <a:lnTo>
                    <a:pt x="8" y="351"/>
                  </a:lnTo>
                  <a:lnTo>
                    <a:pt x="4" y="356"/>
                  </a:lnTo>
                  <a:lnTo>
                    <a:pt x="0" y="361"/>
                  </a:lnTo>
                  <a:lnTo>
                    <a:pt x="8" y="361"/>
                  </a:lnTo>
                  <a:lnTo>
                    <a:pt x="16" y="364"/>
                  </a:lnTo>
                  <a:lnTo>
                    <a:pt x="24" y="368"/>
                  </a:lnTo>
                  <a:lnTo>
                    <a:pt x="32" y="372"/>
                  </a:lnTo>
                  <a:lnTo>
                    <a:pt x="48" y="384"/>
                  </a:lnTo>
                  <a:lnTo>
                    <a:pt x="63" y="399"/>
                  </a:lnTo>
                  <a:lnTo>
                    <a:pt x="78" y="413"/>
                  </a:lnTo>
                  <a:lnTo>
                    <a:pt x="90" y="429"/>
                  </a:lnTo>
                  <a:lnTo>
                    <a:pt x="100" y="445"/>
                  </a:lnTo>
                  <a:lnTo>
                    <a:pt x="108" y="457"/>
                  </a:lnTo>
                  <a:lnTo>
                    <a:pt x="115" y="464"/>
                  </a:lnTo>
                  <a:lnTo>
                    <a:pt x="122" y="468"/>
                  </a:lnTo>
                  <a:lnTo>
                    <a:pt x="131" y="472"/>
                  </a:lnTo>
                  <a:lnTo>
                    <a:pt x="140" y="475"/>
                  </a:lnTo>
                  <a:lnTo>
                    <a:pt x="160" y="479"/>
                  </a:lnTo>
                  <a:lnTo>
                    <a:pt x="180" y="481"/>
                  </a:lnTo>
                  <a:lnTo>
                    <a:pt x="191" y="484"/>
                  </a:lnTo>
                  <a:lnTo>
                    <a:pt x="200" y="485"/>
                  </a:lnTo>
                  <a:lnTo>
                    <a:pt x="208" y="489"/>
                  </a:lnTo>
                  <a:lnTo>
                    <a:pt x="216" y="493"/>
                  </a:lnTo>
                  <a:lnTo>
                    <a:pt x="223" y="499"/>
                  </a:lnTo>
                  <a:lnTo>
                    <a:pt x="228" y="505"/>
                  </a:lnTo>
                  <a:lnTo>
                    <a:pt x="232" y="513"/>
                  </a:lnTo>
                  <a:lnTo>
                    <a:pt x="235" y="524"/>
                  </a:lnTo>
                  <a:lnTo>
                    <a:pt x="236" y="535"/>
                  </a:lnTo>
                  <a:lnTo>
                    <a:pt x="240" y="543"/>
                  </a:lnTo>
                  <a:lnTo>
                    <a:pt x="244" y="551"/>
                  </a:lnTo>
                  <a:lnTo>
                    <a:pt x="250" y="559"/>
                  </a:lnTo>
                  <a:lnTo>
                    <a:pt x="255" y="565"/>
                  </a:lnTo>
                  <a:lnTo>
                    <a:pt x="262" y="571"/>
                  </a:lnTo>
                  <a:lnTo>
                    <a:pt x="268" y="575"/>
                  </a:lnTo>
                  <a:lnTo>
                    <a:pt x="276" y="579"/>
                  </a:lnTo>
                  <a:lnTo>
                    <a:pt x="294" y="585"/>
                  </a:lnTo>
                  <a:lnTo>
                    <a:pt x="312" y="591"/>
                  </a:lnTo>
                  <a:lnTo>
                    <a:pt x="332" y="595"/>
                  </a:lnTo>
                  <a:lnTo>
                    <a:pt x="352" y="597"/>
                  </a:lnTo>
                  <a:lnTo>
                    <a:pt x="374" y="600"/>
                  </a:lnTo>
                  <a:lnTo>
                    <a:pt x="395" y="603"/>
                  </a:lnTo>
                  <a:lnTo>
                    <a:pt x="416" y="607"/>
                  </a:lnTo>
                  <a:lnTo>
                    <a:pt x="435" y="611"/>
                  </a:lnTo>
                  <a:lnTo>
                    <a:pt x="444" y="615"/>
                  </a:lnTo>
                  <a:lnTo>
                    <a:pt x="454" y="619"/>
                  </a:lnTo>
                  <a:lnTo>
                    <a:pt x="462" y="623"/>
                  </a:lnTo>
                  <a:lnTo>
                    <a:pt x="470" y="628"/>
                  </a:lnTo>
                  <a:lnTo>
                    <a:pt x="476" y="633"/>
                  </a:lnTo>
                  <a:lnTo>
                    <a:pt x="483" y="640"/>
                  </a:lnTo>
                  <a:lnTo>
                    <a:pt x="488" y="648"/>
                  </a:lnTo>
                  <a:lnTo>
                    <a:pt x="494" y="656"/>
                  </a:lnTo>
                  <a:lnTo>
                    <a:pt x="494" y="668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accent1">
                  <a:lumMod val="20000"/>
                  <a:lumOff val="8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95" b="0" i="0" u="none" strike="noStrike" kern="1200" cap="none" spc="0" normalizeH="0" baseline="0" noProof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8" name="Freeform 76"/>
            <p:cNvSpPr>
              <a:spLocks/>
            </p:cNvSpPr>
            <p:nvPr/>
          </p:nvSpPr>
          <p:spPr bwMode="auto">
            <a:xfrm>
              <a:off x="4929421" y="2336549"/>
              <a:ext cx="82535" cy="96684"/>
            </a:xfrm>
            <a:custGeom>
              <a:avLst/>
              <a:gdLst>
                <a:gd name="T0" fmla="*/ 1045 w 1143"/>
                <a:gd name="T1" fmla="*/ 534 h 1342"/>
                <a:gd name="T2" fmla="*/ 1117 w 1143"/>
                <a:gd name="T3" fmla="*/ 581 h 1342"/>
                <a:gd name="T4" fmla="*/ 1143 w 1143"/>
                <a:gd name="T5" fmla="*/ 632 h 1342"/>
                <a:gd name="T6" fmla="*/ 1114 w 1143"/>
                <a:gd name="T7" fmla="*/ 690 h 1342"/>
                <a:gd name="T8" fmla="*/ 1037 w 1143"/>
                <a:gd name="T9" fmla="*/ 745 h 1342"/>
                <a:gd name="T10" fmla="*/ 1017 w 1143"/>
                <a:gd name="T11" fmla="*/ 825 h 1342"/>
                <a:gd name="T12" fmla="*/ 985 w 1143"/>
                <a:gd name="T13" fmla="*/ 941 h 1342"/>
                <a:gd name="T14" fmla="*/ 906 w 1143"/>
                <a:gd name="T15" fmla="*/ 965 h 1342"/>
                <a:gd name="T16" fmla="*/ 762 w 1143"/>
                <a:gd name="T17" fmla="*/ 874 h 1342"/>
                <a:gd name="T18" fmla="*/ 717 w 1143"/>
                <a:gd name="T19" fmla="*/ 889 h 1342"/>
                <a:gd name="T20" fmla="*/ 677 w 1143"/>
                <a:gd name="T21" fmla="*/ 977 h 1342"/>
                <a:gd name="T22" fmla="*/ 636 w 1143"/>
                <a:gd name="T23" fmla="*/ 1039 h 1342"/>
                <a:gd name="T24" fmla="*/ 590 w 1143"/>
                <a:gd name="T25" fmla="*/ 1039 h 1342"/>
                <a:gd name="T26" fmla="*/ 540 w 1143"/>
                <a:gd name="T27" fmla="*/ 1033 h 1342"/>
                <a:gd name="T28" fmla="*/ 510 w 1143"/>
                <a:gd name="T29" fmla="*/ 1082 h 1342"/>
                <a:gd name="T30" fmla="*/ 493 w 1143"/>
                <a:gd name="T31" fmla="*/ 1171 h 1342"/>
                <a:gd name="T32" fmla="*/ 437 w 1143"/>
                <a:gd name="T33" fmla="*/ 1221 h 1342"/>
                <a:gd name="T34" fmla="*/ 424 w 1143"/>
                <a:gd name="T35" fmla="*/ 1303 h 1342"/>
                <a:gd name="T36" fmla="*/ 378 w 1143"/>
                <a:gd name="T37" fmla="*/ 1299 h 1342"/>
                <a:gd name="T38" fmla="*/ 321 w 1143"/>
                <a:gd name="T39" fmla="*/ 1167 h 1342"/>
                <a:gd name="T40" fmla="*/ 340 w 1143"/>
                <a:gd name="T41" fmla="*/ 1109 h 1342"/>
                <a:gd name="T42" fmla="*/ 337 w 1143"/>
                <a:gd name="T43" fmla="*/ 1061 h 1342"/>
                <a:gd name="T44" fmla="*/ 325 w 1143"/>
                <a:gd name="T45" fmla="*/ 1009 h 1342"/>
                <a:gd name="T46" fmla="*/ 300 w 1143"/>
                <a:gd name="T47" fmla="*/ 977 h 1342"/>
                <a:gd name="T48" fmla="*/ 292 w 1143"/>
                <a:gd name="T49" fmla="*/ 935 h 1342"/>
                <a:gd name="T50" fmla="*/ 247 w 1143"/>
                <a:gd name="T51" fmla="*/ 919 h 1342"/>
                <a:gd name="T52" fmla="*/ 213 w 1143"/>
                <a:gd name="T53" fmla="*/ 887 h 1342"/>
                <a:gd name="T54" fmla="*/ 120 w 1143"/>
                <a:gd name="T55" fmla="*/ 873 h 1342"/>
                <a:gd name="T56" fmla="*/ 56 w 1143"/>
                <a:gd name="T57" fmla="*/ 837 h 1342"/>
                <a:gd name="T58" fmla="*/ 5 w 1143"/>
                <a:gd name="T59" fmla="*/ 799 h 1342"/>
                <a:gd name="T60" fmla="*/ 19 w 1143"/>
                <a:gd name="T61" fmla="*/ 746 h 1342"/>
                <a:gd name="T62" fmla="*/ 80 w 1143"/>
                <a:gd name="T63" fmla="*/ 701 h 1342"/>
                <a:gd name="T64" fmla="*/ 129 w 1143"/>
                <a:gd name="T65" fmla="*/ 714 h 1342"/>
                <a:gd name="T66" fmla="*/ 183 w 1143"/>
                <a:gd name="T67" fmla="*/ 708 h 1342"/>
                <a:gd name="T68" fmla="*/ 165 w 1143"/>
                <a:gd name="T69" fmla="*/ 593 h 1342"/>
                <a:gd name="T70" fmla="*/ 140 w 1143"/>
                <a:gd name="T71" fmla="*/ 510 h 1342"/>
                <a:gd name="T72" fmla="*/ 179 w 1143"/>
                <a:gd name="T73" fmla="*/ 465 h 1342"/>
                <a:gd name="T74" fmla="*/ 342 w 1143"/>
                <a:gd name="T75" fmla="*/ 460 h 1342"/>
                <a:gd name="T76" fmla="*/ 377 w 1143"/>
                <a:gd name="T77" fmla="*/ 433 h 1342"/>
                <a:gd name="T78" fmla="*/ 393 w 1143"/>
                <a:gd name="T79" fmla="*/ 318 h 1342"/>
                <a:gd name="T80" fmla="*/ 433 w 1143"/>
                <a:gd name="T81" fmla="*/ 156 h 1342"/>
                <a:gd name="T82" fmla="*/ 574 w 1143"/>
                <a:gd name="T83" fmla="*/ 5 h 1342"/>
                <a:gd name="T84" fmla="*/ 642 w 1143"/>
                <a:gd name="T85" fmla="*/ 7 h 1342"/>
                <a:gd name="T86" fmla="*/ 674 w 1143"/>
                <a:gd name="T87" fmla="*/ 39 h 1342"/>
                <a:gd name="T88" fmla="*/ 681 w 1143"/>
                <a:gd name="T89" fmla="*/ 111 h 1342"/>
                <a:gd name="T90" fmla="*/ 652 w 1143"/>
                <a:gd name="T91" fmla="*/ 185 h 1342"/>
                <a:gd name="T92" fmla="*/ 602 w 1143"/>
                <a:gd name="T93" fmla="*/ 309 h 1342"/>
                <a:gd name="T94" fmla="*/ 572 w 1143"/>
                <a:gd name="T95" fmla="*/ 349 h 1342"/>
                <a:gd name="T96" fmla="*/ 614 w 1143"/>
                <a:gd name="T97" fmla="*/ 390 h 1342"/>
                <a:gd name="T98" fmla="*/ 609 w 1143"/>
                <a:gd name="T99" fmla="*/ 512 h 1342"/>
                <a:gd name="T100" fmla="*/ 650 w 1143"/>
                <a:gd name="T101" fmla="*/ 546 h 1342"/>
                <a:gd name="T102" fmla="*/ 716 w 1143"/>
                <a:gd name="T103" fmla="*/ 486 h 1342"/>
                <a:gd name="T104" fmla="*/ 796 w 1143"/>
                <a:gd name="T105" fmla="*/ 484 h 1342"/>
                <a:gd name="T106" fmla="*/ 857 w 1143"/>
                <a:gd name="T107" fmla="*/ 481 h 1342"/>
                <a:gd name="T108" fmla="*/ 896 w 1143"/>
                <a:gd name="T109" fmla="*/ 513 h 1342"/>
                <a:gd name="T110" fmla="*/ 926 w 1143"/>
                <a:gd name="T111" fmla="*/ 522 h 1342"/>
                <a:gd name="T112" fmla="*/ 976 w 1143"/>
                <a:gd name="T113" fmla="*/ 490 h 134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143"/>
                <a:gd name="T172" fmla="*/ 0 h 1342"/>
                <a:gd name="T173" fmla="*/ 1143 w 1143"/>
                <a:gd name="T174" fmla="*/ 1342 h 1342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143" h="1342">
                  <a:moveTo>
                    <a:pt x="1024" y="488"/>
                  </a:moveTo>
                  <a:lnTo>
                    <a:pt x="1025" y="494"/>
                  </a:lnTo>
                  <a:lnTo>
                    <a:pt x="1026" y="502"/>
                  </a:lnTo>
                  <a:lnTo>
                    <a:pt x="1028" y="509"/>
                  </a:lnTo>
                  <a:lnTo>
                    <a:pt x="1030" y="514"/>
                  </a:lnTo>
                  <a:lnTo>
                    <a:pt x="1037" y="525"/>
                  </a:lnTo>
                  <a:lnTo>
                    <a:pt x="1045" y="534"/>
                  </a:lnTo>
                  <a:lnTo>
                    <a:pt x="1054" y="542"/>
                  </a:lnTo>
                  <a:lnTo>
                    <a:pt x="1065" y="549"/>
                  </a:lnTo>
                  <a:lnTo>
                    <a:pt x="1075" y="556"/>
                  </a:lnTo>
                  <a:lnTo>
                    <a:pt x="1086" y="562"/>
                  </a:lnTo>
                  <a:lnTo>
                    <a:pt x="1097" y="568"/>
                  </a:lnTo>
                  <a:lnTo>
                    <a:pt x="1107" y="574"/>
                  </a:lnTo>
                  <a:lnTo>
                    <a:pt x="1117" y="581"/>
                  </a:lnTo>
                  <a:lnTo>
                    <a:pt x="1126" y="588"/>
                  </a:lnTo>
                  <a:lnTo>
                    <a:pt x="1133" y="597"/>
                  </a:lnTo>
                  <a:lnTo>
                    <a:pt x="1139" y="606"/>
                  </a:lnTo>
                  <a:lnTo>
                    <a:pt x="1141" y="612"/>
                  </a:lnTo>
                  <a:lnTo>
                    <a:pt x="1142" y="618"/>
                  </a:lnTo>
                  <a:lnTo>
                    <a:pt x="1143" y="625"/>
                  </a:lnTo>
                  <a:lnTo>
                    <a:pt x="1143" y="632"/>
                  </a:lnTo>
                  <a:lnTo>
                    <a:pt x="1143" y="640"/>
                  </a:lnTo>
                  <a:lnTo>
                    <a:pt x="1142" y="646"/>
                  </a:lnTo>
                  <a:lnTo>
                    <a:pt x="1141" y="653"/>
                  </a:lnTo>
                  <a:lnTo>
                    <a:pt x="1138" y="660"/>
                  </a:lnTo>
                  <a:lnTo>
                    <a:pt x="1133" y="670"/>
                  </a:lnTo>
                  <a:lnTo>
                    <a:pt x="1123" y="681"/>
                  </a:lnTo>
                  <a:lnTo>
                    <a:pt x="1114" y="690"/>
                  </a:lnTo>
                  <a:lnTo>
                    <a:pt x="1103" y="698"/>
                  </a:lnTo>
                  <a:lnTo>
                    <a:pt x="1093" y="706"/>
                  </a:lnTo>
                  <a:lnTo>
                    <a:pt x="1081" y="713"/>
                  </a:lnTo>
                  <a:lnTo>
                    <a:pt x="1069" y="721"/>
                  </a:lnTo>
                  <a:lnTo>
                    <a:pt x="1057" y="727"/>
                  </a:lnTo>
                  <a:lnTo>
                    <a:pt x="1046" y="737"/>
                  </a:lnTo>
                  <a:lnTo>
                    <a:pt x="1037" y="745"/>
                  </a:lnTo>
                  <a:lnTo>
                    <a:pt x="1029" y="755"/>
                  </a:lnTo>
                  <a:lnTo>
                    <a:pt x="1022" y="766"/>
                  </a:lnTo>
                  <a:lnTo>
                    <a:pt x="1021" y="773"/>
                  </a:lnTo>
                  <a:lnTo>
                    <a:pt x="1018" y="779"/>
                  </a:lnTo>
                  <a:lnTo>
                    <a:pt x="1018" y="786"/>
                  </a:lnTo>
                  <a:lnTo>
                    <a:pt x="1017" y="794"/>
                  </a:lnTo>
                  <a:lnTo>
                    <a:pt x="1017" y="825"/>
                  </a:lnTo>
                  <a:lnTo>
                    <a:pt x="1017" y="853"/>
                  </a:lnTo>
                  <a:lnTo>
                    <a:pt x="1017" y="882"/>
                  </a:lnTo>
                  <a:lnTo>
                    <a:pt x="1017" y="915"/>
                  </a:lnTo>
                  <a:lnTo>
                    <a:pt x="1012" y="927"/>
                  </a:lnTo>
                  <a:lnTo>
                    <a:pt x="1002" y="930"/>
                  </a:lnTo>
                  <a:lnTo>
                    <a:pt x="993" y="934"/>
                  </a:lnTo>
                  <a:lnTo>
                    <a:pt x="985" y="941"/>
                  </a:lnTo>
                  <a:lnTo>
                    <a:pt x="977" y="949"/>
                  </a:lnTo>
                  <a:lnTo>
                    <a:pt x="969" y="958"/>
                  </a:lnTo>
                  <a:lnTo>
                    <a:pt x="962" y="969"/>
                  </a:lnTo>
                  <a:lnTo>
                    <a:pt x="957" y="981"/>
                  </a:lnTo>
                  <a:lnTo>
                    <a:pt x="952" y="993"/>
                  </a:lnTo>
                  <a:lnTo>
                    <a:pt x="930" y="981"/>
                  </a:lnTo>
                  <a:lnTo>
                    <a:pt x="906" y="965"/>
                  </a:lnTo>
                  <a:lnTo>
                    <a:pt x="880" y="945"/>
                  </a:lnTo>
                  <a:lnTo>
                    <a:pt x="852" y="923"/>
                  </a:lnTo>
                  <a:lnTo>
                    <a:pt x="824" y="905"/>
                  </a:lnTo>
                  <a:lnTo>
                    <a:pt x="797" y="887"/>
                  </a:lnTo>
                  <a:lnTo>
                    <a:pt x="785" y="882"/>
                  </a:lnTo>
                  <a:lnTo>
                    <a:pt x="773" y="877"/>
                  </a:lnTo>
                  <a:lnTo>
                    <a:pt x="762" y="874"/>
                  </a:lnTo>
                  <a:lnTo>
                    <a:pt x="753" y="873"/>
                  </a:lnTo>
                  <a:lnTo>
                    <a:pt x="745" y="873"/>
                  </a:lnTo>
                  <a:lnTo>
                    <a:pt x="738" y="874"/>
                  </a:lnTo>
                  <a:lnTo>
                    <a:pt x="733" y="877"/>
                  </a:lnTo>
                  <a:lnTo>
                    <a:pt x="728" y="881"/>
                  </a:lnTo>
                  <a:lnTo>
                    <a:pt x="722" y="883"/>
                  </a:lnTo>
                  <a:lnTo>
                    <a:pt x="717" y="889"/>
                  </a:lnTo>
                  <a:lnTo>
                    <a:pt x="713" y="894"/>
                  </a:lnTo>
                  <a:lnTo>
                    <a:pt x="709" y="899"/>
                  </a:lnTo>
                  <a:lnTo>
                    <a:pt x="701" y="913"/>
                  </a:lnTo>
                  <a:lnTo>
                    <a:pt x="694" y="927"/>
                  </a:lnTo>
                  <a:lnTo>
                    <a:pt x="689" y="943"/>
                  </a:lnTo>
                  <a:lnTo>
                    <a:pt x="682" y="959"/>
                  </a:lnTo>
                  <a:lnTo>
                    <a:pt x="677" y="977"/>
                  </a:lnTo>
                  <a:lnTo>
                    <a:pt x="670" y="991"/>
                  </a:lnTo>
                  <a:lnTo>
                    <a:pt x="664" y="1007"/>
                  </a:lnTo>
                  <a:lnTo>
                    <a:pt x="656" y="1019"/>
                  </a:lnTo>
                  <a:lnTo>
                    <a:pt x="650" y="1026"/>
                  </a:lnTo>
                  <a:lnTo>
                    <a:pt x="646" y="1031"/>
                  </a:lnTo>
                  <a:lnTo>
                    <a:pt x="641" y="1035"/>
                  </a:lnTo>
                  <a:lnTo>
                    <a:pt x="636" y="1039"/>
                  </a:lnTo>
                  <a:lnTo>
                    <a:pt x="629" y="1043"/>
                  </a:lnTo>
                  <a:lnTo>
                    <a:pt x="622" y="1045"/>
                  </a:lnTo>
                  <a:lnTo>
                    <a:pt x="616" y="1047"/>
                  </a:lnTo>
                  <a:lnTo>
                    <a:pt x="608" y="1047"/>
                  </a:lnTo>
                  <a:lnTo>
                    <a:pt x="600" y="1046"/>
                  </a:lnTo>
                  <a:lnTo>
                    <a:pt x="594" y="1043"/>
                  </a:lnTo>
                  <a:lnTo>
                    <a:pt x="590" y="1039"/>
                  </a:lnTo>
                  <a:lnTo>
                    <a:pt x="586" y="1035"/>
                  </a:lnTo>
                  <a:lnTo>
                    <a:pt x="584" y="1031"/>
                  </a:lnTo>
                  <a:lnTo>
                    <a:pt x="580" y="1027"/>
                  </a:lnTo>
                  <a:lnTo>
                    <a:pt x="573" y="1025"/>
                  </a:lnTo>
                  <a:lnTo>
                    <a:pt x="566" y="1023"/>
                  </a:lnTo>
                  <a:lnTo>
                    <a:pt x="556" y="1026"/>
                  </a:lnTo>
                  <a:lnTo>
                    <a:pt x="540" y="1033"/>
                  </a:lnTo>
                  <a:lnTo>
                    <a:pt x="532" y="1037"/>
                  </a:lnTo>
                  <a:lnTo>
                    <a:pt x="524" y="1041"/>
                  </a:lnTo>
                  <a:lnTo>
                    <a:pt x="520" y="1045"/>
                  </a:lnTo>
                  <a:lnTo>
                    <a:pt x="517" y="1047"/>
                  </a:lnTo>
                  <a:lnTo>
                    <a:pt x="514" y="1057"/>
                  </a:lnTo>
                  <a:lnTo>
                    <a:pt x="512" y="1069"/>
                  </a:lnTo>
                  <a:lnTo>
                    <a:pt x="510" y="1082"/>
                  </a:lnTo>
                  <a:lnTo>
                    <a:pt x="509" y="1097"/>
                  </a:lnTo>
                  <a:lnTo>
                    <a:pt x="508" y="1111"/>
                  </a:lnTo>
                  <a:lnTo>
                    <a:pt x="506" y="1127"/>
                  </a:lnTo>
                  <a:lnTo>
                    <a:pt x="504" y="1142"/>
                  </a:lnTo>
                  <a:lnTo>
                    <a:pt x="500" y="1155"/>
                  </a:lnTo>
                  <a:lnTo>
                    <a:pt x="497" y="1165"/>
                  </a:lnTo>
                  <a:lnTo>
                    <a:pt x="493" y="1171"/>
                  </a:lnTo>
                  <a:lnTo>
                    <a:pt x="488" y="1178"/>
                  </a:lnTo>
                  <a:lnTo>
                    <a:pt x="482" y="1183"/>
                  </a:lnTo>
                  <a:lnTo>
                    <a:pt x="469" y="1194"/>
                  </a:lnTo>
                  <a:lnTo>
                    <a:pt x="456" y="1203"/>
                  </a:lnTo>
                  <a:lnTo>
                    <a:pt x="449" y="1209"/>
                  </a:lnTo>
                  <a:lnTo>
                    <a:pt x="442" y="1215"/>
                  </a:lnTo>
                  <a:lnTo>
                    <a:pt x="437" y="1221"/>
                  </a:lnTo>
                  <a:lnTo>
                    <a:pt x="432" y="1229"/>
                  </a:lnTo>
                  <a:lnTo>
                    <a:pt x="428" y="1237"/>
                  </a:lnTo>
                  <a:lnTo>
                    <a:pt x="424" y="1246"/>
                  </a:lnTo>
                  <a:lnTo>
                    <a:pt x="422" y="1258"/>
                  </a:lnTo>
                  <a:lnTo>
                    <a:pt x="421" y="1270"/>
                  </a:lnTo>
                  <a:lnTo>
                    <a:pt x="422" y="1287"/>
                  </a:lnTo>
                  <a:lnTo>
                    <a:pt x="424" y="1303"/>
                  </a:lnTo>
                  <a:lnTo>
                    <a:pt x="424" y="1322"/>
                  </a:lnTo>
                  <a:lnTo>
                    <a:pt x="421" y="1342"/>
                  </a:lnTo>
                  <a:lnTo>
                    <a:pt x="413" y="1338"/>
                  </a:lnTo>
                  <a:lnTo>
                    <a:pt x="405" y="1332"/>
                  </a:lnTo>
                  <a:lnTo>
                    <a:pt x="396" y="1323"/>
                  </a:lnTo>
                  <a:lnTo>
                    <a:pt x="388" y="1312"/>
                  </a:lnTo>
                  <a:lnTo>
                    <a:pt x="378" y="1299"/>
                  </a:lnTo>
                  <a:lnTo>
                    <a:pt x="370" y="1286"/>
                  </a:lnTo>
                  <a:lnTo>
                    <a:pt x="362" y="1270"/>
                  </a:lnTo>
                  <a:lnTo>
                    <a:pt x="354" y="1255"/>
                  </a:lnTo>
                  <a:lnTo>
                    <a:pt x="340" y="1223"/>
                  </a:lnTo>
                  <a:lnTo>
                    <a:pt x="329" y="1193"/>
                  </a:lnTo>
                  <a:lnTo>
                    <a:pt x="325" y="1179"/>
                  </a:lnTo>
                  <a:lnTo>
                    <a:pt x="321" y="1167"/>
                  </a:lnTo>
                  <a:lnTo>
                    <a:pt x="320" y="1158"/>
                  </a:lnTo>
                  <a:lnTo>
                    <a:pt x="318" y="1150"/>
                  </a:lnTo>
                  <a:lnTo>
                    <a:pt x="320" y="1139"/>
                  </a:lnTo>
                  <a:lnTo>
                    <a:pt x="324" y="1130"/>
                  </a:lnTo>
                  <a:lnTo>
                    <a:pt x="328" y="1122"/>
                  </a:lnTo>
                  <a:lnTo>
                    <a:pt x="334" y="1115"/>
                  </a:lnTo>
                  <a:lnTo>
                    <a:pt x="340" y="1109"/>
                  </a:lnTo>
                  <a:lnTo>
                    <a:pt x="344" y="1102"/>
                  </a:lnTo>
                  <a:lnTo>
                    <a:pt x="348" y="1095"/>
                  </a:lnTo>
                  <a:lnTo>
                    <a:pt x="349" y="1090"/>
                  </a:lnTo>
                  <a:lnTo>
                    <a:pt x="348" y="1082"/>
                  </a:lnTo>
                  <a:lnTo>
                    <a:pt x="345" y="1075"/>
                  </a:lnTo>
                  <a:lnTo>
                    <a:pt x="341" y="1067"/>
                  </a:lnTo>
                  <a:lnTo>
                    <a:pt x="337" y="1061"/>
                  </a:lnTo>
                  <a:lnTo>
                    <a:pt x="333" y="1053"/>
                  </a:lnTo>
                  <a:lnTo>
                    <a:pt x="329" y="1046"/>
                  </a:lnTo>
                  <a:lnTo>
                    <a:pt x="326" y="1041"/>
                  </a:lnTo>
                  <a:lnTo>
                    <a:pt x="325" y="1035"/>
                  </a:lnTo>
                  <a:lnTo>
                    <a:pt x="325" y="1027"/>
                  </a:lnTo>
                  <a:lnTo>
                    <a:pt x="325" y="1018"/>
                  </a:lnTo>
                  <a:lnTo>
                    <a:pt x="325" y="1009"/>
                  </a:lnTo>
                  <a:lnTo>
                    <a:pt x="325" y="993"/>
                  </a:lnTo>
                  <a:lnTo>
                    <a:pt x="317" y="993"/>
                  </a:lnTo>
                  <a:lnTo>
                    <a:pt x="312" y="991"/>
                  </a:lnTo>
                  <a:lnTo>
                    <a:pt x="308" y="989"/>
                  </a:lnTo>
                  <a:lnTo>
                    <a:pt x="304" y="985"/>
                  </a:lnTo>
                  <a:lnTo>
                    <a:pt x="301" y="982"/>
                  </a:lnTo>
                  <a:lnTo>
                    <a:pt x="300" y="977"/>
                  </a:lnTo>
                  <a:lnTo>
                    <a:pt x="299" y="973"/>
                  </a:lnTo>
                  <a:lnTo>
                    <a:pt x="299" y="967"/>
                  </a:lnTo>
                  <a:lnTo>
                    <a:pt x="297" y="957"/>
                  </a:lnTo>
                  <a:lnTo>
                    <a:pt x="296" y="947"/>
                  </a:lnTo>
                  <a:lnTo>
                    <a:pt x="296" y="943"/>
                  </a:lnTo>
                  <a:lnTo>
                    <a:pt x="293" y="939"/>
                  </a:lnTo>
                  <a:lnTo>
                    <a:pt x="292" y="935"/>
                  </a:lnTo>
                  <a:lnTo>
                    <a:pt x="289" y="933"/>
                  </a:lnTo>
                  <a:lnTo>
                    <a:pt x="277" y="933"/>
                  </a:lnTo>
                  <a:lnTo>
                    <a:pt x="265" y="933"/>
                  </a:lnTo>
                  <a:lnTo>
                    <a:pt x="259" y="931"/>
                  </a:lnTo>
                  <a:lnTo>
                    <a:pt x="255" y="929"/>
                  </a:lnTo>
                  <a:lnTo>
                    <a:pt x="251" y="925"/>
                  </a:lnTo>
                  <a:lnTo>
                    <a:pt x="247" y="919"/>
                  </a:lnTo>
                  <a:lnTo>
                    <a:pt x="244" y="914"/>
                  </a:lnTo>
                  <a:lnTo>
                    <a:pt x="240" y="907"/>
                  </a:lnTo>
                  <a:lnTo>
                    <a:pt x="235" y="902"/>
                  </a:lnTo>
                  <a:lnTo>
                    <a:pt x="229" y="897"/>
                  </a:lnTo>
                  <a:lnTo>
                    <a:pt x="224" y="893"/>
                  </a:lnTo>
                  <a:lnTo>
                    <a:pt x="219" y="890"/>
                  </a:lnTo>
                  <a:lnTo>
                    <a:pt x="213" y="887"/>
                  </a:lnTo>
                  <a:lnTo>
                    <a:pt x="208" y="885"/>
                  </a:lnTo>
                  <a:lnTo>
                    <a:pt x="195" y="883"/>
                  </a:lnTo>
                  <a:lnTo>
                    <a:pt x="181" y="882"/>
                  </a:lnTo>
                  <a:lnTo>
                    <a:pt x="167" y="882"/>
                  </a:lnTo>
                  <a:lnTo>
                    <a:pt x="152" y="881"/>
                  </a:lnTo>
                  <a:lnTo>
                    <a:pt x="136" y="878"/>
                  </a:lnTo>
                  <a:lnTo>
                    <a:pt x="120" y="873"/>
                  </a:lnTo>
                  <a:lnTo>
                    <a:pt x="108" y="870"/>
                  </a:lnTo>
                  <a:lnTo>
                    <a:pt x="99" y="866"/>
                  </a:lnTo>
                  <a:lnTo>
                    <a:pt x="91" y="861"/>
                  </a:lnTo>
                  <a:lnTo>
                    <a:pt x="84" y="855"/>
                  </a:lnTo>
                  <a:lnTo>
                    <a:pt x="76" y="850"/>
                  </a:lnTo>
                  <a:lnTo>
                    <a:pt x="67" y="843"/>
                  </a:lnTo>
                  <a:lnTo>
                    <a:pt x="56" y="837"/>
                  </a:lnTo>
                  <a:lnTo>
                    <a:pt x="41" y="830"/>
                  </a:lnTo>
                  <a:lnTo>
                    <a:pt x="37" y="829"/>
                  </a:lnTo>
                  <a:lnTo>
                    <a:pt x="31" y="826"/>
                  </a:lnTo>
                  <a:lnTo>
                    <a:pt x="24" y="821"/>
                  </a:lnTo>
                  <a:lnTo>
                    <a:pt x="16" y="814"/>
                  </a:lnTo>
                  <a:lnTo>
                    <a:pt x="9" y="807"/>
                  </a:lnTo>
                  <a:lnTo>
                    <a:pt x="5" y="799"/>
                  </a:lnTo>
                  <a:lnTo>
                    <a:pt x="1" y="794"/>
                  </a:lnTo>
                  <a:lnTo>
                    <a:pt x="0" y="789"/>
                  </a:lnTo>
                  <a:lnTo>
                    <a:pt x="0" y="782"/>
                  </a:lnTo>
                  <a:lnTo>
                    <a:pt x="3" y="775"/>
                  </a:lnTo>
                  <a:lnTo>
                    <a:pt x="5" y="769"/>
                  </a:lnTo>
                  <a:lnTo>
                    <a:pt x="9" y="762"/>
                  </a:lnTo>
                  <a:lnTo>
                    <a:pt x="19" y="746"/>
                  </a:lnTo>
                  <a:lnTo>
                    <a:pt x="32" y="731"/>
                  </a:lnTo>
                  <a:lnTo>
                    <a:pt x="40" y="725"/>
                  </a:lnTo>
                  <a:lnTo>
                    <a:pt x="47" y="718"/>
                  </a:lnTo>
                  <a:lnTo>
                    <a:pt x="55" y="713"/>
                  </a:lnTo>
                  <a:lnTo>
                    <a:pt x="64" y="708"/>
                  </a:lnTo>
                  <a:lnTo>
                    <a:pt x="72" y="704"/>
                  </a:lnTo>
                  <a:lnTo>
                    <a:pt x="80" y="701"/>
                  </a:lnTo>
                  <a:lnTo>
                    <a:pt x="88" y="698"/>
                  </a:lnTo>
                  <a:lnTo>
                    <a:pt x="96" y="698"/>
                  </a:lnTo>
                  <a:lnTo>
                    <a:pt x="104" y="700"/>
                  </a:lnTo>
                  <a:lnTo>
                    <a:pt x="112" y="702"/>
                  </a:lnTo>
                  <a:lnTo>
                    <a:pt x="117" y="706"/>
                  </a:lnTo>
                  <a:lnTo>
                    <a:pt x="123" y="710"/>
                  </a:lnTo>
                  <a:lnTo>
                    <a:pt x="129" y="714"/>
                  </a:lnTo>
                  <a:lnTo>
                    <a:pt x="135" y="718"/>
                  </a:lnTo>
                  <a:lnTo>
                    <a:pt x="143" y="721"/>
                  </a:lnTo>
                  <a:lnTo>
                    <a:pt x="151" y="722"/>
                  </a:lnTo>
                  <a:lnTo>
                    <a:pt x="159" y="721"/>
                  </a:lnTo>
                  <a:lnTo>
                    <a:pt x="167" y="717"/>
                  </a:lnTo>
                  <a:lnTo>
                    <a:pt x="175" y="713"/>
                  </a:lnTo>
                  <a:lnTo>
                    <a:pt x="183" y="708"/>
                  </a:lnTo>
                  <a:lnTo>
                    <a:pt x="191" y="701"/>
                  </a:lnTo>
                  <a:lnTo>
                    <a:pt x="200" y="697"/>
                  </a:lnTo>
                  <a:lnTo>
                    <a:pt x="211" y="693"/>
                  </a:lnTo>
                  <a:lnTo>
                    <a:pt x="223" y="692"/>
                  </a:lnTo>
                  <a:lnTo>
                    <a:pt x="223" y="662"/>
                  </a:lnTo>
                  <a:lnTo>
                    <a:pt x="199" y="636"/>
                  </a:lnTo>
                  <a:lnTo>
                    <a:pt x="165" y="593"/>
                  </a:lnTo>
                  <a:lnTo>
                    <a:pt x="148" y="572"/>
                  </a:lnTo>
                  <a:lnTo>
                    <a:pt x="133" y="553"/>
                  </a:lnTo>
                  <a:lnTo>
                    <a:pt x="124" y="538"/>
                  </a:lnTo>
                  <a:lnTo>
                    <a:pt x="120" y="529"/>
                  </a:lnTo>
                  <a:lnTo>
                    <a:pt x="123" y="524"/>
                  </a:lnTo>
                  <a:lnTo>
                    <a:pt x="131" y="517"/>
                  </a:lnTo>
                  <a:lnTo>
                    <a:pt x="140" y="510"/>
                  </a:lnTo>
                  <a:lnTo>
                    <a:pt x="151" y="505"/>
                  </a:lnTo>
                  <a:lnTo>
                    <a:pt x="156" y="500"/>
                  </a:lnTo>
                  <a:lnTo>
                    <a:pt x="161" y="493"/>
                  </a:lnTo>
                  <a:lnTo>
                    <a:pt x="165" y="486"/>
                  </a:lnTo>
                  <a:lnTo>
                    <a:pt x="169" y="480"/>
                  </a:lnTo>
                  <a:lnTo>
                    <a:pt x="173" y="472"/>
                  </a:lnTo>
                  <a:lnTo>
                    <a:pt x="179" y="465"/>
                  </a:lnTo>
                  <a:lnTo>
                    <a:pt x="184" y="461"/>
                  </a:lnTo>
                  <a:lnTo>
                    <a:pt x="192" y="457"/>
                  </a:lnTo>
                  <a:lnTo>
                    <a:pt x="237" y="460"/>
                  </a:lnTo>
                  <a:lnTo>
                    <a:pt x="300" y="464"/>
                  </a:lnTo>
                  <a:lnTo>
                    <a:pt x="314" y="464"/>
                  </a:lnTo>
                  <a:lnTo>
                    <a:pt x="329" y="462"/>
                  </a:lnTo>
                  <a:lnTo>
                    <a:pt x="342" y="460"/>
                  </a:lnTo>
                  <a:lnTo>
                    <a:pt x="354" y="456"/>
                  </a:lnTo>
                  <a:lnTo>
                    <a:pt x="360" y="454"/>
                  </a:lnTo>
                  <a:lnTo>
                    <a:pt x="365" y="450"/>
                  </a:lnTo>
                  <a:lnTo>
                    <a:pt x="369" y="448"/>
                  </a:lnTo>
                  <a:lnTo>
                    <a:pt x="373" y="444"/>
                  </a:lnTo>
                  <a:lnTo>
                    <a:pt x="376" y="438"/>
                  </a:lnTo>
                  <a:lnTo>
                    <a:pt x="377" y="433"/>
                  </a:lnTo>
                  <a:lnTo>
                    <a:pt x="378" y="428"/>
                  </a:lnTo>
                  <a:lnTo>
                    <a:pt x="380" y="421"/>
                  </a:lnTo>
                  <a:lnTo>
                    <a:pt x="380" y="401"/>
                  </a:lnTo>
                  <a:lnTo>
                    <a:pt x="381" y="382"/>
                  </a:lnTo>
                  <a:lnTo>
                    <a:pt x="382" y="365"/>
                  </a:lnTo>
                  <a:lnTo>
                    <a:pt x="386" y="349"/>
                  </a:lnTo>
                  <a:lnTo>
                    <a:pt x="393" y="318"/>
                  </a:lnTo>
                  <a:lnTo>
                    <a:pt x="401" y="289"/>
                  </a:lnTo>
                  <a:lnTo>
                    <a:pt x="410" y="258"/>
                  </a:lnTo>
                  <a:lnTo>
                    <a:pt x="420" y="228"/>
                  </a:lnTo>
                  <a:lnTo>
                    <a:pt x="424" y="212"/>
                  </a:lnTo>
                  <a:lnTo>
                    <a:pt x="428" y="194"/>
                  </a:lnTo>
                  <a:lnTo>
                    <a:pt x="430" y="176"/>
                  </a:lnTo>
                  <a:lnTo>
                    <a:pt x="433" y="156"/>
                  </a:lnTo>
                  <a:lnTo>
                    <a:pt x="469" y="112"/>
                  </a:lnTo>
                  <a:lnTo>
                    <a:pt x="502" y="69"/>
                  </a:lnTo>
                  <a:lnTo>
                    <a:pt x="520" y="49"/>
                  </a:lnTo>
                  <a:lnTo>
                    <a:pt x="537" y="31"/>
                  </a:lnTo>
                  <a:lnTo>
                    <a:pt x="554" y="15"/>
                  </a:lnTo>
                  <a:lnTo>
                    <a:pt x="572" y="0"/>
                  </a:lnTo>
                  <a:lnTo>
                    <a:pt x="574" y="5"/>
                  </a:lnTo>
                  <a:lnTo>
                    <a:pt x="578" y="9"/>
                  </a:lnTo>
                  <a:lnTo>
                    <a:pt x="584" y="12"/>
                  </a:lnTo>
                  <a:lnTo>
                    <a:pt x="589" y="13"/>
                  </a:lnTo>
                  <a:lnTo>
                    <a:pt x="601" y="13"/>
                  </a:lnTo>
                  <a:lnTo>
                    <a:pt x="614" y="11"/>
                  </a:lnTo>
                  <a:lnTo>
                    <a:pt x="629" y="8"/>
                  </a:lnTo>
                  <a:lnTo>
                    <a:pt x="642" y="7"/>
                  </a:lnTo>
                  <a:lnTo>
                    <a:pt x="648" y="8"/>
                  </a:lnTo>
                  <a:lnTo>
                    <a:pt x="653" y="9"/>
                  </a:lnTo>
                  <a:lnTo>
                    <a:pt x="658" y="13"/>
                  </a:lnTo>
                  <a:lnTo>
                    <a:pt x="662" y="17"/>
                  </a:lnTo>
                  <a:lnTo>
                    <a:pt x="668" y="24"/>
                  </a:lnTo>
                  <a:lnTo>
                    <a:pt x="672" y="32"/>
                  </a:lnTo>
                  <a:lnTo>
                    <a:pt x="674" y="39"/>
                  </a:lnTo>
                  <a:lnTo>
                    <a:pt x="676" y="45"/>
                  </a:lnTo>
                  <a:lnTo>
                    <a:pt x="678" y="60"/>
                  </a:lnTo>
                  <a:lnTo>
                    <a:pt x="678" y="73"/>
                  </a:lnTo>
                  <a:lnTo>
                    <a:pt x="678" y="87"/>
                  </a:lnTo>
                  <a:lnTo>
                    <a:pt x="680" y="99"/>
                  </a:lnTo>
                  <a:lnTo>
                    <a:pt x="680" y="105"/>
                  </a:lnTo>
                  <a:lnTo>
                    <a:pt x="681" y="111"/>
                  </a:lnTo>
                  <a:lnTo>
                    <a:pt x="684" y="116"/>
                  </a:lnTo>
                  <a:lnTo>
                    <a:pt x="686" y="120"/>
                  </a:lnTo>
                  <a:lnTo>
                    <a:pt x="678" y="129"/>
                  </a:lnTo>
                  <a:lnTo>
                    <a:pt x="672" y="140"/>
                  </a:lnTo>
                  <a:lnTo>
                    <a:pt x="666" y="150"/>
                  </a:lnTo>
                  <a:lnTo>
                    <a:pt x="661" y="161"/>
                  </a:lnTo>
                  <a:lnTo>
                    <a:pt x="652" y="185"/>
                  </a:lnTo>
                  <a:lnTo>
                    <a:pt x="644" y="209"/>
                  </a:lnTo>
                  <a:lnTo>
                    <a:pt x="636" y="233"/>
                  </a:lnTo>
                  <a:lnTo>
                    <a:pt x="629" y="256"/>
                  </a:lnTo>
                  <a:lnTo>
                    <a:pt x="622" y="277"/>
                  </a:lnTo>
                  <a:lnTo>
                    <a:pt x="614" y="294"/>
                  </a:lnTo>
                  <a:lnTo>
                    <a:pt x="609" y="302"/>
                  </a:lnTo>
                  <a:lnTo>
                    <a:pt x="602" y="309"/>
                  </a:lnTo>
                  <a:lnTo>
                    <a:pt x="596" y="314"/>
                  </a:lnTo>
                  <a:lnTo>
                    <a:pt x="589" y="320"/>
                  </a:lnTo>
                  <a:lnTo>
                    <a:pt x="582" y="326"/>
                  </a:lnTo>
                  <a:lnTo>
                    <a:pt x="577" y="333"/>
                  </a:lnTo>
                  <a:lnTo>
                    <a:pt x="574" y="338"/>
                  </a:lnTo>
                  <a:lnTo>
                    <a:pt x="573" y="342"/>
                  </a:lnTo>
                  <a:lnTo>
                    <a:pt x="572" y="349"/>
                  </a:lnTo>
                  <a:lnTo>
                    <a:pt x="572" y="354"/>
                  </a:lnTo>
                  <a:lnTo>
                    <a:pt x="573" y="362"/>
                  </a:lnTo>
                  <a:lnTo>
                    <a:pt x="577" y="370"/>
                  </a:lnTo>
                  <a:lnTo>
                    <a:pt x="582" y="376"/>
                  </a:lnTo>
                  <a:lnTo>
                    <a:pt x="589" y="380"/>
                  </a:lnTo>
                  <a:lnTo>
                    <a:pt x="602" y="386"/>
                  </a:lnTo>
                  <a:lnTo>
                    <a:pt x="614" y="390"/>
                  </a:lnTo>
                  <a:lnTo>
                    <a:pt x="584" y="464"/>
                  </a:lnTo>
                  <a:lnTo>
                    <a:pt x="589" y="468"/>
                  </a:lnTo>
                  <a:lnTo>
                    <a:pt x="593" y="472"/>
                  </a:lnTo>
                  <a:lnTo>
                    <a:pt x="597" y="478"/>
                  </a:lnTo>
                  <a:lnTo>
                    <a:pt x="600" y="484"/>
                  </a:lnTo>
                  <a:lnTo>
                    <a:pt x="605" y="498"/>
                  </a:lnTo>
                  <a:lnTo>
                    <a:pt x="609" y="512"/>
                  </a:lnTo>
                  <a:lnTo>
                    <a:pt x="614" y="525"/>
                  </a:lnTo>
                  <a:lnTo>
                    <a:pt x="621" y="537"/>
                  </a:lnTo>
                  <a:lnTo>
                    <a:pt x="625" y="541"/>
                  </a:lnTo>
                  <a:lnTo>
                    <a:pt x="630" y="545"/>
                  </a:lnTo>
                  <a:lnTo>
                    <a:pt x="637" y="546"/>
                  </a:lnTo>
                  <a:lnTo>
                    <a:pt x="644" y="548"/>
                  </a:lnTo>
                  <a:lnTo>
                    <a:pt x="650" y="546"/>
                  </a:lnTo>
                  <a:lnTo>
                    <a:pt x="657" y="545"/>
                  </a:lnTo>
                  <a:lnTo>
                    <a:pt x="662" y="541"/>
                  </a:lnTo>
                  <a:lnTo>
                    <a:pt x="668" y="536"/>
                  </a:lnTo>
                  <a:lnTo>
                    <a:pt x="678" y="525"/>
                  </a:lnTo>
                  <a:lnTo>
                    <a:pt x="689" y="512"/>
                  </a:lnTo>
                  <a:lnTo>
                    <a:pt x="701" y="498"/>
                  </a:lnTo>
                  <a:lnTo>
                    <a:pt x="716" y="486"/>
                  </a:lnTo>
                  <a:lnTo>
                    <a:pt x="724" y="482"/>
                  </a:lnTo>
                  <a:lnTo>
                    <a:pt x="732" y="478"/>
                  </a:lnTo>
                  <a:lnTo>
                    <a:pt x="742" y="476"/>
                  </a:lnTo>
                  <a:lnTo>
                    <a:pt x="753" y="476"/>
                  </a:lnTo>
                  <a:lnTo>
                    <a:pt x="770" y="477"/>
                  </a:lnTo>
                  <a:lnTo>
                    <a:pt x="786" y="481"/>
                  </a:lnTo>
                  <a:lnTo>
                    <a:pt x="796" y="484"/>
                  </a:lnTo>
                  <a:lnTo>
                    <a:pt x="804" y="485"/>
                  </a:lnTo>
                  <a:lnTo>
                    <a:pt x="814" y="486"/>
                  </a:lnTo>
                  <a:lnTo>
                    <a:pt x="825" y="488"/>
                  </a:lnTo>
                  <a:lnTo>
                    <a:pt x="836" y="486"/>
                  </a:lnTo>
                  <a:lnTo>
                    <a:pt x="844" y="485"/>
                  </a:lnTo>
                  <a:lnTo>
                    <a:pt x="850" y="484"/>
                  </a:lnTo>
                  <a:lnTo>
                    <a:pt x="857" y="481"/>
                  </a:lnTo>
                  <a:lnTo>
                    <a:pt x="870" y="474"/>
                  </a:lnTo>
                  <a:lnTo>
                    <a:pt x="885" y="469"/>
                  </a:lnTo>
                  <a:lnTo>
                    <a:pt x="885" y="478"/>
                  </a:lnTo>
                  <a:lnTo>
                    <a:pt x="886" y="488"/>
                  </a:lnTo>
                  <a:lnTo>
                    <a:pt x="888" y="497"/>
                  </a:lnTo>
                  <a:lnTo>
                    <a:pt x="892" y="505"/>
                  </a:lnTo>
                  <a:lnTo>
                    <a:pt x="896" y="513"/>
                  </a:lnTo>
                  <a:lnTo>
                    <a:pt x="900" y="518"/>
                  </a:lnTo>
                  <a:lnTo>
                    <a:pt x="904" y="521"/>
                  </a:lnTo>
                  <a:lnTo>
                    <a:pt x="906" y="522"/>
                  </a:lnTo>
                  <a:lnTo>
                    <a:pt x="910" y="524"/>
                  </a:lnTo>
                  <a:lnTo>
                    <a:pt x="916" y="524"/>
                  </a:lnTo>
                  <a:lnTo>
                    <a:pt x="921" y="524"/>
                  </a:lnTo>
                  <a:lnTo>
                    <a:pt x="926" y="522"/>
                  </a:lnTo>
                  <a:lnTo>
                    <a:pt x="930" y="520"/>
                  </a:lnTo>
                  <a:lnTo>
                    <a:pt x="934" y="518"/>
                  </a:lnTo>
                  <a:lnTo>
                    <a:pt x="944" y="512"/>
                  </a:lnTo>
                  <a:lnTo>
                    <a:pt x="952" y="505"/>
                  </a:lnTo>
                  <a:lnTo>
                    <a:pt x="961" y="498"/>
                  </a:lnTo>
                  <a:lnTo>
                    <a:pt x="970" y="493"/>
                  </a:lnTo>
                  <a:lnTo>
                    <a:pt x="976" y="490"/>
                  </a:lnTo>
                  <a:lnTo>
                    <a:pt x="981" y="489"/>
                  </a:lnTo>
                  <a:lnTo>
                    <a:pt x="986" y="488"/>
                  </a:lnTo>
                  <a:lnTo>
                    <a:pt x="993" y="488"/>
                  </a:lnTo>
                  <a:lnTo>
                    <a:pt x="1024" y="488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accent1">
                  <a:lumMod val="20000"/>
                  <a:lumOff val="8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95" b="0" i="0" u="none" strike="noStrike" kern="1200" cap="none" spc="0" normalizeH="0" baseline="0" noProof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9" name="Freeform 77"/>
            <p:cNvSpPr>
              <a:spLocks/>
            </p:cNvSpPr>
            <p:nvPr/>
          </p:nvSpPr>
          <p:spPr bwMode="auto">
            <a:xfrm>
              <a:off x="5179149" y="2441957"/>
              <a:ext cx="130405" cy="99278"/>
            </a:xfrm>
            <a:custGeom>
              <a:avLst/>
              <a:gdLst>
                <a:gd name="T0" fmla="*/ 1241 w 1807"/>
                <a:gd name="T1" fmla="*/ 1258 h 1378"/>
                <a:gd name="T2" fmla="*/ 1321 w 1807"/>
                <a:gd name="T3" fmla="*/ 1205 h 1378"/>
                <a:gd name="T4" fmla="*/ 1381 w 1807"/>
                <a:gd name="T5" fmla="*/ 1177 h 1378"/>
                <a:gd name="T6" fmla="*/ 1446 w 1807"/>
                <a:gd name="T7" fmla="*/ 1162 h 1378"/>
                <a:gd name="T8" fmla="*/ 1511 w 1807"/>
                <a:gd name="T9" fmla="*/ 1167 h 1378"/>
                <a:gd name="T10" fmla="*/ 1596 w 1807"/>
                <a:gd name="T11" fmla="*/ 1191 h 1378"/>
                <a:gd name="T12" fmla="*/ 1660 w 1807"/>
                <a:gd name="T13" fmla="*/ 1159 h 1378"/>
                <a:gd name="T14" fmla="*/ 1716 w 1807"/>
                <a:gd name="T15" fmla="*/ 1081 h 1378"/>
                <a:gd name="T16" fmla="*/ 1744 w 1807"/>
                <a:gd name="T17" fmla="*/ 988 h 1378"/>
                <a:gd name="T18" fmla="*/ 1803 w 1807"/>
                <a:gd name="T19" fmla="*/ 922 h 1378"/>
                <a:gd name="T20" fmla="*/ 1796 w 1807"/>
                <a:gd name="T21" fmla="*/ 861 h 1378"/>
                <a:gd name="T22" fmla="*/ 1726 w 1807"/>
                <a:gd name="T23" fmla="*/ 826 h 1378"/>
                <a:gd name="T24" fmla="*/ 1655 w 1807"/>
                <a:gd name="T25" fmla="*/ 790 h 1378"/>
                <a:gd name="T26" fmla="*/ 1647 w 1807"/>
                <a:gd name="T27" fmla="*/ 722 h 1378"/>
                <a:gd name="T28" fmla="*/ 1698 w 1807"/>
                <a:gd name="T29" fmla="*/ 634 h 1378"/>
                <a:gd name="T30" fmla="*/ 1720 w 1807"/>
                <a:gd name="T31" fmla="*/ 560 h 1378"/>
                <a:gd name="T32" fmla="*/ 1676 w 1807"/>
                <a:gd name="T33" fmla="*/ 529 h 1378"/>
                <a:gd name="T34" fmla="*/ 1603 w 1807"/>
                <a:gd name="T35" fmla="*/ 469 h 1378"/>
                <a:gd name="T36" fmla="*/ 1548 w 1807"/>
                <a:gd name="T37" fmla="*/ 411 h 1378"/>
                <a:gd name="T38" fmla="*/ 1484 w 1807"/>
                <a:gd name="T39" fmla="*/ 349 h 1378"/>
                <a:gd name="T40" fmla="*/ 1374 w 1807"/>
                <a:gd name="T41" fmla="*/ 343 h 1378"/>
                <a:gd name="T42" fmla="*/ 1278 w 1807"/>
                <a:gd name="T43" fmla="*/ 353 h 1378"/>
                <a:gd name="T44" fmla="*/ 1253 w 1807"/>
                <a:gd name="T45" fmla="*/ 312 h 1378"/>
                <a:gd name="T46" fmla="*/ 1251 w 1807"/>
                <a:gd name="T47" fmla="*/ 195 h 1378"/>
                <a:gd name="T48" fmla="*/ 1214 w 1807"/>
                <a:gd name="T49" fmla="*/ 131 h 1378"/>
                <a:gd name="T50" fmla="*/ 1182 w 1807"/>
                <a:gd name="T51" fmla="*/ 100 h 1378"/>
                <a:gd name="T52" fmla="*/ 1115 w 1807"/>
                <a:gd name="T53" fmla="*/ 55 h 1378"/>
                <a:gd name="T54" fmla="*/ 1038 w 1807"/>
                <a:gd name="T55" fmla="*/ 83 h 1378"/>
                <a:gd name="T56" fmla="*/ 961 w 1807"/>
                <a:gd name="T57" fmla="*/ 143 h 1378"/>
                <a:gd name="T58" fmla="*/ 859 w 1807"/>
                <a:gd name="T59" fmla="*/ 108 h 1378"/>
                <a:gd name="T60" fmla="*/ 775 w 1807"/>
                <a:gd name="T61" fmla="*/ 72 h 1378"/>
                <a:gd name="T62" fmla="*/ 641 w 1807"/>
                <a:gd name="T63" fmla="*/ 52 h 1378"/>
                <a:gd name="T64" fmla="*/ 434 w 1807"/>
                <a:gd name="T65" fmla="*/ 4 h 1378"/>
                <a:gd name="T66" fmla="*/ 364 w 1807"/>
                <a:gd name="T67" fmla="*/ 12 h 1378"/>
                <a:gd name="T68" fmla="*/ 305 w 1807"/>
                <a:gd name="T69" fmla="*/ 100 h 1378"/>
                <a:gd name="T70" fmla="*/ 241 w 1807"/>
                <a:gd name="T71" fmla="*/ 256 h 1378"/>
                <a:gd name="T72" fmla="*/ 149 w 1807"/>
                <a:gd name="T73" fmla="*/ 305 h 1378"/>
                <a:gd name="T74" fmla="*/ 101 w 1807"/>
                <a:gd name="T75" fmla="*/ 380 h 1378"/>
                <a:gd name="T76" fmla="*/ 42 w 1807"/>
                <a:gd name="T77" fmla="*/ 500 h 1378"/>
                <a:gd name="T78" fmla="*/ 42 w 1807"/>
                <a:gd name="T79" fmla="*/ 528 h 1378"/>
                <a:gd name="T80" fmla="*/ 6 w 1807"/>
                <a:gd name="T81" fmla="*/ 570 h 1378"/>
                <a:gd name="T82" fmla="*/ 12 w 1807"/>
                <a:gd name="T83" fmla="*/ 637 h 1378"/>
                <a:gd name="T84" fmla="*/ 70 w 1807"/>
                <a:gd name="T85" fmla="*/ 830 h 1378"/>
                <a:gd name="T86" fmla="*/ 190 w 1807"/>
                <a:gd name="T87" fmla="*/ 885 h 1378"/>
                <a:gd name="T88" fmla="*/ 422 w 1807"/>
                <a:gd name="T89" fmla="*/ 944 h 1378"/>
                <a:gd name="T90" fmla="*/ 545 w 1807"/>
                <a:gd name="T91" fmla="*/ 1037 h 1378"/>
                <a:gd name="T92" fmla="*/ 578 w 1807"/>
                <a:gd name="T93" fmla="*/ 1119 h 1378"/>
                <a:gd name="T94" fmla="*/ 695 w 1807"/>
                <a:gd name="T95" fmla="*/ 1127 h 1378"/>
                <a:gd name="T96" fmla="*/ 795 w 1807"/>
                <a:gd name="T97" fmla="*/ 1182 h 1378"/>
                <a:gd name="T98" fmla="*/ 885 w 1807"/>
                <a:gd name="T99" fmla="*/ 1182 h 1378"/>
                <a:gd name="T100" fmla="*/ 966 w 1807"/>
                <a:gd name="T101" fmla="*/ 1165 h 1378"/>
                <a:gd name="T102" fmla="*/ 981 w 1807"/>
                <a:gd name="T103" fmla="*/ 1205 h 1378"/>
                <a:gd name="T104" fmla="*/ 963 w 1807"/>
                <a:gd name="T105" fmla="*/ 1251 h 1378"/>
                <a:gd name="T106" fmla="*/ 993 w 1807"/>
                <a:gd name="T107" fmla="*/ 1302 h 1378"/>
                <a:gd name="T108" fmla="*/ 1019 w 1807"/>
                <a:gd name="T109" fmla="*/ 1367 h 1378"/>
                <a:gd name="T110" fmla="*/ 1058 w 1807"/>
                <a:gd name="T111" fmla="*/ 1314 h 1378"/>
                <a:gd name="T112" fmla="*/ 1145 w 1807"/>
                <a:gd name="T113" fmla="*/ 1282 h 137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807"/>
                <a:gd name="T172" fmla="*/ 0 h 1378"/>
                <a:gd name="T173" fmla="*/ 1807 w 1807"/>
                <a:gd name="T174" fmla="*/ 1378 h 1378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807" h="1378">
                  <a:moveTo>
                    <a:pt x="1145" y="1282"/>
                  </a:moveTo>
                  <a:lnTo>
                    <a:pt x="1170" y="1275"/>
                  </a:lnTo>
                  <a:lnTo>
                    <a:pt x="1193" y="1267"/>
                  </a:lnTo>
                  <a:lnTo>
                    <a:pt x="1203" y="1263"/>
                  </a:lnTo>
                  <a:lnTo>
                    <a:pt x="1215" y="1261"/>
                  </a:lnTo>
                  <a:lnTo>
                    <a:pt x="1227" y="1259"/>
                  </a:lnTo>
                  <a:lnTo>
                    <a:pt x="1241" y="1258"/>
                  </a:lnTo>
                  <a:lnTo>
                    <a:pt x="1251" y="1257"/>
                  </a:lnTo>
                  <a:lnTo>
                    <a:pt x="1262" y="1254"/>
                  </a:lnTo>
                  <a:lnTo>
                    <a:pt x="1270" y="1251"/>
                  </a:lnTo>
                  <a:lnTo>
                    <a:pt x="1279" y="1246"/>
                  </a:lnTo>
                  <a:lnTo>
                    <a:pt x="1294" y="1233"/>
                  </a:lnTo>
                  <a:lnTo>
                    <a:pt x="1307" y="1219"/>
                  </a:lnTo>
                  <a:lnTo>
                    <a:pt x="1321" y="1205"/>
                  </a:lnTo>
                  <a:lnTo>
                    <a:pt x="1333" y="1191"/>
                  </a:lnTo>
                  <a:lnTo>
                    <a:pt x="1339" y="1187"/>
                  </a:lnTo>
                  <a:lnTo>
                    <a:pt x="1346" y="1183"/>
                  </a:lnTo>
                  <a:lnTo>
                    <a:pt x="1354" y="1181"/>
                  </a:lnTo>
                  <a:lnTo>
                    <a:pt x="1361" y="1179"/>
                  </a:lnTo>
                  <a:lnTo>
                    <a:pt x="1371" y="1179"/>
                  </a:lnTo>
                  <a:lnTo>
                    <a:pt x="1381" y="1177"/>
                  </a:lnTo>
                  <a:lnTo>
                    <a:pt x="1390" y="1174"/>
                  </a:lnTo>
                  <a:lnTo>
                    <a:pt x="1398" y="1170"/>
                  </a:lnTo>
                  <a:lnTo>
                    <a:pt x="1407" y="1167"/>
                  </a:lnTo>
                  <a:lnTo>
                    <a:pt x="1416" y="1165"/>
                  </a:lnTo>
                  <a:lnTo>
                    <a:pt x="1427" y="1162"/>
                  </a:lnTo>
                  <a:lnTo>
                    <a:pt x="1439" y="1162"/>
                  </a:lnTo>
                  <a:lnTo>
                    <a:pt x="1446" y="1162"/>
                  </a:lnTo>
                  <a:lnTo>
                    <a:pt x="1451" y="1166"/>
                  </a:lnTo>
                  <a:lnTo>
                    <a:pt x="1458" y="1170"/>
                  </a:lnTo>
                  <a:lnTo>
                    <a:pt x="1463" y="1174"/>
                  </a:lnTo>
                  <a:lnTo>
                    <a:pt x="1472" y="1185"/>
                  </a:lnTo>
                  <a:lnTo>
                    <a:pt x="1482" y="1191"/>
                  </a:lnTo>
                  <a:lnTo>
                    <a:pt x="1511" y="1191"/>
                  </a:lnTo>
                  <a:lnTo>
                    <a:pt x="1511" y="1167"/>
                  </a:lnTo>
                  <a:lnTo>
                    <a:pt x="1554" y="1167"/>
                  </a:lnTo>
                  <a:lnTo>
                    <a:pt x="1562" y="1174"/>
                  </a:lnTo>
                  <a:lnTo>
                    <a:pt x="1570" y="1182"/>
                  </a:lnTo>
                  <a:lnTo>
                    <a:pt x="1575" y="1186"/>
                  </a:lnTo>
                  <a:lnTo>
                    <a:pt x="1580" y="1189"/>
                  </a:lnTo>
                  <a:lnTo>
                    <a:pt x="1587" y="1191"/>
                  </a:lnTo>
                  <a:lnTo>
                    <a:pt x="1596" y="1191"/>
                  </a:lnTo>
                  <a:lnTo>
                    <a:pt x="1606" y="1191"/>
                  </a:lnTo>
                  <a:lnTo>
                    <a:pt x="1614" y="1190"/>
                  </a:lnTo>
                  <a:lnTo>
                    <a:pt x="1620" y="1187"/>
                  </a:lnTo>
                  <a:lnTo>
                    <a:pt x="1627" y="1185"/>
                  </a:lnTo>
                  <a:lnTo>
                    <a:pt x="1639" y="1177"/>
                  </a:lnTo>
                  <a:lnTo>
                    <a:pt x="1650" y="1167"/>
                  </a:lnTo>
                  <a:lnTo>
                    <a:pt x="1660" y="1159"/>
                  </a:lnTo>
                  <a:lnTo>
                    <a:pt x="1675" y="1151"/>
                  </a:lnTo>
                  <a:lnTo>
                    <a:pt x="1683" y="1147"/>
                  </a:lnTo>
                  <a:lnTo>
                    <a:pt x="1692" y="1146"/>
                  </a:lnTo>
                  <a:lnTo>
                    <a:pt x="1703" y="1145"/>
                  </a:lnTo>
                  <a:lnTo>
                    <a:pt x="1716" y="1143"/>
                  </a:lnTo>
                  <a:lnTo>
                    <a:pt x="1716" y="1111"/>
                  </a:lnTo>
                  <a:lnTo>
                    <a:pt x="1716" y="1081"/>
                  </a:lnTo>
                  <a:lnTo>
                    <a:pt x="1716" y="1057"/>
                  </a:lnTo>
                  <a:lnTo>
                    <a:pt x="1716" y="1041"/>
                  </a:lnTo>
                  <a:lnTo>
                    <a:pt x="1718" y="1030"/>
                  </a:lnTo>
                  <a:lnTo>
                    <a:pt x="1720" y="1019"/>
                  </a:lnTo>
                  <a:lnTo>
                    <a:pt x="1724" y="1010"/>
                  </a:lnTo>
                  <a:lnTo>
                    <a:pt x="1730" y="1002"/>
                  </a:lnTo>
                  <a:lnTo>
                    <a:pt x="1744" y="988"/>
                  </a:lnTo>
                  <a:lnTo>
                    <a:pt x="1762" y="973"/>
                  </a:lnTo>
                  <a:lnTo>
                    <a:pt x="1770" y="966"/>
                  </a:lnTo>
                  <a:lnTo>
                    <a:pt x="1778" y="960"/>
                  </a:lnTo>
                  <a:lnTo>
                    <a:pt x="1786" y="952"/>
                  </a:lnTo>
                  <a:lnTo>
                    <a:pt x="1792" y="944"/>
                  </a:lnTo>
                  <a:lnTo>
                    <a:pt x="1798" y="933"/>
                  </a:lnTo>
                  <a:lnTo>
                    <a:pt x="1803" y="922"/>
                  </a:lnTo>
                  <a:lnTo>
                    <a:pt x="1806" y="910"/>
                  </a:lnTo>
                  <a:lnTo>
                    <a:pt x="1807" y="897"/>
                  </a:lnTo>
                  <a:lnTo>
                    <a:pt x="1806" y="888"/>
                  </a:lnTo>
                  <a:lnTo>
                    <a:pt x="1804" y="881"/>
                  </a:lnTo>
                  <a:lnTo>
                    <a:pt x="1803" y="873"/>
                  </a:lnTo>
                  <a:lnTo>
                    <a:pt x="1799" y="868"/>
                  </a:lnTo>
                  <a:lnTo>
                    <a:pt x="1796" y="861"/>
                  </a:lnTo>
                  <a:lnTo>
                    <a:pt x="1791" y="857"/>
                  </a:lnTo>
                  <a:lnTo>
                    <a:pt x="1787" y="852"/>
                  </a:lnTo>
                  <a:lnTo>
                    <a:pt x="1782" y="848"/>
                  </a:lnTo>
                  <a:lnTo>
                    <a:pt x="1768" y="841"/>
                  </a:lnTo>
                  <a:lnTo>
                    <a:pt x="1755" y="836"/>
                  </a:lnTo>
                  <a:lnTo>
                    <a:pt x="1740" y="832"/>
                  </a:lnTo>
                  <a:lnTo>
                    <a:pt x="1726" y="826"/>
                  </a:lnTo>
                  <a:lnTo>
                    <a:pt x="1710" y="822"/>
                  </a:lnTo>
                  <a:lnTo>
                    <a:pt x="1695" y="817"/>
                  </a:lnTo>
                  <a:lnTo>
                    <a:pt x="1682" y="812"/>
                  </a:lnTo>
                  <a:lnTo>
                    <a:pt x="1670" y="805"/>
                  </a:lnTo>
                  <a:lnTo>
                    <a:pt x="1664" y="800"/>
                  </a:lnTo>
                  <a:lnTo>
                    <a:pt x="1659" y="796"/>
                  </a:lnTo>
                  <a:lnTo>
                    <a:pt x="1655" y="790"/>
                  </a:lnTo>
                  <a:lnTo>
                    <a:pt x="1651" y="784"/>
                  </a:lnTo>
                  <a:lnTo>
                    <a:pt x="1648" y="777"/>
                  </a:lnTo>
                  <a:lnTo>
                    <a:pt x="1646" y="770"/>
                  </a:lnTo>
                  <a:lnTo>
                    <a:pt x="1644" y="761"/>
                  </a:lnTo>
                  <a:lnTo>
                    <a:pt x="1644" y="752"/>
                  </a:lnTo>
                  <a:lnTo>
                    <a:pt x="1644" y="737"/>
                  </a:lnTo>
                  <a:lnTo>
                    <a:pt x="1647" y="722"/>
                  </a:lnTo>
                  <a:lnTo>
                    <a:pt x="1651" y="709"/>
                  </a:lnTo>
                  <a:lnTo>
                    <a:pt x="1656" y="697"/>
                  </a:lnTo>
                  <a:lnTo>
                    <a:pt x="1662" y="685"/>
                  </a:lnTo>
                  <a:lnTo>
                    <a:pt x="1668" y="674"/>
                  </a:lnTo>
                  <a:lnTo>
                    <a:pt x="1676" y="664"/>
                  </a:lnTo>
                  <a:lnTo>
                    <a:pt x="1683" y="653"/>
                  </a:lnTo>
                  <a:lnTo>
                    <a:pt x="1698" y="634"/>
                  </a:lnTo>
                  <a:lnTo>
                    <a:pt x="1710" y="616"/>
                  </a:lnTo>
                  <a:lnTo>
                    <a:pt x="1715" y="606"/>
                  </a:lnTo>
                  <a:lnTo>
                    <a:pt x="1719" y="597"/>
                  </a:lnTo>
                  <a:lnTo>
                    <a:pt x="1722" y="588"/>
                  </a:lnTo>
                  <a:lnTo>
                    <a:pt x="1722" y="577"/>
                  </a:lnTo>
                  <a:lnTo>
                    <a:pt x="1722" y="568"/>
                  </a:lnTo>
                  <a:lnTo>
                    <a:pt x="1720" y="560"/>
                  </a:lnTo>
                  <a:lnTo>
                    <a:pt x="1716" y="553"/>
                  </a:lnTo>
                  <a:lnTo>
                    <a:pt x="1714" y="548"/>
                  </a:lnTo>
                  <a:lnTo>
                    <a:pt x="1708" y="544"/>
                  </a:lnTo>
                  <a:lnTo>
                    <a:pt x="1703" y="540"/>
                  </a:lnTo>
                  <a:lnTo>
                    <a:pt x="1698" y="536"/>
                  </a:lnTo>
                  <a:lnTo>
                    <a:pt x="1691" y="533"/>
                  </a:lnTo>
                  <a:lnTo>
                    <a:pt x="1676" y="529"/>
                  </a:lnTo>
                  <a:lnTo>
                    <a:pt x="1662" y="524"/>
                  </a:lnTo>
                  <a:lnTo>
                    <a:pt x="1646" y="518"/>
                  </a:lnTo>
                  <a:lnTo>
                    <a:pt x="1632" y="512"/>
                  </a:lnTo>
                  <a:lnTo>
                    <a:pt x="1624" y="504"/>
                  </a:lnTo>
                  <a:lnTo>
                    <a:pt x="1618" y="493"/>
                  </a:lnTo>
                  <a:lnTo>
                    <a:pt x="1610" y="481"/>
                  </a:lnTo>
                  <a:lnTo>
                    <a:pt x="1603" y="469"/>
                  </a:lnTo>
                  <a:lnTo>
                    <a:pt x="1596" y="456"/>
                  </a:lnTo>
                  <a:lnTo>
                    <a:pt x="1591" y="442"/>
                  </a:lnTo>
                  <a:lnTo>
                    <a:pt x="1587" y="430"/>
                  </a:lnTo>
                  <a:lnTo>
                    <a:pt x="1584" y="421"/>
                  </a:lnTo>
                  <a:lnTo>
                    <a:pt x="1570" y="419"/>
                  </a:lnTo>
                  <a:lnTo>
                    <a:pt x="1559" y="416"/>
                  </a:lnTo>
                  <a:lnTo>
                    <a:pt x="1548" y="411"/>
                  </a:lnTo>
                  <a:lnTo>
                    <a:pt x="1540" y="405"/>
                  </a:lnTo>
                  <a:lnTo>
                    <a:pt x="1527" y="392"/>
                  </a:lnTo>
                  <a:lnTo>
                    <a:pt x="1515" y="377"/>
                  </a:lnTo>
                  <a:lnTo>
                    <a:pt x="1508" y="369"/>
                  </a:lnTo>
                  <a:lnTo>
                    <a:pt x="1500" y="361"/>
                  </a:lnTo>
                  <a:lnTo>
                    <a:pt x="1492" y="355"/>
                  </a:lnTo>
                  <a:lnTo>
                    <a:pt x="1484" y="349"/>
                  </a:lnTo>
                  <a:lnTo>
                    <a:pt x="1472" y="344"/>
                  </a:lnTo>
                  <a:lnTo>
                    <a:pt x="1460" y="340"/>
                  </a:lnTo>
                  <a:lnTo>
                    <a:pt x="1444" y="337"/>
                  </a:lnTo>
                  <a:lnTo>
                    <a:pt x="1427" y="337"/>
                  </a:lnTo>
                  <a:lnTo>
                    <a:pt x="1408" y="337"/>
                  </a:lnTo>
                  <a:lnTo>
                    <a:pt x="1390" y="340"/>
                  </a:lnTo>
                  <a:lnTo>
                    <a:pt x="1374" y="343"/>
                  </a:lnTo>
                  <a:lnTo>
                    <a:pt x="1358" y="345"/>
                  </a:lnTo>
                  <a:lnTo>
                    <a:pt x="1342" y="349"/>
                  </a:lnTo>
                  <a:lnTo>
                    <a:pt x="1326" y="352"/>
                  </a:lnTo>
                  <a:lnTo>
                    <a:pt x="1309" y="355"/>
                  </a:lnTo>
                  <a:lnTo>
                    <a:pt x="1289" y="355"/>
                  </a:lnTo>
                  <a:lnTo>
                    <a:pt x="1283" y="355"/>
                  </a:lnTo>
                  <a:lnTo>
                    <a:pt x="1278" y="353"/>
                  </a:lnTo>
                  <a:lnTo>
                    <a:pt x="1274" y="352"/>
                  </a:lnTo>
                  <a:lnTo>
                    <a:pt x="1270" y="349"/>
                  </a:lnTo>
                  <a:lnTo>
                    <a:pt x="1265" y="343"/>
                  </a:lnTo>
                  <a:lnTo>
                    <a:pt x="1259" y="336"/>
                  </a:lnTo>
                  <a:lnTo>
                    <a:pt x="1257" y="327"/>
                  </a:lnTo>
                  <a:lnTo>
                    <a:pt x="1254" y="320"/>
                  </a:lnTo>
                  <a:lnTo>
                    <a:pt x="1253" y="312"/>
                  </a:lnTo>
                  <a:lnTo>
                    <a:pt x="1253" y="307"/>
                  </a:lnTo>
                  <a:lnTo>
                    <a:pt x="1253" y="291"/>
                  </a:lnTo>
                  <a:lnTo>
                    <a:pt x="1253" y="268"/>
                  </a:lnTo>
                  <a:lnTo>
                    <a:pt x="1253" y="241"/>
                  </a:lnTo>
                  <a:lnTo>
                    <a:pt x="1253" y="211"/>
                  </a:lnTo>
                  <a:lnTo>
                    <a:pt x="1253" y="201"/>
                  </a:lnTo>
                  <a:lnTo>
                    <a:pt x="1251" y="195"/>
                  </a:lnTo>
                  <a:lnTo>
                    <a:pt x="1249" y="187"/>
                  </a:lnTo>
                  <a:lnTo>
                    <a:pt x="1246" y="181"/>
                  </a:lnTo>
                  <a:lnTo>
                    <a:pt x="1239" y="169"/>
                  </a:lnTo>
                  <a:lnTo>
                    <a:pt x="1231" y="159"/>
                  </a:lnTo>
                  <a:lnTo>
                    <a:pt x="1223" y="149"/>
                  </a:lnTo>
                  <a:lnTo>
                    <a:pt x="1217" y="137"/>
                  </a:lnTo>
                  <a:lnTo>
                    <a:pt x="1214" y="131"/>
                  </a:lnTo>
                  <a:lnTo>
                    <a:pt x="1213" y="124"/>
                  </a:lnTo>
                  <a:lnTo>
                    <a:pt x="1211" y="116"/>
                  </a:lnTo>
                  <a:lnTo>
                    <a:pt x="1210" y="108"/>
                  </a:lnTo>
                  <a:lnTo>
                    <a:pt x="1203" y="108"/>
                  </a:lnTo>
                  <a:lnTo>
                    <a:pt x="1195" y="105"/>
                  </a:lnTo>
                  <a:lnTo>
                    <a:pt x="1189" y="103"/>
                  </a:lnTo>
                  <a:lnTo>
                    <a:pt x="1182" y="100"/>
                  </a:lnTo>
                  <a:lnTo>
                    <a:pt x="1171" y="91"/>
                  </a:lnTo>
                  <a:lnTo>
                    <a:pt x="1159" y="81"/>
                  </a:lnTo>
                  <a:lnTo>
                    <a:pt x="1147" y="71"/>
                  </a:lnTo>
                  <a:lnTo>
                    <a:pt x="1135" y="63"/>
                  </a:lnTo>
                  <a:lnTo>
                    <a:pt x="1130" y="59"/>
                  </a:lnTo>
                  <a:lnTo>
                    <a:pt x="1123" y="56"/>
                  </a:lnTo>
                  <a:lnTo>
                    <a:pt x="1115" y="55"/>
                  </a:lnTo>
                  <a:lnTo>
                    <a:pt x="1109" y="53"/>
                  </a:lnTo>
                  <a:lnTo>
                    <a:pt x="1094" y="55"/>
                  </a:lnTo>
                  <a:lnTo>
                    <a:pt x="1081" y="57"/>
                  </a:lnTo>
                  <a:lnTo>
                    <a:pt x="1069" y="63"/>
                  </a:lnTo>
                  <a:lnTo>
                    <a:pt x="1058" y="68"/>
                  </a:lnTo>
                  <a:lnTo>
                    <a:pt x="1047" y="75"/>
                  </a:lnTo>
                  <a:lnTo>
                    <a:pt x="1038" y="83"/>
                  </a:lnTo>
                  <a:lnTo>
                    <a:pt x="1030" y="91"/>
                  </a:lnTo>
                  <a:lnTo>
                    <a:pt x="1021" y="99"/>
                  </a:lnTo>
                  <a:lnTo>
                    <a:pt x="1005" y="116"/>
                  </a:lnTo>
                  <a:lnTo>
                    <a:pt x="987" y="131"/>
                  </a:lnTo>
                  <a:lnTo>
                    <a:pt x="979" y="136"/>
                  </a:lnTo>
                  <a:lnTo>
                    <a:pt x="970" y="140"/>
                  </a:lnTo>
                  <a:lnTo>
                    <a:pt x="961" y="143"/>
                  </a:lnTo>
                  <a:lnTo>
                    <a:pt x="951" y="144"/>
                  </a:lnTo>
                  <a:lnTo>
                    <a:pt x="937" y="143"/>
                  </a:lnTo>
                  <a:lnTo>
                    <a:pt x="923" y="141"/>
                  </a:lnTo>
                  <a:lnTo>
                    <a:pt x="910" y="137"/>
                  </a:lnTo>
                  <a:lnTo>
                    <a:pt x="899" y="133"/>
                  </a:lnTo>
                  <a:lnTo>
                    <a:pt x="879" y="121"/>
                  </a:lnTo>
                  <a:lnTo>
                    <a:pt x="859" y="108"/>
                  </a:lnTo>
                  <a:lnTo>
                    <a:pt x="850" y="101"/>
                  </a:lnTo>
                  <a:lnTo>
                    <a:pt x="839" y="95"/>
                  </a:lnTo>
                  <a:lnTo>
                    <a:pt x="829" y="88"/>
                  </a:lnTo>
                  <a:lnTo>
                    <a:pt x="818" y="83"/>
                  </a:lnTo>
                  <a:lnTo>
                    <a:pt x="805" y="79"/>
                  </a:lnTo>
                  <a:lnTo>
                    <a:pt x="791" y="75"/>
                  </a:lnTo>
                  <a:lnTo>
                    <a:pt x="775" y="72"/>
                  </a:lnTo>
                  <a:lnTo>
                    <a:pt x="759" y="72"/>
                  </a:lnTo>
                  <a:lnTo>
                    <a:pt x="737" y="72"/>
                  </a:lnTo>
                  <a:lnTo>
                    <a:pt x="715" y="71"/>
                  </a:lnTo>
                  <a:lnTo>
                    <a:pt x="695" y="68"/>
                  </a:lnTo>
                  <a:lnTo>
                    <a:pt x="677" y="64"/>
                  </a:lnTo>
                  <a:lnTo>
                    <a:pt x="658" y="59"/>
                  </a:lnTo>
                  <a:lnTo>
                    <a:pt x="641" y="52"/>
                  </a:lnTo>
                  <a:lnTo>
                    <a:pt x="625" y="41"/>
                  </a:lnTo>
                  <a:lnTo>
                    <a:pt x="609" y="29"/>
                  </a:lnTo>
                  <a:lnTo>
                    <a:pt x="506" y="29"/>
                  </a:lnTo>
                  <a:lnTo>
                    <a:pt x="486" y="23"/>
                  </a:lnTo>
                  <a:lnTo>
                    <a:pt x="461" y="12"/>
                  </a:lnTo>
                  <a:lnTo>
                    <a:pt x="448" y="8"/>
                  </a:lnTo>
                  <a:lnTo>
                    <a:pt x="434" y="4"/>
                  </a:lnTo>
                  <a:lnTo>
                    <a:pt x="420" y="0"/>
                  </a:lnTo>
                  <a:lnTo>
                    <a:pt x="404" y="0"/>
                  </a:lnTo>
                  <a:lnTo>
                    <a:pt x="394" y="0"/>
                  </a:lnTo>
                  <a:lnTo>
                    <a:pt x="386" y="1"/>
                  </a:lnTo>
                  <a:lnTo>
                    <a:pt x="378" y="4"/>
                  </a:lnTo>
                  <a:lnTo>
                    <a:pt x="370" y="8"/>
                  </a:lnTo>
                  <a:lnTo>
                    <a:pt x="364" y="12"/>
                  </a:lnTo>
                  <a:lnTo>
                    <a:pt x="357" y="17"/>
                  </a:lnTo>
                  <a:lnTo>
                    <a:pt x="350" y="23"/>
                  </a:lnTo>
                  <a:lnTo>
                    <a:pt x="345" y="29"/>
                  </a:lnTo>
                  <a:lnTo>
                    <a:pt x="333" y="45"/>
                  </a:lnTo>
                  <a:lnTo>
                    <a:pt x="322" y="61"/>
                  </a:lnTo>
                  <a:lnTo>
                    <a:pt x="313" y="80"/>
                  </a:lnTo>
                  <a:lnTo>
                    <a:pt x="305" y="100"/>
                  </a:lnTo>
                  <a:lnTo>
                    <a:pt x="289" y="141"/>
                  </a:lnTo>
                  <a:lnTo>
                    <a:pt x="276" y="183"/>
                  </a:lnTo>
                  <a:lnTo>
                    <a:pt x="269" y="201"/>
                  </a:lnTo>
                  <a:lnTo>
                    <a:pt x="262" y="219"/>
                  </a:lnTo>
                  <a:lnTo>
                    <a:pt x="254" y="233"/>
                  </a:lnTo>
                  <a:lnTo>
                    <a:pt x="246" y="247"/>
                  </a:lnTo>
                  <a:lnTo>
                    <a:pt x="241" y="256"/>
                  </a:lnTo>
                  <a:lnTo>
                    <a:pt x="234" y="264"/>
                  </a:lnTo>
                  <a:lnTo>
                    <a:pt x="226" y="269"/>
                  </a:lnTo>
                  <a:lnTo>
                    <a:pt x="218" y="275"/>
                  </a:lnTo>
                  <a:lnTo>
                    <a:pt x="202" y="283"/>
                  </a:lnTo>
                  <a:lnTo>
                    <a:pt x="184" y="289"/>
                  </a:lnTo>
                  <a:lnTo>
                    <a:pt x="166" y="296"/>
                  </a:lnTo>
                  <a:lnTo>
                    <a:pt x="149" y="305"/>
                  </a:lnTo>
                  <a:lnTo>
                    <a:pt x="141" y="311"/>
                  </a:lnTo>
                  <a:lnTo>
                    <a:pt x="133" y="317"/>
                  </a:lnTo>
                  <a:lnTo>
                    <a:pt x="126" y="327"/>
                  </a:lnTo>
                  <a:lnTo>
                    <a:pt x="121" y="337"/>
                  </a:lnTo>
                  <a:lnTo>
                    <a:pt x="113" y="351"/>
                  </a:lnTo>
                  <a:lnTo>
                    <a:pt x="106" y="365"/>
                  </a:lnTo>
                  <a:lnTo>
                    <a:pt x="101" y="380"/>
                  </a:lnTo>
                  <a:lnTo>
                    <a:pt x="96" y="396"/>
                  </a:lnTo>
                  <a:lnTo>
                    <a:pt x="90" y="412"/>
                  </a:lnTo>
                  <a:lnTo>
                    <a:pt x="84" y="428"/>
                  </a:lnTo>
                  <a:lnTo>
                    <a:pt x="76" y="445"/>
                  </a:lnTo>
                  <a:lnTo>
                    <a:pt x="66" y="464"/>
                  </a:lnTo>
                  <a:lnTo>
                    <a:pt x="24" y="457"/>
                  </a:lnTo>
                  <a:lnTo>
                    <a:pt x="42" y="500"/>
                  </a:lnTo>
                  <a:lnTo>
                    <a:pt x="45" y="500"/>
                  </a:lnTo>
                  <a:lnTo>
                    <a:pt x="48" y="500"/>
                  </a:lnTo>
                  <a:lnTo>
                    <a:pt x="48" y="501"/>
                  </a:lnTo>
                  <a:lnTo>
                    <a:pt x="46" y="502"/>
                  </a:lnTo>
                  <a:lnTo>
                    <a:pt x="44" y="509"/>
                  </a:lnTo>
                  <a:lnTo>
                    <a:pt x="42" y="524"/>
                  </a:lnTo>
                  <a:lnTo>
                    <a:pt x="42" y="528"/>
                  </a:lnTo>
                  <a:lnTo>
                    <a:pt x="41" y="532"/>
                  </a:lnTo>
                  <a:lnTo>
                    <a:pt x="38" y="536"/>
                  </a:lnTo>
                  <a:lnTo>
                    <a:pt x="36" y="538"/>
                  </a:lnTo>
                  <a:lnTo>
                    <a:pt x="29" y="546"/>
                  </a:lnTo>
                  <a:lnTo>
                    <a:pt x="21" y="553"/>
                  </a:lnTo>
                  <a:lnTo>
                    <a:pt x="13" y="561"/>
                  </a:lnTo>
                  <a:lnTo>
                    <a:pt x="6" y="570"/>
                  </a:lnTo>
                  <a:lnTo>
                    <a:pt x="4" y="576"/>
                  </a:lnTo>
                  <a:lnTo>
                    <a:pt x="2" y="581"/>
                  </a:lnTo>
                  <a:lnTo>
                    <a:pt x="1" y="588"/>
                  </a:lnTo>
                  <a:lnTo>
                    <a:pt x="0" y="596"/>
                  </a:lnTo>
                  <a:lnTo>
                    <a:pt x="1" y="609"/>
                  </a:lnTo>
                  <a:lnTo>
                    <a:pt x="6" y="624"/>
                  </a:lnTo>
                  <a:lnTo>
                    <a:pt x="12" y="637"/>
                  </a:lnTo>
                  <a:lnTo>
                    <a:pt x="20" y="652"/>
                  </a:lnTo>
                  <a:lnTo>
                    <a:pt x="36" y="677"/>
                  </a:lnTo>
                  <a:lnTo>
                    <a:pt x="48" y="698"/>
                  </a:lnTo>
                  <a:lnTo>
                    <a:pt x="48" y="801"/>
                  </a:lnTo>
                  <a:lnTo>
                    <a:pt x="56" y="809"/>
                  </a:lnTo>
                  <a:lnTo>
                    <a:pt x="64" y="820"/>
                  </a:lnTo>
                  <a:lnTo>
                    <a:pt x="70" y="830"/>
                  </a:lnTo>
                  <a:lnTo>
                    <a:pt x="78" y="842"/>
                  </a:lnTo>
                  <a:lnTo>
                    <a:pt x="138" y="861"/>
                  </a:lnTo>
                  <a:lnTo>
                    <a:pt x="141" y="865"/>
                  </a:lnTo>
                  <a:lnTo>
                    <a:pt x="146" y="869"/>
                  </a:lnTo>
                  <a:lnTo>
                    <a:pt x="154" y="873"/>
                  </a:lnTo>
                  <a:lnTo>
                    <a:pt x="165" y="877"/>
                  </a:lnTo>
                  <a:lnTo>
                    <a:pt x="190" y="885"/>
                  </a:lnTo>
                  <a:lnTo>
                    <a:pt x="220" y="892"/>
                  </a:lnTo>
                  <a:lnTo>
                    <a:pt x="277" y="902"/>
                  </a:lnTo>
                  <a:lnTo>
                    <a:pt x="313" y="909"/>
                  </a:lnTo>
                  <a:lnTo>
                    <a:pt x="342" y="914"/>
                  </a:lnTo>
                  <a:lnTo>
                    <a:pt x="370" y="922"/>
                  </a:lnTo>
                  <a:lnTo>
                    <a:pt x="396" y="933"/>
                  </a:lnTo>
                  <a:lnTo>
                    <a:pt x="422" y="944"/>
                  </a:lnTo>
                  <a:lnTo>
                    <a:pt x="469" y="969"/>
                  </a:lnTo>
                  <a:lnTo>
                    <a:pt x="512" y="993"/>
                  </a:lnTo>
                  <a:lnTo>
                    <a:pt x="521" y="1000"/>
                  </a:lnTo>
                  <a:lnTo>
                    <a:pt x="528" y="1006"/>
                  </a:lnTo>
                  <a:lnTo>
                    <a:pt x="533" y="1013"/>
                  </a:lnTo>
                  <a:lnTo>
                    <a:pt x="537" y="1021"/>
                  </a:lnTo>
                  <a:lnTo>
                    <a:pt x="545" y="1037"/>
                  </a:lnTo>
                  <a:lnTo>
                    <a:pt x="550" y="1054"/>
                  </a:lnTo>
                  <a:lnTo>
                    <a:pt x="554" y="1071"/>
                  </a:lnTo>
                  <a:lnTo>
                    <a:pt x="560" y="1089"/>
                  </a:lnTo>
                  <a:lnTo>
                    <a:pt x="562" y="1097"/>
                  </a:lnTo>
                  <a:lnTo>
                    <a:pt x="568" y="1105"/>
                  </a:lnTo>
                  <a:lnTo>
                    <a:pt x="572" y="1113"/>
                  </a:lnTo>
                  <a:lnTo>
                    <a:pt x="578" y="1119"/>
                  </a:lnTo>
                  <a:lnTo>
                    <a:pt x="586" y="1123"/>
                  </a:lnTo>
                  <a:lnTo>
                    <a:pt x="598" y="1126"/>
                  </a:lnTo>
                  <a:lnTo>
                    <a:pt x="613" y="1126"/>
                  </a:lnTo>
                  <a:lnTo>
                    <a:pt x="628" y="1127"/>
                  </a:lnTo>
                  <a:lnTo>
                    <a:pt x="659" y="1126"/>
                  </a:lnTo>
                  <a:lnTo>
                    <a:pt x="686" y="1126"/>
                  </a:lnTo>
                  <a:lnTo>
                    <a:pt x="695" y="1127"/>
                  </a:lnTo>
                  <a:lnTo>
                    <a:pt x="705" y="1130"/>
                  </a:lnTo>
                  <a:lnTo>
                    <a:pt x="713" y="1134"/>
                  </a:lnTo>
                  <a:lnTo>
                    <a:pt x="721" y="1138"/>
                  </a:lnTo>
                  <a:lnTo>
                    <a:pt x="738" y="1149"/>
                  </a:lnTo>
                  <a:lnTo>
                    <a:pt x="755" y="1161"/>
                  </a:lnTo>
                  <a:lnTo>
                    <a:pt x="774" y="1173"/>
                  </a:lnTo>
                  <a:lnTo>
                    <a:pt x="795" y="1182"/>
                  </a:lnTo>
                  <a:lnTo>
                    <a:pt x="806" y="1186"/>
                  </a:lnTo>
                  <a:lnTo>
                    <a:pt x="818" y="1189"/>
                  </a:lnTo>
                  <a:lnTo>
                    <a:pt x="830" y="1191"/>
                  </a:lnTo>
                  <a:lnTo>
                    <a:pt x="843" y="1191"/>
                  </a:lnTo>
                  <a:lnTo>
                    <a:pt x="858" y="1190"/>
                  </a:lnTo>
                  <a:lnTo>
                    <a:pt x="871" y="1187"/>
                  </a:lnTo>
                  <a:lnTo>
                    <a:pt x="885" y="1182"/>
                  </a:lnTo>
                  <a:lnTo>
                    <a:pt x="897" y="1177"/>
                  </a:lnTo>
                  <a:lnTo>
                    <a:pt x="910" y="1171"/>
                  </a:lnTo>
                  <a:lnTo>
                    <a:pt x="923" y="1166"/>
                  </a:lnTo>
                  <a:lnTo>
                    <a:pt x="937" y="1163"/>
                  </a:lnTo>
                  <a:lnTo>
                    <a:pt x="951" y="1162"/>
                  </a:lnTo>
                  <a:lnTo>
                    <a:pt x="959" y="1162"/>
                  </a:lnTo>
                  <a:lnTo>
                    <a:pt x="966" y="1165"/>
                  </a:lnTo>
                  <a:lnTo>
                    <a:pt x="971" y="1169"/>
                  </a:lnTo>
                  <a:lnTo>
                    <a:pt x="975" y="1173"/>
                  </a:lnTo>
                  <a:lnTo>
                    <a:pt x="978" y="1178"/>
                  </a:lnTo>
                  <a:lnTo>
                    <a:pt x="981" y="1185"/>
                  </a:lnTo>
                  <a:lnTo>
                    <a:pt x="981" y="1191"/>
                  </a:lnTo>
                  <a:lnTo>
                    <a:pt x="982" y="1198"/>
                  </a:lnTo>
                  <a:lnTo>
                    <a:pt x="981" y="1205"/>
                  </a:lnTo>
                  <a:lnTo>
                    <a:pt x="979" y="1210"/>
                  </a:lnTo>
                  <a:lnTo>
                    <a:pt x="975" y="1217"/>
                  </a:lnTo>
                  <a:lnTo>
                    <a:pt x="973" y="1222"/>
                  </a:lnTo>
                  <a:lnTo>
                    <a:pt x="969" y="1229"/>
                  </a:lnTo>
                  <a:lnTo>
                    <a:pt x="966" y="1235"/>
                  </a:lnTo>
                  <a:lnTo>
                    <a:pt x="965" y="1243"/>
                  </a:lnTo>
                  <a:lnTo>
                    <a:pt x="963" y="1251"/>
                  </a:lnTo>
                  <a:lnTo>
                    <a:pt x="965" y="1261"/>
                  </a:lnTo>
                  <a:lnTo>
                    <a:pt x="969" y="1267"/>
                  </a:lnTo>
                  <a:lnTo>
                    <a:pt x="973" y="1274"/>
                  </a:lnTo>
                  <a:lnTo>
                    <a:pt x="978" y="1279"/>
                  </a:lnTo>
                  <a:lnTo>
                    <a:pt x="985" y="1286"/>
                  </a:lnTo>
                  <a:lnTo>
                    <a:pt x="989" y="1294"/>
                  </a:lnTo>
                  <a:lnTo>
                    <a:pt x="993" y="1302"/>
                  </a:lnTo>
                  <a:lnTo>
                    <a:pt x="994" y="1313"/>
                  </a:lnTo>
                  <a:lnTo>
                    <a:pt x="991" y="1329"/>
                  </a:lnTo>
                  <a:lnTo>
                    <a:pt x="987" y="1345"/>
                  </a:lnTo>
                  <a:lnTo>
                    <a:pt x="983" y="1361"/>
                  </a:lnTo>
                  <a:lnTo>
                    <a:pt x="982" y="1378"/>
                  </a:lnTo>
                  <a:lnTo>
                    <a:pt x="1018" y="1378"/>
                  </a:lnTo>
                  <a:lnTo>
                    <a:pt x="1019" y="1367"/>
                  </a:lnTo>
                  <a:lnTo>
                    <a:pt x="1022" y="1358"/>
                  </a:lnTo>
                  <a:lnTo>
                    <a:pt x="1026" y="1349"/>
                  </a:lnTo>
                  <a:lnTo>
                    <a:pt x="1031" y="1339"/>
                  </a:lnTo>
                  <a:lnTo>
                    <a:pt x="1037" y="1333"/>
                  </a:lnTo>
                  <a:lnTo>
                    <a:pt x="1043" y="1325"/>
                  </a:lnTo>
                  <a:lnTo>
                    <a:pt x="1050" y="1319"/>
                  </a:lnTo>
                  <a:lnTo>
                    <a:pt x="1058" y="1314"/>
                  </a:lnTo>
                  <a:lnTo>
                    <a:pt x="1067" y="1309"/>
                  </a:lnTo>
                  <a:lnTo>
                    <a:pt x="1077" y="1305"/>
                  </a:lnTo>
                  <a:lnTo>
                    <a:pt x="1087" y="1302"/>
                  </a:lnTo>
                  <a:lnTo>
                    <a:pt x="1098" y="1299"/>
                  </a:lnTo>
                  <a:lnTo>
                    <a:pt x="1121" y="1295"/>
                  </a:lnTo>
                  <a:lnTo>
                    <a:pt x="1145" y="1294"/>
                  </a:lnTo>
                  <a:lnTo>
                    <a:pt x="1145" y="1282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accent1">
                  <a:lumMod val="20000"/>
                  <a:lumOff val="8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95" b="0" i="0" u="none" strike="noStrike" kern="1200" cap="none" spc="0" normalizeH="0" baseline="0" noProof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0" name="Freeform 78"/>
            <p:cNvSpPr>
              <a:spLocks/>
            </p:cNvSpPr>
            <p:nvPr/>
          </p:nvSpPr>
          <p:spPr bwMode="auto">
            <a:xfrm>
              <a:off x="4718367" y="2226895"/>
              <a:ext cx="21695" cy="25940"/>
            </a:xfrm>
            <a:custGeom>
              <a:avLst/>
              <a:gdLst>
                <a:gd name="T0" fmla="*/ 303 w 303"/>
                <a:gd name="T1" fmla="*/ 240 h 361"/>
                <a:gd name="T2" fmla="*/ 303 w 303"/>
                <a:gd name="T3" fmla="*/ 254 h 361"/>
                <a:gd name="T4" fmla="*/ 300 w 303"/>
                <a:gd name="T5" fmla="*/ 266 h 361"/>
                <a:gd name="T6" fmla="*/ 296 w 303"/>
                <a:gd name="T7" fmla="*/ 277 h 361"/>
                <a:gd name="T8" fmla="*/ 291 w 303"/>
                <a:gd name="T9" fmla="*/ 286 h 361"/>
                <a:gd name="T10" fmla="*/ 284 w 303"/>
                <a:gd name="T11" fmla="*/ 294 h 361"/>
                <a:gd name="T12" fmla="*/ 277 w 303"/>
                <a:gd name="T13" fmla="*/ 301 h 361"/>
                <a:gd name="T14" fmla="*/ 269 w 303"/>
                <a:gd name="T15" fmla="*/ 308 h 361"/>
                <a:gd name="T16" fmla="*/ 260 w 303"/>
                <a:gd name="T17" fmla="*/ 313 h 361"/>
                <a:gd name="T18" fmla="*/ 243 w 303"/>
                <a:gd name="T19" fmla="*/ 322 h 361"/>
                <a:gd name="T20" fmla="*/ 224 w 303"/>
                <a:gd name="T21" fmla="*/ 330 h 361"/>
                <a:gd name="T22" fmla="*/ 216 w 303"/>
                <a:gd name="T23" fmla="*/ 334 h 361"/>
                <a:gd name="T24" fmla="*/ 208 w 303"/>
                <a:gd name="T25" fmla="*/ 338 h 361"/>
                <a:gd name="T26" fmla="*/ 201 w 303"/>
                <a:gd name="T27" fmla="*/ 344 h 361"/>
                <a:gd name="T28" fmla="*/ 195 w 303"/>
                <a:gd name="T29" fmla="*/ 349 h 361"/>
                <a:gd name="T30" fmla="*/ 183 w 303"/>
                <a:gd name="T31" fmla="*/ 361 h 361"/>
                <a:gd name="T32" fmla="*/ 163 w 303"/>
                <a:gd name="T33" fmla="*/ 329 h 361"/>
                <a:gd name="T34" fmla="*/ 142 w 303"/>
                <a:gd name="T35" fmla="*/ 297 h 361"/>
                <a:gd name="T36" fmla="*/ 118 w 303"/>
                <a:gd name="T37" fmla="*/ 265 h 361"/>
                <a:gd name="T38" fmla="*/ 94 w 303"/>
                <a:gd name="T39" fmla="*/ 232 h 361"/>
                <a:gd name="T40" fmla="*/ 70 w 303"/>
                <a:gd name="T41" fmla="*/ 197 h 361"/>
                <a:gd name="T42" fmla="*/ 47 w 303"/>
                <a:gd name="T43" fmla="*/ 161 h 361"/>
                <a:gd name="T44" fmla="*/ 36 w 303"/>
                <a:gd name="T45" fmla="*/ 142 h 361"/>
                <a:gd name="T46" fmla="*/ 26 w 303"/>
                <a:gd name="T47" fmla="*/ 124 h 361"/>
                <a:gd name="T48" fmla="*/ 16 w 303"/>
                <a:gd name="T49" fmla="*/ 104 h 361"/>
                <a:gd name="T50" fmla="*/ 8 w 303"/>
                <a:gd name="T51" fmla="*/ 84 h 361"/>
                <a:gd name="T52" fmla="*/ 4 w 303"/>
                <a:gd name="T53" fmla="*/ 73 h 361"/>
                <a:gd name="T54" fmla="*/ 2 w 303"/>
                <a:gd name="T55" fmla="*/ 64 h 361"/>
                <a:gd name="T56" fmla="*/ 0 w 303"/>
                <a:gd name="T57" fmla="*/ 56 h 361"/>
                <a:gd name="T58" fmla="*/ 0 w 303"/>
                <a:gd name="T59" fmla="*/ 49 h 361"/>
                <a:gd name="T60" fmla="*/ 2 w 303"/>
                <a:gd name="T61" fmla="*/ 44 h 361"/>
                <a:gd name="T62" fmla="*/ 3 w 303"/>
                <a:gd name="T63" fmla="*/ 38 h 361"/>
                <a:gd name="T64" fmla="*/ 6 w 303"/>
                <a:gd name="T65" fmla="*/ 34 h 361"/>
                <a:gd name="T66" fmla="*/ 10 w 303"/>
                <a:gd name="T67" fmla="*/ 32 h 361"/>
                <a:gd name="T68" fmla="*/ 28 w 303"/>
                <a:gd name="T69" fmla="*/ 22 h 361"/>
                <a:gd name="T70" fmla="*/ 51 w 303"/>
                <a:gd name="T71" fmla="*/ 12 h 361"/>
                <a:gd name="T72" fmla="*/ 62 w 303"/>
                <a:gd name="T73" fmla="*/ 5 h 361"/>
                <a:gd name="T74" fmla="*/ 70 w 303"/>
                <a:gd name="T75" fmla="*/ 2 h 361"/>
                <a:gd name="T76" fmla="*/ 78 w 303"/>
                <a:gd name="T77" fmla="*/ 0 h 361"/>
                <a:gd name="T78" fmla="*/ 86 w 303"/>
                <a:gd name="T79" fmla="*/ 0 h 361"/>
                <a:gd name="T80" fmla="*/ 92 w 303"/>
                <a:gd name="T81" fmla="*/ 1 h 361"/>
                <a:gd name="T82" fmla="*/ 99 w 303"/>
                <a:gd name="T83" fmla="*/ 4 h 361"/>
                <a:gd name="T84" fmla="*/ 106 w 303"/>
                <a:gd name="T85" fmla="*/ 6 h 361"/>
                <a:gd name="T86" fmla="*/ 112 w 303"/>
                <a:gd name="T87" fmla="*/ 10 h 361"/>
                <a:gd name="T88" fmla="*/ 128 w 303"/>
                <a:gd name="T89" fmla="*/ 18 h 361"/>
                <a:gd name="T90" fmla="*/ 151 w 303"/>
                <a:gd name="T91" fmla="*/ 26 h 361"/>
                <a:gd name="T92" fmla="*/ 164 w 303"/>
                <a:gd name="T93" fmla="*/ 30 h 361"/>
                <a:gd name="T94" fmla="*/ 180 w 303"/>
                <a:gd name="T95" fmla="*/ 33 h 361"/>
                <a:gd name="T96" fmla="*/ 197 w 303"/>
                <a:gd name="T97" fmla="*/ 34 h 361"/>
                <a:gd name="T98" fmla="*/ 219 w 303"/>
                <a:gd name="T99" fmla="*/ 36 h 361"/>
                <a:gd name="T100" fmla="*/ 223 w 303"/>
                <a:gd name="T101" fmla="*/ 41 h 361"/>
                <a:gd name="T102" fmla="*/ 231 w 303"/>
                <a:gd name="T103" fmla="*/ 56 h 361"/>
                <a:gd name="T104" fmla="*/ 244 w 303"/>
                <a:gd name="T105" fmla="*/ 78 h 361"/>
                <a:gd name="T106" fmla="*/ 261 w 303"/>
                <a:gd name="T107" fmla="*/ 108 h 361"/>
                <a:gd name="T108" fmla="*/ 275 w 303"/>
                <a:gd name="T109" fmla="*/ 136 h 361"/>
                <a:gd name="T110" fmla="*/ 287 w 303"/>
                <a:gd name="T111" fmla="*/ 168 h 361"/>
                <a:gd name="T112" fmla="*/ 292 w 303"/>
                <a:gd name="T113" fmla="*/ 184 h 361"/>
                <a:gd name="T114" fmla="*/ 297 w 303"/>
                <a:gd name="T115" fmla="*/ 202 h 361"/>
                <a:gd name="T116" fmla="*/ 300 w 303"/>
                <a:gd name="T117" fmla="*/ 221 h 361"/>
                <a:gd name="T118" fmla="*/ 303 w 303"/>
                <a:gd name="T119" fmla="*/ 240 h 361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303"/>
                <a:gd name="T181" fmla="*/ 0 h 361"/>
                <a:gd name="T182" fmla="*/ 303 w 303"/>
                <a:gd name="T183" fmla="*/ 361 h 361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303" h="361">
                  <a:moveTo>
                    <a:pt x="303" y="240"/>
                  </a:moveTo>
                  <a:lnTo>
                    <a:pt x="303" y="254"/>
                  </a:lnTo>
                  <a:lnTo>
                    <a:pt x="300" y="266"/>
                  </a:lnTo>
                  <a:lnTo>
                    <a:pt x="296" y="277"/>
                  </a:lnTo>
                  <a:lnTo>
                    <a:pt x="291" y="286"/>
                  </a:lnTo>
                  <a:lnTo>
                    <a:pt x="284" y="294"/>
                  </a:lnTo>
                  <a:lnTo>
                    <a:pt x="277" y="301"/>
                  </a:lnTo>
                  <a:lnTo>
                    <a:pt x="269" y="308"/>
                  </a:lnTo>
                  <a:lnTo>
                    <a:pt x="260" y="313"/>
                  </a:lnTo>
                  <a:lnTo>
                    <a:pt x="243" y="322"/>
                  </a:lnTo>
                  <a:lnTo>
                    <a:pt x="224" y="330"/>
                  </a:lnTo>
                  <a:lnTo>
                    <a:pt x="216" y="334"/>
                  </a:lnTo>
                  <a:lnTo>
                    <a:pt x="208" y="338"/>
                  </a:lnTo>
                  <a:lnTo>
                    <a:pt x="201" y="344"/>
                  </a:lnTo>
                  <a:lnTo>
                    <a:pt x="195" y="349"/>
                  </a:lnTo>
                  <a:lnTo>
                    <a:pt x="183" y="361"/>
                  </a:lnTo>
                  <a:lnTo>
                    <a:pt x="163" y="329"/>
                  </a:lnTo>
                  <a:lnTo>
                    <a:pt x="142" y="297"/>
                  </a:lnTo>
                  <a:lnTo>
                    <a:pt x="118" y="265"/>
                  </a:lnTo>
                  <a:lnTo>
                    <a:pt x="94" y="232"/>
                  </a:lnTo>
                  <a:lnTo>
                    <a:pt x="70" y="197"/>
                  </a:lnTo>
                  <a:lnTo>
                    <a:pt x="47" y="161"/>
                  </a:lnTo>
                  <a:lnTo>
                    <a:pt x="36" y="142"/>
                  </a:lnTo>
                  <a:lnTo>
                    <a:pt x="26" y="124"/>
                  </a:lnTo>
                  <a:lnTo>
                    <a:pt x="16" y="104"/>
                  </a:lnTo>
                  <a:lnTo>
                    <a:pt x="8" y="84"/>
                  </a:lnTo>
                  <a:lnTo>
                    <a:pt x="4" y="73"/>
                  </a:lnTo>
                  <a:lnTo>
                    <a:pt x="2" y="64"/>
                  </a:lnTo>
                  <a:lnTo>
                    <a:pt x="0" y="56"/>
                  </a:lnTo>
                  <a:lnTo>
                    <a:pt x="0" y="49"/>
                  </a:lnTo>
                  <a:lnTo>
                    <a:pt x="2" y="44"/>
                  </a:lnTo>
                  <a:lnTo>
                    <a:pt x="3" y="38"/>
                  </a:lnTo>
                  <a:lnTo>
                    <a:pt x="6" y="34"/>
                  </a:lnTo>
                  <a:lnTo>
                    <a:pt x="10" y="32"/>
                  </a:lnTo>
                  <a:lnTo>
                    <a:pt x="28" y="22"/>
                  </a:lnTo>
                  <a:lnTo>
                    <a:pt x="51" y="12"/>
                  </a:lnTo>
                  <a:lnTo>
                    <a:pt x="62" y="5"/>
                  </a:lnTo>
                  <a:lnTo>
                    <a:pt x="70" y="2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2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2" y="10"/>
                  </a:lnTo>
                  <a:lnTo>
                    <a:pt x="128" y="18"/>
                  </a:lnTo>
                  <a:lnTo>
                    <a:pt x="151" y="26"/>
                  </a:lnTo>
                  <a:lnTo>
                    <a:pt x="164" y="30"/>
                  </a:lnTo>
                  <a:lnTo>
                    <a:pt x="180" y="33"/>
                  </a:lnTo>
                  <a:lnTo>
                    <a:pt x="197" y="34"/>
                  </a:lnTo>
                  <a:lnTo>
                    <a:pt x="219" y="36"/>
                  </a:lnTo>
                  <a:lnTo>
                    <a:pt x="223" y="41"/>
                  </a:lnTo>
                  <a:lnTo>
                    <a:pt x="231" y="56"/>
                  </a:lnTo>
                  <a:lnTo>
                    <a:pt x="244" y="78"/>
                  </a:lnTo>
                  <a:lnTo>
                    <a:pt x="261" y="108"/>
                  </a:lnTo>
                  <a:lnTo>
                    <a:pt x="275" y="136"/>
                  </a:lnTo>
                  <a:lnTo>
                    <a:pt x="287" y="168"/>
                  </a:lnTo>
                  <a:lnTo>
                    <a:pt x="292" y="184"/>
                  </a:lnTo>
                  <a:lnTo>
                    <a:pt x="297" y="202"/>
                  </a:lnTo>
                  <a:lnTo>
                    <a:pt x="300" y="221"/>
                  </a:lnTo>
                  <a:lnTo>
                    <a:pt x="303" y="240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accent1">
                  <a:lumMod val="20000"/>
                  <a:lumOff val="8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95" b="0" i="0" u="none" strike="noStrike" kern="1200" cap="none" spc="0" normalizeH="0" baseline="0" noProof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1" name="Freeform 87"/>
            <p:cNvSpPr>
              <a:spLocks/>
            </p:cNvSpPr>
            <p:nvPr/>
          </p:nvSpPr>
          <p:spPr bwMode="auto">
            <a:xfrm>
              <a:off x="5589937" y="2419791"/>
              <a:ext cx="170258" cy="119086"/>
            </a:xfrm>
            <a:custGeom>
              <a:avLst/>
              <a:gdLst>
                <a:gd name="T0" fmla="*/ 2296 w 2364"/>
                <a:gd name="T1" fmla="*/ 1318 h 1653"/>
                <a:gd name="T2" fmla="*/ 2214 w 2364"/>
                <a:gd name="T3" fmla="*/ 1214 h 1653"/>
                <a:gd name="T4" fmla="*/ 2139 w 2364"/>
                <a:gd name="T5" fmla="*/ 1206 h 1653"/>
                <a:gd name="T6" fmla="*/ 2071 w 2364"/>
                <a:gd name="T7" fmla="*/ 1165 h 1653"/>
                <a:gd name="T8" fmla="*/ 2039 w 2364"/>
                <a:gd name="T9" fmla="*/ 1060 h 1653"/>
                <a:gd name="T10" fmla="*/ 2055 w 2364"/>
                <a:gd name="T11" fmla="*/ 948 h 1653"/>
                <a:gd name="T12" fmla="*/ 2046 w 2364"/>
                <a:gd name="T13" fmla="*/ 881 h 1653"/>
                <a:gd name="T14" fmla="*/ 2118 w 2364"/>
                <a:gd name="T15" fmla="*/ 757 h 1653"/>
                <a:gd name="T16" fmla="*/ 2168 w 2364"/>
                <a:gd name="T17" fmla="*/ 653 h 1653"/>
                <a:gd name="T18" fmla="*/ 2155 w 2364"/>
                <a:gd name="T19" fmla="*/ 597 h 1653"/>
                <a:gd name="T20" fmla="*/ 2106 w 2364"/>
                <a:gd name="T21" fmla="*/ 548 h 1653"/>
                <a:gd name="T22" fmla="*/ 2227 w 2364"/>
                <a:gd name="T23" fmla="*/ 512 h 1653"/>
                <a:gd name="T24" fmla="*/ 2298 w 2364"/>
                <a:gd name="T25" fmla="*/ 448 h 1653"/>
                <a:gd name="T26" fmla="*/ 2207 w 2364"/>
                <a:gd name="T27" fmla="*/ 268 h 1653"/>
                <a:gd name="T28" fmla="*/ 2151 w 2364"/>
                <a:gd name="T29" fmla="*/ 245 h 1653"/>
                <a:gd name="T30" fmla="*/ 2075 w 2364"/>
                <a:gd name="T31" fmla="*/ 321 h 1653"/>
                <a:gd name="T32" fmla="*/ 2011 w 2364"/>
                <a:gd name="T33" fmla="*/ 376 h 1653"/>
                <a:gd name="T34" fmla="*/ 1967 w 2364"/>
                <a:gd name="T35" fmla="*/ 476 h 1653"/>
                <a:gd name="T36" fmla="*/ 1892 w 2364"/>
                <a:gd name="T37" fmla="*/ 531 h 1653"/>
                <a:gd name="T38" fmla="*/ 1835 w 2364"/>
                <a:gd name="T39" fmla="*/ 552 h 1653"/>
                <a:gd name="T40" fmla="*/ 1739 w 2364"/>
                <a:gd name="T41" fmla="*/ 483 h 1653"/>
                <a:gd name="T42" fmla="*/ 1654 w 2364"/>
                <a:gd name="T43" fmla="*/ 512 h 1653"/>
                <a:gd name="T44" fmla="*/ 1594 w 2364"/>
                <a:gd name="T45" fmla="*/ 469 h 1653"/>
                <a:gd name="T46" fmla="*/ 1630 w 2364"/>
                <a:gd name="T47" fmla="*/ 389 h 1653"/>
                <a:gd name="T48" fmla="*/ 1619 w 2364"/>
                <a:gd name="T49" fmla="*/ 328 h 1653"/>
                <a:gd name="T50" fmla="*/ 1635 w 2364"/>
                <a:gd name="T51" fmla="*/ 271 h 1653"/>
                <a:gd name="T52" fmla="*/ 1683 w 2364"/>
                <a:gd name="T53" fmla="*/ 50 h 1653"/>
                <a:gd name="T54" fmla="*/ 1651 w 2364"/>
                <a:gd name="T55" fmla="*/ 4 h 1653"/>
                <a:gd name="T56" fmla="*/ 1535 w 2364"/>
                <a:gd name="T57" fmla="*/ 27 h 1653"/>
                <a:gd name="T58" fmla="*/ 1365 w 2364"/>
                <a:gd name="T59" fmla="*/ 132 h 1653"/>
                <a:gd name="T60" fmla="*/ 1225 w 2364"/>
                <a:gd name="T61" fmla="*/ 281 h 1653"/>
                <a:gd name="T62" fmla="*/ 1099 w 2364"/>
                <a:gd name="T63" fmla="*/ 335 h 1653"/>
                <a:gd name="T64" fmla="*/ 962 w 2364"/>
                <a:gd name="T65" fmla="*/ 441 h 1653"/>
                <a:gd name="T66" fmla="*/ 837 w 2364"/>
                <a:gd name="T67" fmla="*/ 469 h 1653"/>
                <a:gd name="T68" fmla="*/ 673 w 2364"/>
                <a:gd name="T69" fmla="*/ 519 h 1653"/>
                <a:gd name="T70" fmla="*/ 552 w 2364"/>
                <a:gd name="T71" fmla="*/ 459 h 1653"/>
                <a:gd name="T72" fmla="*/ 421 w 2364"/>
                <a:gd name="T73" fmla="*/ 477 h 1653"/>
                <a:gd name="T74" fmla="*/ 199 w 2364"/>
                <a:gd name="T75" fmla="*/ 483 h 1653"/>
                <a:gd name="T76" fmla="*/ 76 w 2364"/>
                <a:gd name="T77" fmla="*/ 508 h 1653"/>
                <a:gd name="T78" fmla="*/ 0 w 2364"/>
                <a:gd name="T79" fmla="*/ 596 h 1653"/>
                <a:gd name="T80" fmla="*/ 51 w 2364"/>
                <a:gd name="T81" fmla="*/ 656 h 1653"/>
                <a:gd name="T82" fmla="*/ 124 w 2364"/>
                <a:gd name="T83" fmla="*/ 684 h 1653"/>
                <a:gd name="T84" fmla="*/ 109 w 2364"/>
                <a:gd name="T85" fmla="*/ 734 h 1653"/>
                <a:gd name="T86" fmla="*/ 143 w 2364"/>
                <a:gd name="T87" fmla="*/ 778 h 1653"/>
                <a:gd name="T88" fmla="*/ 236 w 2364"/>
                <a:gd name="T89" fmla="*/ 716 h 1653"/>
                <a:gd name="T90" fmla="*/ 290 w 2364"/>
                <a:gd name="T91" fmla="*/ 761 h 1653"/>
                <a:gd name="T92" fmla="*/ 338 w 2364"/>
                <a:gd name="T93" fmla="*/ 786 h 1653"/>
                <a:gd name="T94" fmla="*/ 377 w 2364"/>
                <a:gd name="T95" fmla="*/ 766 h 1653"/>
                <a:gd name="T96" fmla="*/ 445 w 2364"/>
                <a:gd name="T97" fmla="*/ 880 h 1653"/>
                <a:gd name="T98" fmla="*/ 444 w 2364"/>
                <a:gd name="T99" fmla="*/ 938 h 1653"/>
                <a:gd name="T100" fmla="*/ 518 w 2364"/>
                <a:gd name="T101" fmla="*/ 1008 h 1653"/>
                <a:gd name="T102" fmla="*/ 474 w 2364"/>
                <a:gd name="T103" fmla="*/ 1037 h 1653"/>
                <a:gd name="T104" fmla="*/ 498 w 2364"/>
                <a:gd name="T105" fmla="*/ 1084 h 1653"/>
                <a:gd name="T106" fmla="*/ 586 w 2364"/>
                <a:gd name="T107" fmla="*/ 1177 h 1653"/>
                <a:gd name="T108" fmla="*/ 765 w 2364"/>
                <a:gd name="T109" fmla="*/ 1124 h 1653"/>
                <a:gd name="T110" fmla="*/ 1002 w 2364"/>
                <a:gd name="T111" fmla="*/ 1085 h 1653"/>
                <a:gd name="T112" fmla="*/ 1133 w 2364"/>
                <a:gd name="T113" fmla="*/ 1072 h 1653"/>
                <a:gd name="T114" fmla="*/ 1365 w 2364"/>
                <a:gd name="T115" fmla="*/ 1218 h 1653"/>
                <a:gd name="T116" fmla="*/ 1786 w 2364"/>
                <a:gd name="T117" fmla="*/ 1627 h 1653"/>
                <a:gd name="T118" fmla="*/ 1875 w 2364"/>
                <a:gd name="T119" fmla="*/ 1651 h 1653"/>
                <a:gd name="T120" fmla="*/ 2043 w 2364"/>
                <a:gd name="T121" fmla="*/ 1565 h 1653"/>
                <a:gd name="T122" fmla="*/ 2282 w 2364"/>
                <a:gd name="T123" fmla="*/ 1566 h 1653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364"/>
                <a:gd name="T187" fmla="*/ 0 h 1653"/>
                <a:gd name="T188" fmla="*/ 2364 w 2364"/>
                <a:gd name="T189" fmla="*/ 1653 h 1653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364" h="1653">
                  <a:moveTo>
                    <a:pt x="2364" y="1379"/>
                  </a:moveTo>
                  <a:lnTo>
                    <a:pt x="2358" y="1377"/>
                  </a:lnTo>
                  <a:lnTo>
                    <a:pt x="2350" y="1374"/>
                  </a:lnTo>
                  <a:lnTo>
                    <a:pt x="2343" y="1371"/>
                  </a:lnTo>
                  <a:lnTo>
                    <a:pt x="2336" y="1367"/>
                  </a:lnTo>
                  <a:lnTo>
                    <a:pt x="2326" y="1357"/>
                  </a:lnTo>
                  <a:lnTo>
                    <a:pt x="2315" y="1345"/>
                  </a:lnTo>
                  <a:lnTo>
                    <a:pt x="2306" y="1333"/>
                  </a:lnTo>
                  <a:lnTo>
                    <a:pt x="2296" y="1318"/>
                  </a:lnTo>
                  <a:lnTo>
                    <a:pt x="2288" y="1304"/>
                  </a:lnTo>
                  <a:lnTo>
                    <a:pt x="2280" y="1289"/>
                  </a:lnTo>
                  <a:lnTo>
                    <a:pt x="2271" y="1273"/>
                  </a:lnTo>
                  <a:lnTo>
                    <a:pt x="2263" y="1260"/>
                  </a:lnTo>
                  <a:lnTo>
                    <a:pt x="2254" y="1246"/>
                  </a:lnTo>
                  <a:lnTo>
                    <a:pt x="2244" y="1234"/>
                  </a:lnTo>
                  <a:lnTo>
                    <a:pt x="2232" y="1225"/>
                  </a:lnTo>
                  <a:lnTo>
                    <a:pt x="2220" y="1217"/>
                  </a:lnTo>
                  <a:lnTo>
                    <a:pt x="2214" y="1214"/>
                  </a:lnTo>
                  <a:lnTo>
                    <a:pt x="2206" y="1213"/>
                  </a:lnTo>
                  <a:lnTo>
                    <a:pt x="2199" y="1212"/>
                  </a:lnTo>
                  <a:lnTo>
                    <a:pt x="2190" y="1210"/>
                  </a:lnTo>
                  <a:lnTo>
                    <a:pt x="2180" y="1210"/>
                  </a:lnTo>
                  <a:lnTo>
                    <a:pt x="2175" y="1210"/>
                  </a:lnTo>
                  <a:lnTo>
                    <a:pt x="2167" y="1210"/>
                  </a:lnTo>
                  <a:lnTo>
                    <a:pt x="2154" y="1210"/>
                  </a:lnTo>
                  <a:lnTo>
                    <a:pt x="2146" y="1210"/>
                  </a:lnTo>
                  <a:lnTo>
                    <a:pt x="2139" y="1206"/>
                  </a:lnTo>
                  <a:lnTo>
                    <a:pt x="2134" y="1202"/>
                  </a:lnTo>
                  <a:lnTo>
                    <a:pt x="2130" y="1197"/>
                  </a:lnTo>
                  <a:lnTo>
                    <a:pt x="2123" y="1182"/>
                  </a:lnTo>
                  <a:lnTo>
                    <a:pt x="2118" y="1169"/>
                  </a:lnTo>
                  <a:lnTo>
                    <a:pt x="2106" y="1172"/>
                  </a:lnTo>
                  <a:lnTo>
                    <a:pt x="2095" y="1172"/>
                  </a:lnTo>
                  <a:lnTo>
                    <a:pt x="2086" y="1172"/>
                  </a:lnTo>
                  <a:lnTo>
                    <a:pt x="2078" y="1169"/>
                  </a:lnTo>
                  <a:lnTo>
                    <a:pt x="2071" y="1165"/>
                  </a:lnTo>
                  <a:lnTo>
                    <a:pt x="2064" y="1160"/>
                  </a:lnTo>
                  <a:lnTo>
                    <a:pt x="2059" y="1153"/>
                  </a:lnTo>
                  <a:lnTo>
                    <a:pt x="2054" y="1146"/>
                  </a:lnTo>
                  <a:lnTo>
                    <a:pt x="2050" y="1138"/>
                  </a:lnTo>
                  <a:lnTo>
                    <a:pt x="2047" y="1129"/>
                  </a:lnTo>
                  <a:lnTo>
                    <a:pt x="2044" y="1118"/>
                  </a:lnTo>
                  <a:lnTo>
                    <a:pt x="2043" y="1108"/>
                  </a:lnTo>
                  <a:lnTo>
                    <a:pt x="2040" y="1085"/>
                  </a:lnTo>
                  <a:lnTo>
                    <a:pt x="2039" y="1060"/>
                  </a:lnTo>
                  <a:lnTo>
                    <a:pt x="2040" y="1044"/>
                  </a:lnTo>
                  <a:lnTo>
                    <a:pt x="2043" y="1028"/>
                  </a:lnTo>
                  <a:lnTo>
                    <a:pt x="2048" y="1014"/>
                  </a:lnTo>
                  <a:lnTo>
                    <a:pt x="2054" y="1002"/>
                  </a:lnTo>
                  <a:lnTo>
                    <a:pt x="2066" y="980"/>
                  </a:lnTo>
                  <a:lnTo>
                    <a:pt x="2076" y="958"/>
                  </a:lnTo>
                  <a:lnTo>
                    <a:pt x="2068" y="956"/>
                  </a:lnTo>
                  <a:lnTo>
                    <a:pt x="2062" y="952"/>
                  </a:lnTo>
                  <a:lnTo>
                    <a:pt x="2055" y="948"/>
                  </a:lnTo>
                  <a:lnTo>
                    <a:pt x="2048" y="942"/>
                  </a:lnTo>
                  <a:lnTo>
                    <a:pt x="2042" y="937"/>
                  </a:lnTo>
                  <a:lnTo>
                    <a:pt x="2038" y="929"/>
                  </a:lnTo>
                  <a:lnTo>
                    <a:pt x="2035" y="920"/>
                  </a:lnTo>
                  <a:lnTo>
                    <a:pt x="2034" y="909"/>
                  </a:lnTo>
                  <a:lnTo>
                    <a:pt x="2035" y="902"/>
                  </a:lnTo>
                  <a:lnTo>
                    <a:pt x="2036" y="896"/>
                  </a:lnTo>
                  <a:lnTo>
                    <a:pt x="2040" y="889"/>
                  </a:lnTo>
                  <a:lnTo>
                    <a:pt x="2046" y="881"/>
                  </a:lnTo>
                  <a:lnTo>
                    <a:pt x="2059" y="866"/>
                  </a:lnTo>
                  <a:lnTo>
                    <a:pt x="2074" y="849"/>
                  </a:lnTo>
                  <a:lnTo>
                    <a:pt x="2088" y="832"/>
                  </a:lnTo>
                  <a:lnTo>
                    <a:pt x="2102" y="813"/>
                  </a:lnTo>
                  <a:lnTo>
                    <a:pt x="2108" y="804"/>
                  </a:lnTo>
                  <a:lnTo>
                    <a:pt x="2112" y="793"/>
                  </a:lnTo>
                  <a:lnTo>
                    <a:pt x="2116" y="782"/>
                  </a:lnTo>
                  <a:lnTo>
                    <a:pt x="2118" y="772"/>
                  </a:lnTo>
                  <a:lnTo>
                    <a:pt x="2118" y="757"/>
                  </a:lnTo>
                  <a:lnTo>
                    <a:pt x="2118" y="734"/>
                  </a:lnTo>
                  <a:lnTo>
                    <a:pt x="2119" y="725"/>
                  </a:lnTo>
                  <a:lnTo>
                    <a:pt x="2120" y="717"/>
                  </a:lnTo>
                  <a:lnTo>
                    <a:pt x="2123" y="709"/>
                  </a:lnTo>
                  <a:lnTo>
                    <a:pt x="2127" y="701"/>
                  </a:lnTo>
                  <a:lnTo>
                    <a:pt x="2136" y="688"/>
                  </a:lnTo>
                  <a:lnTo>
                    <a:pt x="2148" y="676"/>
                  </a:lnTo>
                  <a:lnTo>
                    <a:pt x="2159" y="665"/>
                  </a:lnTo>
                  <a:lnTo>
                    <a:pt x="2168" y="653"/>
                  </a:lnTo>
                  <a:lnTo>
                    <a:pt x="2172" y="648"/>
                  </a:lnTo>
                  <a:lnTo>
                    <a:pt x="2175" y="641"/>
                  </a:lnTo>
                  <a:lnTo>
                    <a:pt x="2178" y="635"/>
                  </a:lnTo>
                  <a:lnTo>
                    <a:pt x="2178" y="627"/>
                  </a:lnTo>
                  <a:lnTo>
                    <a:pt x="2178" y="619"/>
                  </a:lnTo>
                  <a:lnTo>
                    <a:pt x="2175" y="612"/>
                  </a:lnTo>
                  <a:lnTo>
                    <a:pt x="2171" y="607"/>
                  </a:lnTo>
                  <a:lnTo>
                    <a:pt x="2167" y="603"/>
                  </a:lnTo>
                  <a:lnTo>
                    <a:pt x="2155" y="597"/>
                  </a:lnTo>
                  <a:lnTo>
                    <a:pt x="2142" y="592"/>
                  </a:lnTo>
                  <a:lnTo>
                    <a:pt x="2135" y="589"/>
                  </a:lnTo>
                  <a:lnTo>
                    <a:pt x="2128" y="587"/>
                  </a:lnTo>
                  <a:lnTo>
                    <a:pt x="2123" y="584"/>
                  </a:lnTo>
                  <a:lnTo>
                    <a:pt x="2118" y="580"/>
                  </a:lnTo>
                  <a:lnTo>
                    <a:pt x="2112" y="573"/>
                  </a:lnTo>
                  <a:lnTo>
                    <a:pt x="2108" y="567"/>
                  </a:lnTo>
                  <a:lnTo>
                    <a:pt x="2107" y="559"/>
                  </a:lnTo>
                  <a:lnTo>
                    <a:pt x="2106" y="548"/>
                  </a:lnTo>
                  <a:lnTo>
                    <a:pt x="2107" y="544"/>
                  </a:lnTo>
                  <a:lnTo>
                    <a:pt x="2108" y="539"/>
                  </a:lnTo>
                  <a:lnTo>
                    <a:pt x="2110" y="533"/>
                  </a:lnTo>
                  <a:lnTo>
                    <a:pt x="2114" y="528"/>
                  </a:lnTo>
                  <a:lnTo>
                    <a:pt x="2118" y="523"/>
                  </a:lnTo>
                  <a:lnTo>
                    <a:pt x="2122" y="519"/>
                  </a:lnTo>
                  <a:lnTo>
                    <a:pt x="2126" y="515"/>
                  </a:lnTo>
                  <a:lnTo>
                    <a:pt x="2130" y="512"/>
                  </a:lnTo>
                  <a:lnTo>
                    <a:pt x="2227" y="512"/>
                  </a:lnTo>
                  <a:lnTo>
                    <a:pt x="2248" y="504"/>
                  </a:lnTo>
                  <a:lnTo>
                    <a:pt x="2271" y="495"/>
                  </a:lnTo>
                  <a:lnTo>
                    <a:pt x="2282" y="488"/>
                  </a:lnTo>
                  <a:lnTo>
                    <a:pt x="2291" y="480"/>
                  </a:lnTo>
                  <a:lnTo>
                    <a:pt x="2294" y="476"/>
                  </a:lnTo>
                  <a:lnTo>
                    <a:pt x="2296" y="471"/>
                  </a:lnTo>
                  <a:lnTo>
                    <a:pt x="2298" y="464"/>
                  </a:lnTo>
                  <a:lnTo>
                    <a:pt x="2299" y="459"/>
                  </a:lnTo>
                  <a:lnTo>
                    <a:pt x="2298" y="448"/>
                  </a:lnTo>
                  <a:lnTo>
                    <a:pt x="2295" y="435"/>
                  </a:lnTo>
                  <a:lnTo>
                    <a:pt x="2290" y="420"/>
                  </a:lnTo>
                  <a:lnTo>
                    <a:pt x="2284" y="404"/>
                  </a:lnTo>
                  <a:lnTo>
                    <a:pt x="2268" y="368"/>
                  </a:lnTo>
                  <a:lnTo>
                    <a:pt x="2248" y="332"/>
                  </a:lnTo>
                  <a:lnTo>
                    <a:pt x="2239" y="313"/>
                  </a:lnTo>
                  <a:lnTo>
                    <a:pt x="2228" y="297"/>
                  </a:lnTo>
                  <a:lnTo>
                    <a:pt x="2218" y="281"/>
                  </a:lnTo>
                  <a:lnTo>
                    <a:pt x="2207" y="268"/>
                  </a:lnTo>
                  <a:lnTo>
                    <a:pt x="2198" y="257"/>
                  </a:lnTo>
                  <a:lnTo>
                    <a:pt x="2188" y="248"/>
                  </a:lnTo>
                  <a:lnTo>
                    <a:pt x="2183" y="245"/>
                  </a:lnTo>
                  <a:lnTo>
                    <a:pt x="2179" y="243"/>
                  </a:lnTo>
                  <a:lnTo>
                    <a:pt x="2176" y="241"/>
                  </a:lnTo>
                  <a:lnTo>
                    <a:pt x="2172" y="241"/>
                  </a:lnTo>
                  <a:lnTo>
                    <a:pt x="2164" y="241"/>
                  </a:lnTo>
                  <a:lnTo>
                    <a:pt x="2158" y="244"/>
                  </a:lnTo>
                  <a:lnTo>
                    <a:pt x="2151" y="245"/>
                  </a:lnTo>
                  <a:lnTo>
                    <a:pt x="2146" y="249"/>
                  </a:lnTo>
                  <a:lnTo>
                    <a:pt x="2135" y="257"/>
                  </a:lnTo>
                  <a:lnTo>
                    <a:pt x="2126" y="268"/>
                  </a:lnTo>
                  <a:lnTo>
                    <a:pt x="2118" y="279"/>
                  </a:lnTo>
                  <a:lnTo>
                    <a:pt x="2110" y="289"/>
                  </a:lnTo>
                  <a:lnTo>
                    <a:pt x="2103" y="300"/>
                  </a:lnTo>
                  <a:lnTo>
                    <a:pt x="2094" y="308"/>
                  </a:lnTo>
                  <a:lnTo>
                    <a:pt x="2084" y="315"/>
                  </a:lnTo>
                  <a:lnTo>
                    <a:pt x="2075" y="321"/>
                  </a:lnTo>
                  <a:lnTo>
                    <a:pt x="2066" y="325"/>
                  </a:lnTo>
                  <a:lnTo>
                    <a:pt x="2055" y="329"/>
                  </a:lnTo>
                  <a:lnTo>
                    <a:pt x="2046" y="333"/>
                  </a:lnTo>
                  <a:lnTo>
                    <a:pt x="2038" y="339"/>
                  </a:lnTo>
                  <a:lnTo>
                    <a:pt x="2028" y="347"/>
                  </a:lnTo>
                  <a:lnTo>
                    <a:pt x="2022" y="356"/>
                  </a:lnTo>
                  <a:lnTo>
                    <a:pt x="2018" y="361"/>
                  </a:lnTo>
                  <a:lnTo>
                    <a:pt x="2014" y="368"/>
                  </a:lnTo>
                  <a:lnTo>
                    <a:pt x="2011" y="376"/>
                  </a:lnTo>
                  <a:lnTo>
                    <a:pt x="2008" y="383"/>
                  </a:lnTo>
                  <a:lnTo>
                    <a:pt x="2003" y="399"/>
                  </a:lnTo>
                  <a:lnTo>
                    <a:pt x="1999" y="416"/>
                  </a:lnTo>
                  <a:lnTo>
                    <a:pt x="1994" y="433"/>
                  </a:lnTo>
                  <a:lnTo>
                    <a:pt x="1987" y="449"/>
                  </a:lnTo>
                  <a:lnTo>
                    <a:pt x="1984" y="456"/>
                  </a:lnTo>
                  <a:lnTo>
                    <a:pt x="1979" y="464"/>
                  </a:lnTo>
                  <a:lnTo>
                    <a:pt x="1974" y="471"/>
                  </a:lnTo>
                  <a:lnTo>
                    <a:pt x="1967" y="476"/>
                  </a:lnTo>
                  <a:lnTo>
                    <a:pt x="1952" y="484"/>
                  </a:lnTo>
                  <a:lnTo>
                    <a:pt x="1938" y="489"/>
                  </a:lnTo>
                  <a:lnTo>
                    <a:pt x="1930" y="493"/>
                  </a:lnTo>
                  <a:lnTo>
                    <a:pt x="1922" y="499"/>
                  </a:lnTo>
                  <a:lnTo>
                    <a:pt x="1914" y="504"/>
                  </a:lnTo>
                  <a:lnTo>
                    <a:pt x="1907" y="512"/>
                  </a:lnTo>
                  <a:lnTo>
                    <a:pt x="1902" y="517"/>
                  </a:lnTo>
                  <a:lnTo>
                    <a:pt x="1896" y="524"/>
                  </a:lnTo>
                  <a:lnTo>
                    <a:pt x="1892" y="531"/>
                  </a:lnTo>
                  <a:lnTo>
                    <a:pt x="1887" y="537"/>
                  </a:lnTo>
                  <a:lnTo>
                    <a:pt x="1883" y="544"/>
                  </a:lnTo>
                  <a:lnTo>
                    <a:pt x="1876" y="549"/>
                  </a:lnTo>
                  <a:lnTo>
                    <a:pt x="1872" y="552"/>
                  </a:lnTo>
                  <a:lnTo>
                    <a:pt x="1868" y="553"/>
                  </a:lnTo>
                  <a:lnTo>
                    <a:pt x="1864" y="555"/>
                  </a:lnTo>
                  <a:lnTo>
                    <a:pt x="1859" y="555"/>
                  </a:lnTo>
                  <a:lnTo>
                    <a:pt x="1846" y="553"/>
                  </a:lnTo>
                  <a:lnTo>
                    <a:pt x="1835" y="552"/>
                  </a:lnTo>
                  <a:lnTo>
                    <a:pt x="1826" y="548"/>
                  </a:lnTo>
                  <a:lnTo>
                    <a:pt x="1818" y="543"/>
                  </a:lnTo>
                  <a:lnTo>
                    <a:pt x="1804" y="532"/>
                  </a:lnTo>
                  <a:lnTo>
                    <a:pt x="1792" y="519"/>
                  </a:lnTo>
                  <a:lnTo>
                    <a:pt x="1782" y="505"/>
                  </a:lnTo>
                  <a:lnTo>
                    <a:pt x="1767" y="493"/>
                  </a:lnTo>
                  <a:lnTo>
                    <a:pt x="1759" y="489"/>
                  </a:lnTo>
                  <a:lnTo>
                    <a:pt x="1750" y="485"/>
                  </a:lnTo>
                  <a:lnTo>
                    <a:pt x="1739" y="483"/>
                  </a:lnTo>
                  <a:lnTo>
                    <a:pt x="1727" y="483"/>
                  </a:lnTo>
                  <a:lnTo>
                    <a:pt x="1717" y="484"/>
                  </a:lnTo>
                  <a:lnTo>
                    <a:pt x="1707" y="487"/>
                  </a:lnTo>
                  <a:lnTo>
                    <a:pt x="1701" y="492"/>
                  </a:lnTo>
                  <a:lnTo>
                    <a:pt x="1693" y="497"/>
                  </a:lnTo>
                  <a:lnTo>
                    <a:pt x="1685" y="503"/>
                  </a:lnTo>
                  <a:lnTo>
                    <a:pt x="1677" y="508"/>
                  </a:lnTo>
                  <a:lnTo>
                    <a:pt x="1666" y="511"/>
                  </a:lnTo>
                  <a:lnTo>
                    <a:pt x="1654" y="512"/>
                  </a:lnTo>
                  <a:lnTo>
                    <a:pt x="1643" y="512"/>
                  </a:lnTo>
                  <a:lnTo>
                    <a:pt x="1633" y="509"/>
                  </a:lnTo>
                  <a:lnTo>
                    <a:pt x="1622" y="505"/>
                  </a:lnTo>
                  <a:lnTo>
                    <a:pt x="1613" y="500"/>
                  </a:lnTo>
                  <a:lnTo>
                    <a:pt x="1605" y="492"/>
                  </a:lnTo>
                  <a:lnTo>
                    <a:pt x="1599" y="484"/>
                  </a:lnTo>
                  <a:lnTo>
                    <a:pt x="1597" y="480"/>
                  </a:lnTo>
                  <a:lnTo>
                    <a:pt x="1595" y="475"/>
                  </a:lnTo>
                  <a:lnTo>
                    <a:pt x="1594" y="469"/>
                  </a:lnTo>
                  <a:lnTo>
                    <a:pt x="1594" y="464"/>
                  </a:lnTo>
                  <a:lnTo>
                    <a:pt x="1594" y="456"/>
                  </a:lnTo>
                  <a:lnTo>
                    <a:pt x="1595" y="449"/>
                  </a:lnTo>
                  <a:lnTo>
                    <a:pt x="1598" y="443"/>
                  </a:lnTo>
                  <a:lnTo>
                    <a:pt x="1601" y="436"/>
                  </a:lnTo>
                  <a:lnTo>
                    <a:pt x="1607" y="424"/>
                  </a:lnTo>
                  <a:lnTo>
                    <a:pt x="1615" y="413"/>
                  </a:lnTo>
                  <a:lnTo>
                    <a:pt x="1623" y="401"/>
                  </a:lnTo>
                  <a:lnTo>
                    <a:pt x="1630" y="389"/>
                  </a:lnTo>
                  <a:lnTo>
                    <a:pt x="1633" y="383"/>
                  </a:lnTo>
                  <a:lnTo>
                    <a:pt x="1634" y="376"/>
                  </a:lnTo>
                  <a:lnTo>
                    <a:pt x="1635" y="369"/>
                  </a:lnTo>
                  <a:lnTo>
                    <a:pt x="1637" y="361"/>
                  </a:lnTo>
                  <a:lnTo>
                    <a:pt x="1635" y="353"/>
                  </a:lnTo>
                  <a:lnTo>
                    <a:pt x="1633" y="347"/>
                  </a:lnTo>
                  <a:lnTo>
                    <a:pt x="1629" y="340"/>
                  </a:lnTo>
                  <a:lnTo>
                    <a:pt x="1625" y="333"/>
                  </a:lnTo>
                  <a:lnTo>
                    <a:pt x="1619" y="328"/>
                  </a:lnTo>
                  <a:lnTo>
                    <a:pt x="1617" y="320"/>
                  </a:lnTo>
                  <a:lnTo>
                    <a:pt x="1613" y="312"/>
                  </a:lnTo>
                  <a:lnTo>
                    <a:pt x="1613" y="301"/>
                  </a:lnTo>
                  <a:lnTo>
                    <a:pt x="1613" y="295"/>
                  </a:lnTo>
                  <a:lnTo>
                    <a:pt x="1617" y="289"/>
                  </a:lnTo>
                  <a:lnTo>
                    <a:pt x="1621" y="285"/>
                  </a:lnTo>
                  <a:lnTo>
                    <a:pt x="1625" y="280"/>
                  </a:lnTo>
                  <a:lnTo>
                    <a:pt x="1630" y="276"/>
                  </a:lnTo>
                  <a:lnTo>
                    <a:pt x="1635" y="271"/>
                  </a:lnTo>
                  <a:lnTo>
                    <a:pt x="1639" y="265"/>
                  </a:lnTo>
                  <a:lnTo>
                    <a:pt x="1642" y="260"/>
                  </a:lnTo>
                  <a:lnTo>
                    <a:pt x="1657" y="213"/>
                  </a:lnTo>
                  <a:lnTo>
                    <a:pt x="1670" y="165"/>
                  </a:lnTo>
                  <a:lnTo>
                    <a:pt x="1675" y="142"/>
                  </a:lnTo>
                  <a:lnTo>
                    <a:pt x="1681" y="116"/>
                  </a:lnTo>
                  <a:lnTo>
                    <a:pt x="1683" y="92"/>
                  </a:lnTo>
                  <a:lnTo>
                    <a:pt x="1685" y="67"/>
                  </a:lnTo>
                  <a:lnTo>
                    <a:pt x="1683" y="50"/>
                  </a:lnTo>
                  <a:lnTo>
                    <a:pt x="1682" y="36"/>
                  </a:lnTo>
                  <a:lnTo>
                    <a:pt x="1681" y="30"/>
                  </a:lnTo>
                  <a:lnTo>
                    <a:pt x="1678" y="24"/>
                  </a:lnTo>
                  <a:lnTo>
                    <a:pt x="1675" y="20"/>
                  </a:lnTo>
                  <a:lnTo>
                    <a:pt x="1671" y="16"/>
                  </a:lnTo>
                  <a:lnTo>
                    <a:pt x="1667" y="12"/>
                  </a:lnTo>
                  <a:lnTo>
                    <a:pt x="1663" y="8"/>
                  </a:lnTo>
                  <a:lnTo>
                    <a:pt x="1658" y="6"/>
                  </a:lnTo>
                  <a:lnTo>
                    <a:pt x="1651" y="4"/>
                  </a:lnTo>
                  <a:lnTo>
                    <a:pt x="1637" y="2"/>
                  </a:lnTo>
                  <a:lnTo>
                    <a:pt x="1618" y="0"/>
                  </a:lnTo>
                  <a:lnTo>
                    <a:pt x="1605" y="2"/>
                  </a:lnTo>
                  <a:lnTo>
                    <a:pt x="1591" y="3"/>
                  </a:lnTo>
                  <a:lnTo>
                    <a:pt x="1578" y="6"/>
                  </a:lnTo>
                  <a:lnTo>
                    <a:pt x="1567" y="10"/>
                  </a:lnTo>
                  <a:lnTo>
                    <a:pt x="1555" y="15"/>
                  </a:lnTo>
                  <a:lnTo>
                    <a:pt x="1546" y="20"/>
                  </a:lnTo>
                  <a:lnTo>
                    <a:pt x="1535" y="27"/>
                  </a:lnTo>
                  <a:lnTo>
                    <a:pt x="1526" y="34"/>
                  </a:lnTo>
                  <a:lnTo>
                    <a:pt x="1509" y="50"/>
                  </a:lnTo>
                  <a:lnTo>
                    <a:pt x="1493" y="67"/>
                  </a:lnTo>
                  <a:lnTo>
                    <a:pt x="1477" y="84"/>
                  </a:lnTo>
                  <a:lnTo>
                    <a:pt x="1462" y="103"/>
                  </a:lnTo>
                  <a:lnTo>
                    <a:pt x="1419" y="103"/>
                  </a:lnTo>
                  <a:lnTo>
                    <a:pt x="1399" y="111"/>
                  </a:lnTo>
                  <a:lnTo>
                    <a:pt x="1381" y="122"/>
                  </a:lnTo>
                  <a:lnTo>
                    <a:pt x="1365" y="132"/>
                  </a:lnTo>
                  <a:lnTo>
                    <a:pt x="1350" y="143"/>
                  </a:lnTo>
                  <a:lnTo>
                    <a:pt x="1337" y="156"/>
                  </a:lnTo>
                  <a:lnTo>
                    <a:pt x="1323" y="168"/>
                  </a:lnTo>
                  <a:lnTo>
                    <a:pt x="1311" y="183"/>
                  </a:lnTo>
                  <a:lnTo>
                    <a:pt x="1301" y="196"/>
                  </a:lnTo>
                  <a:lnTo>
                    <a:pt x="1278" y="225"/>
                  </a:lnTo>
                  <a:lnTo>
                    <a:pt x="1254" y="253"/>
                  </a:lnTo>
                  <a:lnTo>
                    <a:pt x="1239" y="268"/>
                  </a:lnTo>
                  <a:lnTo>
                    <a:pt x="1225" y="281"/>
                  </a:lnTo>
                  <a:lnTo>
                    <a:pt x="1209" y="295"/>
                  </a:lnTo>
                  <a:lnTo>
                    <a:pt x="1190" y="308"/>
                  </a:lnTo>
                  <a:lnTo>
                    <a:pt x="1183" y="313"/>
                  </a:lnTo>
                  <a:lnTo>
                    <a:pt x="1175" y="317"/>
                  </a:lnTo>
                  <a:lnTo>
                    <a:pt x="1167" y="320"/>
                  </a:lnTo>
                  <a:lnTo>
                    <a:pt x="1158" y="324"/>
                  </a:lnTo>
                  <a:lnTo>
                    <a:pt x="1139" y="328"/>
                  </a:lnTo>
                  <a:lnTo>
                    <a:pt x="1119" y="332"/>
                  </a:lnTo>
                  <a:lnTo>
                    <a:pt x="1099" y="335"/>
                  </a:lnTo>
                  <a:lnTo>
                    <a:pt x="1081" y="340"/>
                  </a:lnTo>
                  <a:lnTo>
                    <a:pt x="1073" y="343"/>
                  </a:lnTo>
                  <a:lnTo>
                    <a:pt x="1065" y="347"/>
                  </a:lnTo>
                  <a:lnTo>
                    <a:pt x="1058" y="351"/>
                  </a:lnTo>
                  <a:lnTo>
                    <a:pt x="1053" y="356"/>
                  </a:lnTo>
                  <a:lnTo>
                    <a:pt x="1020" y="391"/>
                  </a:lnTo>
                  <a:lnTo>
                    <a:pt x="984" y="425"/>
                  </a:lnTo>
                  <a:lnTo>
                    <a:pt x="974" y="433"/>
                  </a:lnTo>
                  <a:lnTo>
                    <a:pt x="962" y="441"/>
                  </a:lnTo>
                  <a:lnTo>
                    <a:pt x="952" y="448"/>
                  </a:lnTo>
                  <a:lnTo>
                    <a:pt x="940" y="453"/>
                  </a:lnTo>
                  <a:lnTo>
                    <a:pt x="926" y="457"/>
                  </a:lnTo>
                  <a:lnTo>
                    <a:pt x="913" y="461"/>
                  </a:lnTo>
                  <a:lnTo>
                    <a:pt x="898" y="464"/>
                  </a:lnTo>
                  <a:lnTo>
                    <a:pt x="884" y="464"/>
                  </a:lnTo>
                  <a:lnTo>
                    <a:pt x="868" y="465"/>
                  </a:lnTo>
                  <a:lnTo>
                    <a:pt x="852" y="467"/>
                  </a:lnTo>
                  <a:lnTo>
                    <a:pt x="837" y="469"/>
                  </a:lnTo>
                  <a:lnTo>
                    <a:pt x="824" y="472"/>
                  </a:lnTo>
                  <a:lnTo>
                    <a:pt x="798" y="481"/>
                  </a:lnTo>
                  <a:lnTo>
                    <a:pt x="774" y="491"/>
                  </a:lnTo>
                  <a:lnTo>
                    <a:pt x="750" y="501"/>
                  </a:lnTo>
                  <a:lnTo>
                    <a:pt x="726" y="509"/>
                  </a:lnTo>
                  <a:lnTo>
                    <a:pt x="713" y="513"/>
                  </a:lnTo>
                  <a:lnTo>
                    <a:pt x="701" y="516"/>
                  </a:lnTo>
                  <a:lnTo>
                    <a:pt x="688" y="517"/>
                  </a:lnTo>
                  <a:lnTo>
                    <a:pt x="673" y="519"/>
                  </a:lnTo>
                  <a:lnTo>
                    <a:pt x="660" y="517"/>
                  </a:lnTo>
                  <a:lnTo>
                    <a:pt x="648" y="516"/>
                  </a:lnTo>
                  <a:lnTo>
                    <a:pt x="637" y="512"/>
                  </a:lnTo>
                  <a:lnTo>
                    <a:pt x="628" y="508"/>
                  </a:lnTo>
                  <a:lnTo>
                    <a:pt x="609" y="497"/>
                  </a:lnTo>
                  <a:lnTo>
                    <a:pt x="593" y="485"/>
                  </a:lnTo>
                  <a:lnTo>
                    <a:pt x="577" y="473"/>
                  </a:lnTo>
                  <a:lnTo>
                    <a:pt x="561" y="463"/>
                  </a:lnTo>
                  <a:lnTo>
                    <a:pt x="552" y="459"/>
                  </a:lnTo>
                  <a:lnTo>
                    <a:pt x="544" y="455"/>
                  </a:lnTo>
                  <a:lnTo>
                    <a:pt x="533" y="453"/>
                  </a:lnTo>
                  <a:lnTo>
                    <a:pt x="522" y="452"/>
                  </a:lnTo>
                  <a:lnTo>
                    <a:pt x="502" y="453"/>
                  </a:lnTo>
                  <a:lnTo>
                    <a:pt x="485" y="457"/>
                  </a:lnTo>
                  <a:lnTo>
                    <a:pt x="468" y="461"/>
                  </a:lnTo>
                  <a:lnTo>
                    <a:pt x="452" y="467"/>
                  </a:lnTo>
                  <a:lnTo>
                    <a:pt x="436" y="473"/>
                  </a:lnTo>
                  <a:lnTo>
                    <a:pt x="421" y="477"/>
                  </a:lnTo>
                  <a:lnTo>
                    <a:pt x="405" y="481"/>
                  </a:lnTo>
                  <a:lnTo>
                    <a:pt x="390" y="483"/>
                  </a:lnTo>
                  <a:lnTo>
                    <a:pt x="356" y="483"/>
                  </a:lnTo>
                  <a:lnTo>
                    <a:pt x="329" y="483"/>
                  </a:lnTo>
                  <a:lnTo>
                    <a:pt x="305" y="483"/>
                  </a:lnTo>
                  <a:lnTo>
                    <a:pt x="284" y="483"/>
                  </a:lnTo>
                  <a:lnTo>
                    <a:pt x="260" y="483"/>
                  </a:lnTo>
                  <a:lnTo>
                    <a:pt x="233" y="483"/>
                  </a:lnTo>
                  <a:lnTo>
                    <a:pt x="199" y="483"/>
                  </a:lnTo>
                  <a:lnTo>
                    <a:pt x="155" y="483"/>
                  </a:lnTo>
                  <a:lnTo>
                    <a:pt x="143" y="483"/>
                  </a:lnTo>
                  <a:lnTo>
                    <a:pt x="132" y="484"/>
                  </a:lnTo>
                  <a:lnTo>
                    <a:pt x="121" y="487"/>
                  </a:lnTo>
                  <a:lnTo>
                    <a:pt x="111" y="489"/>
                  </a:lnTo>
                  <a:lnTo>
                    <a:pt x="101" y="493"/>
                  </a:lnTo>
                  <a:lnTo>
                    <a:pt x="92" y="497"/>
                  </a:lnTo>
                  <a:lnTo>
                    <a:pt x="84" y="503"/>
                  </a:lnTo>
                  <a:lnTo>
                    <a:pt x="76" y="508"/>
                  </a:lnTo>
                  <a:lnTo>
                    <a:pt x="61" y="520"/>
                  </a:lnTo>
                  <a:lnTo>
                    <a:pt x="49" y="533"/>
                  </a:lnTo>
                  <a:lnTo>
                    <a:pt x="39" y="547"/>
                  </a:lnTo>
                  <a:lnTo>
                    <a:pt x="28" y="560"/>
                  </a:lnTo>
                  <a:lnTo>
                    <a:pt x="20" y="557"/>
                  </a:lnTo>
                  <a:lnTo>
                    <a:pt x="16" y="555"/>
                  </a:lnTo>
                  <a:lnTo>
                    <a:pt x="11" y="564"/>
                  </a:lnTo>
                  <a:lnTo>
                    <a:pt x="1" y="588"/>
                  </a:lnTo>
                  <a:lnTo>
                    <a:pt x="0" y="596"/>
                  </a:lnTo>
                  <a:lnTo>
                    <a:pt x="0" y="603"/>
                  </a:lnTo>
                  <a:lnTo>
                    <a:pt x="0" y="611"/>
                  </a:lnTo>
                  <a:lnTo>
                    <a:pt x="1" y="619"/>
                  </a:lnTo>
                  <a:lnTo>
                    <a:pt x="4" y="625"/>
                  </a:lnTo>
                  <a:lnTo>
                    <a:pt x="8" y="632"/>
                  </a:lnTo>
                  <a:lnTo>
                    <a:pt x="15" y="639"/>
                  </a:lnTo>
                  <a:lnTo>
                    <a:pt x="23" y="645"/>
                  </a:lnTo>
                  <a:lnTo>
                    <a:pt x="40" y="652"/>
                  </a:lnTo>
                  <a:lnTo>
                    <a:pt x="51" y="656"/>
                  </a:lnTo>
                  <a:lnTo>
                    <a:pt x="57" y="657"/>
                  </a:lnTo>
                  <a:lnTo>
                    <a:pt x="63" y="657"/>
                  </a:lnTo>
                  <a:lnTo>
                    <a:pt x="67" y="657"/>
                  </a:lnTo>
                  <a:lnTo>
                    <a:pt x="71" y="659"/>
                  </a:lnTo>
                  <a:lnTo>
                    <a:pt x="77" y="663"/>
                  </a:lnTo>
                  <a:lnTo>
                    <a:pt x="89" y="669"/>
                  </a:lnTo>
                  <a:lnTo>
                    <a:pt x="101" y="676"/>
                  </a:lnTo>
                  <a:lnTo>
                    <a:pt x="113" y="681"/>
                  </a:lnTo>
                  <a:lnTo>
                    <a:pt x="124" y="684"/>
                  </a:lnTo>
                  <a:lnTo>
                    <a:pt x="131" y="687"/>
                  </a:lnTo>
                  <a:lnTo>
                    <a:pt x="133" y="688"/>
                  </a:lnTo>
                  <a:lnTo>
                    <a:pt x="135" y="689"/>
                  </a:lnTo>
                  <a:lnTo>
                    <a:pt x="135" y="692"/>
                  </a:lnTo>
                  <a:lnTo>
                    <a:pt x="135" y="695"/>
                  </a:lnTo>
                  <a:lnTo>
                    <a:pt x="129" y="704"/>
                  </a:lnTo>
                  <a:lnTo>
                    <a:pt x="119" y="717"/>
                  </a:lnTo>
                  <a:lnTo>
                    <a:pt x="113" y="727"/>
                  </a:lnTo>
                  <a:lnTo>
                    <a:pt x="109" y="734"/>
                  </a:lnTo>
                  <a:lnTo>
                    <a:pt x="108" y="742"/>
                  </a:lnTo>
                  <a:lnTo>
                    <a:pt x="108" y="750"/>
                  </a:lnTo>
                  <a:lnTo>
                    <a:pt x="109" y="757"/>
                  </a:lnTo>
                  <a:lnTo>
                    <a:pt x="112" y="764"/>
                  </a:lnTo>
                  <a:lnTo>
                    <a:pt x="116" y="769"/>
                  </a:lnTo>
                  <a:lnTo>
                    <a:pt x="121" y="773"/>
                  </a:lnTo>
                  <a:lnTo>
                    <a:pt x="128" y="777"/>
                  </a:lnTo>
                  <a:lnTo>
                    <a:pt x="135" y="778"/>
                  </a:lnTo>
                  <a:lnTo>
                    <a:pt x="143" y="778"/>
                  </a:lnTo>
                  <a:lnTo>
                    <a:pt x="152" y="777"/>
                  </a:lnTo>
                  <a:lnTo>
                    <a:pt x="161" y="774"/>
                  </a:lnTo>
                  <a:lnTo>
                    <a:pt x="171" y="769"/>
                  </a:lnTo>
                  <a:lnTo>
                    <a:pt x="181" y="762"/>
                  </a:lnTo>
                  <a:lnTo>
                    <a:pt x="191" y="753"/>
                  </a:lnTo>
                  <a:lnTo>
                    <a:pt x="208" y="736"/>
                  </a:lnTo>
                  <a:lnTo>
                    <a:pt x="223" y="724"/>
                  </a:lnTo>
                  <a:lnTo>
                    <a:pt x="229" y="720"/>
                  </a:lnTo>
                  <a:lnTo>
                    <a:pt x="236" y="716"/>
                  </a:lnTo>
                  <a:lnTo>
                    <a:pt x="243" y="715"/>
                  </a:lnTo>
                  <a:lnTo>
                    <a:pt x="248" y="715"/>
                  </a:lnTo>
                  <a:lnTo>
                    <a:pt x="253" y="715"/>
                  </a:lnTo>
                  <a:lnTo>
                    <a:pt x="257" y="716"/>
                  </a:lnTo>
                  <a:lnTo>
                    <a:pt x="263" y="719"/>
                  </a:lnTo>
                  <a:lnTo>
                    <a:pt x="267" y="723"/>
                  </a:lnTo>
                  <a:lnTo>
                    <a:pt x="274" y="733"/>
                  </a:lnTo>
                  <a:lnTo>
                    <a:pt x="281" y="746"/>
                  </a:lnTo>
                  <a:lnTo>
                    <a:pt x="290" y="761"/>
                  </a:lnTo>
                  <a:lnTo>
                    <a:pt x="298" y="774"/>
                  </a:lnTo>
                  <a:lnTo>
                    <a:pt x="306" y="782"/>
                  </a:lnTo>
                  <a:lnTo>
                    <a:pt x="314" y="789"/>
                  </a:lnTo>
                  <a:lnTo>
                    <a:pt x="318" y="790"/>
                  </a:lnTo>
                  <a:lnTo>
                    <a:pt x="322" y="792"/>
                  </a:lnTo>
                  <a:lnTo>
                    <a:pt x="326" y="792"/>
                  </a:lnTo>
                  <a:lnTo>
                    <a:pt x="330" y="792"/>
                  </a:lnTo>
                  <a:lnTo>
                    <a:pt x="334" y="789"/>
                  </a:lnTo>
                  <a:lnTo>
                    <a:pt x="338" y="786"/>
                  </a:lnTo>
                  <a:lnTo>
                    <a:pt x="344" y="782"/>
                  </a:lnTo>
                  <a:lnTo>
                    <a:pt x="348" y="777"/>
                  </a:lnTo>
                  <a:lnTo>
                    <a:pt x="352" y="773"/>
                  </a:lnTo>
                  <a:lnTo>
                    <a:pt x="356" y="770"/>
                  </a:lnTo>
                  <a:lnTo>
                    <a:pt x="361" y="768"/>
                  </a:lnTo>
                  <a:lnTo>
                    <a:pt x="365" y="766"/>
                  </a:lnTo>
                  <a:lnTo>
                    <a:pt x="369" y="765"/>
                  </a:lnTo>
                  <a:lnTo>
                    <a:pt x="373" y="765"/>
                  </a:lnTo>
                  <a:lnTo>
                    <a:pt x="377" y="766"/>
                  </a:lnTo>
                  <a:lnTo>
                    <a:pt x="381" y="769"/>
                  </a:lnTo>
                  <a:lnTo>
                    <a:pt x="389" y="776"/>
                  </a:lnTo>
                  <a:lnTo>
                    <a:pt x="397" y="786"/>
                  </a:lnTo>
                  <a:lnTo>
                    <a:pt x="405" y="801"/>
                  </a:lnTo>
                  <a:lnTo>
                    <a:pt x="414" y="820"/>
                  </a:lnTo>
                  <a:lnTo>
                    <a:pt x="424" y="837"/>
                  </a:lnTo>
                  <a:lnTo>
                    <a:pt x="433" y="852"/>
                  </a:lnTo>
                  <a:lnTo>
                    <a:pt x="440" y="866"/>
                  </a:lnTo>
                  <a:lnTo>
                    <a:pt x="445" y="880"/>
                  </a:lnTo>
                  <a:lnTo>
                    <a:pt x="448" y="892"/>
                  </a:lnTo>
                  <a:lnTo>
                    <a:pt x="449" y="902"/>
                  </a:lnTo>
                  <a:lnTo>
                    <a:pt x="448" y="913"/>
                  </a:lnTo>
                  <a:lnTo>
                    <a:pt x="444" y="922"/>
                  </a:lnTo>
                  <a:lnTo>
                    <a:pt x="442" y="925"/>
                  </a:lnTo>
                  <a:lnTo>
                    <a:pt x="441" y="928"/>
                  </a:lnTo>
                  <a:lnTo>
                    <a:pt x="441" y="930"/>
                  </a:lnTo>
                  <a:lnTo>
                    <a:pt x="441" y="933"/>
                  </a:lnTo>
                  <a:lnTo>
                    <a:pt x="444" y="938"/>
                  </a:lnTo>
                  <a:lnTo>
                    <a:pt x="449" y="944"/>
                  </a:lnTo>
                  <a:lnTo>
                    <a:pt x="465" y="954"/>
                  </a:lnTo>
                  <a:lnTo>
                    <a:pt x="486" y="970"/>
                  </a:lnTo>
                  <a:lnTo>
                    <a:pt x="497" y="978"/>
                  </a:lnTo>
                  <a:lnTo>
                    <a:pt x="506" y="986"/>
                  </a:lnTo>
                  <a:lnTo>
                    <a:pt x="513" y="994"/>
                  </a:lnTo>
                  <a:lnTo>
                    <a:pt x="517" y="1001"/>
                  </a:lnTo>
                  <a:lnTo>
                    <a:pt x="518" y="1005"/>
                  </a:lnTo>
                  <a:lnTo>
                    <a:pt x="518" y="1008"/>
                  </a:lnTo>
                  <a:lnTo>
                    <a:pt x="517" y="1012"/>
                  </a:lnTo>
                  <a:lnTo>
                    <a:pt x="516" y="1014"/>
                  </a:lnTo>
                  <a:lnTo>
                    <a:pt x="513" y="1017"/>
                  </a:lnTo>
                  <a:lnTo>
                    <a:pt x="509" y="1020"/>
                  </a:lnTo>
                  <a:lnTo>
                    <a:pt x="504" y="1022"/>
                  </a:lnTo>
                  <a:lnTo>
                    <a:pt x="498" y="1024"/>
                  </a:lnTo>
                  <a:lnTo>
                    <a:pt x="486" y="1029"/>
                  </a:lnTo>
                  <a:lnTo>
                    <a:pt x="478" y="1034"/>
                  </a:lnTo>
                  <a:lnTo>
                    <a:pt x="474" y="1037"/>
                  </a:lnTo>
                  <a:lnTo>
                    <a:pt x="473" y="1041"/>
                  </a:lnTo>
                  <a:lnTo>
                    <a:pt x="472" y="1044"/>
                  </a:lnTo>
                  <a:lnTo>
                    <a:pt x="472" y="1048"/>
                  </a:lnTo>
                  <a:lnTo>
                    <a:pt x="472" y="1052"/>
                  </a:lnTo>
                  <a:lnTo>
                    <a:pt x="473" y="1056"/>
                  </a:lnTo>
                  <a:lnTo>
                    <a:pt x="474" y="1060"/>
                  </a:lnTo>
                  <a:lnTo>
                    <a:pt x="478" y="1064"/>
                  </a:lnTo>
                  <a:lnTo>
                    <a:pt x="486" y="1073"/>
                  </a:lnTo>
                  <a:lnTo>
                    <a:pt x="498" y="1084"/>
                  </a:lnTo>
                  <a:lnTo>
                    <a:pt x="516" y="1105"/>
                  </a:lnTo>
                  <a:lnTo>
                    <a:pt x="528" y="1122"/>
                  </a:lnTo>
                  <a:lnTo>
                    <a:pt x="534" y="1129"/>
                  </a:lnTo>
                  <a:lnTo>
                    <a:pt x="541" y="1137"/>
                  </a:lnTo>
                  <a:lnTo>
                    <a:pt x="549" y="1144"/>
                  </a:lnTo>
                  <a:lnTo>
                    <a:pt x="558" y="1150"/>
                  </a:lnTo>
                  <a:lnTo>
                    <a:pt x="569" y="1158"/>
                  </a:lnTo>
                  <a:lnTo>
                    <a:pt x="578" y="1168"/>
                  </a:lnTo>
                  <a:lnTo>
                    <a:pt x="586" y="1177"/>
                  </a:lnTo>
                  <a:lnTo>
                    <a:pt x="594" y="1188"/>
                  </a:lnTo>
                  <a:lnTo>
                    <a:pt x="604" y="1204"/>
                  </a:lnTo>
                  <a:lnTo>
                    <a:pt x="606" y="1210"/>
                  </a:lnTo>
                  <a:lnTo>
                    <a:pt x="636" y="1189"/>
                  </a:lnTo>
                  <a:lnTo>
                    <a:pt x="665" y="1172"/>
                  </a:lnTo>
                  <a:lnTo>
                    <a:pt x="693" y="1156"/>
                  </a:lnTo>
                  <a:lnTo>
                    <a:pt x="718" y="1142"/>
                  </a:lnTo>
                  <a:lnTo>
                    <a:pt x="744" y="1132"/>
                  </a:lnTo>
                  <a:lnTo>
                    <a:pt x="765" y="1124"/>
                  </a:lnTo>
                  <a:lnTo>
                    <a:pt x="784" y="1118"/>
                  </a:lnTo>
                  <a:lnTo>
                    <a:pt x="800" y="1114"/>
                  </a:lnTo>
                  <a:lnTo>
                    <a:pt x="842" y="1112"/>
                  </a:lnTo>
                  <a:lnTo>
                    <a:pt x="880" y="1109"/>
                  </a:lnTo>
                  <a:lnTo>
                    <a:pt x="912" y="1105"/>
                  </a:lnTo>
                  <a:lnTo>
                    <a:pt x="940" y="1100"/>
                  </a:lnTo>
                  <a:lnTo>
                    <a:pt x="965" y="1096"/>
                  </a:lnTo>
                  <a:lnTo>
                    <a:pt x="985" y="1090"/>
                  </a:lnTo>
                  <a:lnTo>
                    <a:pt x="1002" y="1085"/>
                  </a:lnTo>
                  <a:lnTo>
                    <a:pt x="1018" y="1081"/>
                  </a:lnTo>
                  <a:lnTo>
                    <a:pt x="1041" y="1072"/>
                  </a:lnTo>
                  <a:lnTo>
                    <a:pt x="1057" y="1065"/>
                  </a:lnTo>
                  <a:lnTo>
                    <a:pt x="1063" y="1062"/>
                  </a:lnTo>
                  <a:lnTo>
                    <a:pt x="1070" y="1061"/>
                  </a:lnTo>
                  <a:lnTo>
                    <a:pt x="1075" y="1060"/>
                  </a:lnTo>
                  <a:lnTo>
                    <a:pt x="1082" y="1060"/>
                  </a:lnTo>
                  <a:lnTo>
                    <a:pt x="1107" y="1065"/>
                  </a:lnTo>
                  <a:lnTo>
                    <a:pt x="1133" y="1072"/>
                  </a:lnTo>
                  <a:lnTo>
                    <a:pt x="1158" y="1080"/>
                  </a:lnTo>
                  <a:lnTo>
                    <a:pt x="1183" y="1092"/>
                  </a:lnTo>
                  <a:lnTo>
                    <a:pt x="1209" y="1105"/>
                  </a:lnTo>
                  <a:lnTo>
                    <a:pt x="1235" y="1120"/>
                  </a:lnTo>
                  <a:lnTo>
                    <a:pt x="1261" y="1137"/>
                  </a:lnTo>
                  <a:lnTo>
                    <a:pt x="1287" y="1154"/>
                  </a:lnTo>
                  <a:lnTo>
                    <a:pt x="1313" y="1174"/>
                  </a:lnTo>
                  <a:lnTo>
                    <a:pt x="1338" y="1196"/>
                  </a:lnTo>
                  <a:lnTo>
                    <a:pt x="1365" y="1218"/>
                  </a:lnTo>
                  <a:lnTo>
                    <a:pt x="1390" y="1241"/>
                  </a:lnTo>
                  <a:lnTo>
                    <a:pt x="1441" y="1289"/>
                  </a:lnTo>
                  <a:lnTo>
                    <a:pt x="1490" y="1338"/>
                  </a:lnTo>
                  <a:lnTo>
                    <a:pt x="1586" y="1438"/>
                  </a:lnTo>
                  <a:lnTo>
                    <a:pt x="1674" y="1529"/>
                  </a:lnTo>
                  <a:lnTo>
                    <a:pt x="1714" y="1569"/>
                  </a:lnTo>
                  <a:lnTo>
                    <a:pt x="1751" y="1602"/>
                  </a:lnTo>
                  <a:lnTo>
                    <a:pt x="1769" y="1615"/>
                  </a:lnTo>
                  <a:lnTo>
                    <a:pt x="1786" y="1627"/>
                  </a:lnTo>
                  <a:lnTo>
                    <a:pt x="1802" y="1637"/>
                  </a:lnTo>
                  <a:lnTo>
                    <a:pt x="1816" y="1645"/>
                  </a:lnTo>
                  <a:lnTo>
                    <a:pt x="1826" y="1647"/>
                  </a:lnTo>
                  <a:lnTo>
                    <a:pt x="1835" y="1650"/>
                  </a:lnTo>
                  <a:lnTo>
                    <a:pt x="1843" y="1651"/>
                  </a:lnTo>
                  <a:lnTo>
                    <a:pt x="1851" y="1653"/>
                  </a:lnTo>
                  <a:lnTo>
                    <a:pt x="1859" y="1653"/>
                  </a:lnTo>
                  <a:lnTo>
                    <a:pt x="1868" y="1653"/>
                  </a:lnTo>
                  <a:lnTo>
                    <a:pt x="1875" y="1651"/>
                  </a:lnTo>
                  <a:lnTo>
                    <a:pt x="1883" y="1649"/>
                  </a:lnTo>
                  <a:lnTo>
                    <a:pt x="1899" y="1643"/>
                  </a:lnTo>
                  <a:lnTo>
                    <a:pt x="1915" y="1637"/>
                  </a:lnTo>
                  <a:lnTo>
                    <a:pt x="1930" y="1627"/>
                  </a:lnTo>
                  <a:lnTo>
                    <a:pt x="1944" y="1618"/>
                  </a:lnTo>
                  <a:lnTo>
                    <a:pt x="1976" y="1598"/>
                  </a:lnTo>
                  <a:lnTo>
                    <a:pt x="2008" y="1579"/>
                  </a:lnTo>
                  <a:lnTo>
                    <a:pt x="2026" y="1571"/>
                  </a:lnTo>
                  <a:lnTo>
                    <a:pt x="2043" y="1565"/>
                  </a:lnTo>
                  <a:lnTo>
                    <a:pt x="2062" y="1561"/>
                  </a:lnTo>
                  <a:lnTo>
                    <a:pt x="2082" y="1559"/>
                  </a:lnTo>
                  <a:lnTo>
                    <a:pt x="2119" y="1561"/>
                  </a:lnTo>
                  <a:lnTo>
                    <a:pt x="2152" y="1561"/>
                  </a:lnTo>
                  <a:lnTo>
                    <a:pt x="2184" y="1562"/>
                  </a:lnTo>
                  <a:lnTo>
                    <a:pt x="2212" y="1563"/>
                  </a:lnTo>
                  <a:lnTo>
                    <a:pt x="2239" y="1565"/>
                  </a:lnTo>
                  <a:lnTo>
                    <a:pt x="2262" y="1565"/>
                  </a:lnTo>
                  <a:lnTo>
                    <a:pt x="2282" y="1566"/>
                  </a:lnTo>
                  <a:lnTo>
                    <a:pt x="2299" y="1566"/>
                  </a:lnTo>
                  <a:lnTo>
                    <a:pt x="2323" y="1511"/>
                  </a:lnTo>
                  <a:lnTo>
                    <a:pt x="2335" y="1427"/>
                  </a:lnTo>
                  <a:lnTo>
                    <a:pt x="2359" y="1397"/>
                  </a:lnTo>
                  <a:lnTo>
                    <a:pt x="2362" y="1389"/>
                  </a:lnTo>
                  <a:lnTo>
                    <a:pt x="2364" y="1379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accent1">
                  <a:lumMod val="20000"/>
                  <a:lumOff val="8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95" b="0" i="0" u="none" strike="noStrike" kern="1200" cap="none" spc="0" normalizeH="0" baseline="0" noProof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2" name="Freeform 95"/>
            <p:cNvSpPr>
              <a:spLocks/>
            </p:cNvSpPr>
            <p:nvPr/>
          </p:nvSpPr>
          <p:spPr bwMode="auto">
            <a:xfrm>
              <a:off x="4865044" y="2165347"/>
              <a:ext cx="89845" cy="113662"/>
            </a:xfrm>
            <a:custGeom>
              <a:avLst/>
              <a:gdLst>
                <a:gd name="T0" fmla="*/ 705 w 1247"/>
                <a:gd name="T1" fmla="*/ 1555 h 1578"/>
                <a:gd name="T2" fmla="*/ 669 w 1247"/>
                <a:gd name="T3" fmla="*/ 1494 h 1578"/>
                <a:gd name="T4" fmla="*/ 618 w 1247"/>
                <a:gd name="T5" fmla="*/ 1478 h 1578"/>
                <a:gd name="T6" fmla="*/ 524 w 1247"/>
                <a:gd name="T7" fmla="*/ 1471 h 1578"/>
                <a:gd name="T8" fmla="*/ 472 w 1247"/>
                <a:gd name="T9" fmla="*/ 1437 h 1578"/>
                <a:gd name="T10" fmla="*/ 388 w 1247"/>
                <a:gd name="T11" fmla="*/ 1336 h 1578"/>
                <a:gd name="T12" fmla="*/ 319 w 1247"/>
                <a:gd name="T13" fmla="*/ 1270 h 1578"/>
                <a:gd name="T14" fmla="*/ 307 w 1247"/>
                <a:gd name="T15" fmla="*/ 1333 h 1578"/>
                <a:gd name="T16" fmla="*/ 252 w 1247"/>
                <a:gd name="T17" fmla="*/ 1332 h 1578"/>
                <a:gd name="T18" fmla="*/ 159 w 1247"/>
                <a:gd name="T19" fmla="*/ 1297 h 1578"/>
                <a:gd name="T20" fmla="*/ 120 w 1247"/>
                <a:gd name="T21" fmla="*/ 1253 h 1578"/>
                <a:gd name="T22" fmla="*/ 101 w 1247"/>
                <a:gd name="T23" fmla="*/ 1166 h 1578"/>
                <a:gd name="T24" fmla="*/ 59 w 1247"/>
                <a:gd name="T25" fmla="*/ 1060 h 1578"/>
                <a:gd name="T26" fmla="*/ 13 w 1247"/>
                <a:gd name="T27" fmla="*/ 948 h 1578"/>
                <a:gd name="T28" fmla="*/ 0 w 1247"/>
                <a:gd name="T29" fmla="*/ 856 h 1578"/>
                <a:gd name="T30" fmla="*/ 223 w 1247"/>
                <a:gd name="T31" fmla="*/ 842 h 1578"/>
                <a:gd name="T32" fmla="*/ 427 w 1247"/>
                <a:gd name="T33" fmla="*/ 813 h 1578"/>
                <a:gd name="T34" fmla="*/ 456 w 1247"/>
                <a:gd name="T35" fmla="*/ 792 h 1578"/>
                <a:gd name="T36" fmla="*/ 481 w 1247"/>
                <a:gd name="T37" fmla="*/ 717 h 1578"/>
                <a:gd name="T38" fmla="*/ 485 w 1247"/>
                <a:gd name="T39" fmla="*/ 571 h 1578"/>
                <a:gd name="T40" fmla="*/ 562 w 1247"/>
                <a:gd name="T41" fmla="*/ 524 h 1578"/>
                <a:gd name="T42" fmla="*/ 601 w 1247"/>
                <a:gd name="T43" fmla="*/ 488 h 1578"/>
                <a:gd name="T44" fmla="*/ 614 w 1247"/>
                <a:gd name="T45" fmla="*/ 392 h 1578"/>
                <a:gd name="T46" fmla="*/ 665 w 1247"/>
                <a:gd name="T47" fmla="*/ 377 h 1578"/>
                <a:gd name="T48" fmla="*/ 684 w 1247"/>
                <a:gd name="T49" fmla="*/ 333 h 1578"/>
                <a:gd name="T50" fmla="*/ 700 w 1247"/>
                <a:gd name="T51" fmla="*/ 264 h 1578"/>
                <a:gd name="T52" fmla="*/ 742 w 1247"/>
                <a:gd name="T53" fmla="*/ 237 h 1578"/>
                <a:gd name="T54" fmla="*/ 766 w 1247"/>
                <a:gd name="T55" fmla="*/ 187 h 1578"/>
                <a:gd name="T56" fmla="*/ 814 w 1247"/>
                <a:gd name="T57" fmla="*/ 183 h 1578"/>
                <a:gd name="T58" fmla="*/ 886 w 1247"/>
                <a:gd name="T59" fmla="*/ 146 h 1578"/>
                <a:gd name="T60" fmla="*/ 938 w 1247"/>
                <a:gd name="T61" fmla="*/ 72 h 1578"/>
                <a:gd name="T62" fmla="*/ 1025 w 1247"/>
                <a:gd name="T63" fmla="*/ 35 h 1578"/>
                <a:gd name="T64" fmla="*/ 1108 w 1247"/>
                <a:gd name="T65" fmla="*/ 115 h 1578"/>
                <a:gd name="T66" fmla="*/ 1132 w 1247"/>
                <a:gd name="T67" fmla="*/ 168 h 1578"/>
                <a:gd name="T68" fmla="*/ 1132 w 1247"/>
                <a:gd name="T69" fmla="*/ 235 h 1578"/>
                <a:gd name="T70" fmla="*/ 1146 w 1247"/>
                <a:gd name="T71" fmla="*/ 260 h 1578"/>
                <a:gd name="T72" fmla="*/ 1201 w 1247"/>
                <a:gd name="T73" fmla="*/ 271 h 1578"/>
                <a:gd name="T74" fmla="*/ 1247 w 1247"/>
                <a:gd name="T75" fmla="*/ 423 h 1578"/>
                <a:gd name="T76" fmla="*/ 1237 w 1247"/>
                <a:gd name="T77" fmla="*/ 509 h 1578"/>
                <a:gd name="T78" fmla="*/ 1213 w 1247"/>
                <a:gd name="T79" fmla="*/ 552 h 1578"/>
                <a:gd name="T80" fmla="*/ 1168 w 1247"/>
                <a:gd name="T81" fmla="*/ 589 h 1578"/>
                <a:gd name="T82" fmla="*/ 1054 w 1247"/>
                <a:gd name="T83" fmla="*/ 728 h 1578"/>
                <a:gd name="T84" fmla="*/ 1028 w 1247"/>
                <a:gd name="T85" fmla="*/ 801 h 1578"/>
                <a:gd name="T86" fmla="*/ 1028 w 1247"/>
                <a:gd name="T87" fmla="*/ 888 h 1578"/>
                <a:gd name="T88" fmla="*/ 1029 w 1247"/>
                <a:gd name="T89" fmla="*/ 1042 h 1578"/>
                <a:gd name="T90" fmla="*/ 978 w 1247"/>
                <a:gd name="T91" fmla="*/ 1072 h 1578"/>
                <a:gd name="T92" fmla="*/ 938 w 1247"/>
                <a:gd name="T93" fmla="*/ 1042 h 1578"/>
                <a:gd name="T94" fmla="*/ 897 w 1247"/>
                <a:gd name="T95" fmla="*/ 1113 h 1578"/>
                <a:gd name="T96" fmla="*/ 844 w 1247"/>
                <a:gd name="T97" fmla="*/ 1230 h 1578"/>
                <a:gd name="T98" fmla="*/ 838 w 1247"/>
                <a:gd name="T99" fmla="*/ 1294 h 1578"/>
                <a:gd name="T100" fmla="*/ 861 w 1247"/>
                <a:gd name="T101" fmla="*/ 1316 h 1578"/>
                <a:gd name="T102" fmla="*/ 873 w 1247"/>
                <a:gd name="T103" fmla="*/ 1337 h 1578"/>
                <a:gd name="T104" fmla="*/ 860 w 1247"/>
                <a:gd name="T105" fmla="*/ 1367 h 1578"/>
                <a:gd name="T106" fmla="*/ 828 w 1247"/>
                <a:gd name="T107" fmla="*/ 1391 h 1578"/>
                <a:gd name="T108" fmla="*/ 814 w 1247"/>
                <a:gd name="T109" fmla="*/ 1443 h 1578"/>
                <a:gd name="T110" fmla="*/ 728 w 1247"/>
                <a:gd name="T111" fmla="*/ 1578 h 157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247"/>
                <a:gd name="T169" fmla="*/ 0 h 1578"/>
                <a:gd name="T170" fmla="*/ 1247 w 1247"/>
                <a:gd name="T171" fmla="*/ 1578 h 1578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247" h="1578">
                  <a:moveTo>
                    <a:pt x="722" y="1571"/>
                  </a:moveTo>
                  <a:lnTo>
                    <a:pt x="718" y="1569"/>
                  </a:lnTo>
                  <a:lnTo>
                    <a:pt x="713" y="1565"/>
                  </a:lnTo>
                  <a:lnTo>
                    <a:pt x="709" y="1561"/>
                  </a:lnTo>
                  <a:lnTo>
                    <a:pt x="705" y="1555"/>
                  </a:lnTo>
                  <a:lnTo>
                    <a:pt x="697" y="1543"/>
                  </a:lnTo>
                  <a:lnTo>
                    <a:pt x="690" y="1530"/>
                  </a:lnTo>
                  <a:lnTo>
                    <a:pt x="682" y="1517"/>
                  </a:lnTo>
                  <a:lnTo>
                    <a:pt x="676" y="1503"/>
                  </a:lnTo>
                  <a:lnTo>
                    <a:pt x="669" y="1494"/>
                  </a:lnTo>
                  <a:lnTo>
                    <a:pt x="662" y="1487"/>
                  </a:lnTo>
                  <a:lnTo>
                    <a:pt x="650" y="1483"/>
                  </a:lnTo>
                  <a:lnTo>
                    <a:pt x="640" y="1481"/>
                  </a:lnTo>
                  <a:lnTo>
                    <a:pt x="629" y="1479"/>
                  </a:lnTo>
                  <a:lnTo>
                    <a:pt x="618" y="1478"/>
                  </a:lnTo>
                  <a:lnTo>
                    <a:pt x="596" y="1477"/>
                  </a:lnTo>
                  <a:lnTo>
                    <a:pt x="576" y="1477"/>
                  </a:lnTo>
                  <a:lnTo>
                    <a:pt x="554" y="1477"/>
                  </a:lnTo>
                  <a:lnTo>
                    <a:pt x="534" y="1474"/>
                  </a:lnTo>
                  <a:lnTo>
                    <a:pt x="524" y="1471"/>
                  </a:lnTo>
                  <a:lnTo>
                    <a:pt x="513" y="1467"/>
                  </a:lnTo>
                  <a:lnTo>
                    <a:pt x="504" y="1463"/>
                  </a:lnTo>
                  <a:lnTo>
                    <a:pt x="493" y="1457"/>
                  </a:lnTo>
                  <a:lnTo>
                    <a:pt x="482" y="1447"/>
                  </a:lnTo>
                  <a:lnTo>
                    <a:pt x="472" y="1437"/>
                  </a:lnTo>
                  <a:lnTo>
                    <a:pt x="461" y="1426"/>
                  </a:lnTo>
                  <a:lnTo>
                    <a:pt x="450" y="1414"/>
                  </a:lnTo>
                  <a:lnTo>
                    <a:pt x="429" y="1389"/>
                  </a:lnTo>
                  <a:lnTo>
                    <a:pt x="408" y="1362"/>
                  </a:lnTo>
                  <a:lnTo>
                    <a:pt x="388" y="1336"/>
                  </a:lnTo>
                  <a:lnTo>
                    <a:pt x="365" y="1312"/>
                  </a:lnTo>
                  <a:lnTo>
                    <a:pt x="355" y="1300"/>
                  </a:lnTo>
                  <a:lnTo>
                    <a:pt x="343" y="1289"/>
                  </a:lnTo>
                  <a:lnTo>
                    <a:pt x="331" y="1280"/>
                  </a:lnTo>
                  <a:lnTo>
                    <a:pt x="319" y="1270"/>
                  </a:lnTo>
                  <a:lnTo>
                    <a:pt x="315" y="1292"/>
                  </a:lnTo>
                  <a:lnTo>
                    <a:pt x="312" y="1313"/>
                  </a:lnTo>
                  <a:lnTo>
                    <a:pt x="311" y="1322"/>
                  </a:lnTo>
                  <a:lnTo>
                    <a:pt x="308" y="1330"/>
                  </a:lnTo>
                  <a:lnTo>
                    <a:pt x="307" y="1333"/>
                  </a:lnTo>
                  <a:lnTo>
                    <a:pt x="305" y="1336"/>
                  </a:lnTo>
                  <a:lnTo>
                    <a:pt x="303" y="1337"/>
                  </a:lnTo>
                  <a:lnTo>
                    <a:pt x="301" y="1337"/>
                  </a:lnTo>
                  <a:lnTo>
                    <a:pt x="279" y="1336"/>
                  </a:lnTo>
                  <a:lnTo>
                    <a:pt x="252" y="1332"/>
                  </a:lnTo>
                  <a:lnTo>
                    <a:pt x="224" y="1325"/>
                  </a:lnTo>
                  <a:lnTo>
                    <a:pt x="197" y="1316"/>
                  </a:lnTo>
                  <a:lnTo>
                    <a:pt x="184" y="1309"/>
                  </a:lnTo>
                  <a:lnTo>
                    <a:pt x="171" y="1304"/>
                  </a:lnTo>
                  <a:lnTo>
                    <a:pt x="159" y="1297"/>
                  </a:lnTo>
                  <a:lnTo>
                    <a:pt x="148" y="1289"/>
                  </a:lnTo>
                  <a:lnTo>
                    <a:pt x="139" y="1281"/>
                  </a:lnTo>
                  <a:lnTo>
                    <a:pt x="131" y="1272"/>
                  </a:lnTo>
                  <a:lnTo>
                    <a:pt x="124" y="1262"/>
                  </a:lnTo>
                  <a:lnTo>
                    <a:pt x="120" y="1253"/>
                  </a:lnTo>
                  <a:lnTo>
                    <a:pt x="115" y="1236"/>
                  </a:lnTo>
                  <a:lnTo>
                    <a:pt x="111" y="1217"/>
                  </a:lnTo>
                  <a:lnTo>
                    <a:pt x="107" y="1201"/>
                  </a:lnTo>
                  <a:lnTo>
                    <a:pt x="104" y="1184"/>
                  </a:lnTo>
                  <a:lnTo>
                    <a:pt x="101" y="1166"/>
                  </a:lnTo>
                  <a:lnTo>
                    <a:pt x="97" y="1149"/>
                  </a:lnTo>
                  <a:lnTo>
                    <a:pt x="92" y="1132"/>
                  </a:lnTo>
                  <a:lnTo>
                    <a:pt x="84" y="1114"/>
                  </a:lnTo>
                  <a:lnTo>
                    <a:pt x="72" y="1088"/>
                  </a:lnTo>
                  <a:lnTo>
                    <a:pt x="59" y="1060"/>
                  </a:lnTo>
                  <a:lnTo>
                    <a:pt x="44" y="1030"/>
                  </a:lnTo>
                  <a:lnTo>
                    <a:pt x="31" y="998"/>
                  </a:lnTo>
                  <a:lnTo>
                    <a:pt x="24" y="982"/>
                  </a:lnTo>
                  <a:lnTo>
                    <a:pt x="19" y="965"/>
                  </a:lnTo>
                  <a:lnTo>
                    <a:pt x="13" y="948"/>
                  </a:lnTo>
                  <a:lnTo>
                    <a:pt x="8" y="929"/>
                  </a:lnTo>
                  <a:lnTo>
                    <a:pt x="5" y="912"/>
                  </a:lnTo>
                  <a:lnTo>
                    <a:pt x="1" y="893"/>
                  </a:lnTo>
                  <a:lnTo>
                    <a:pt x="0" y="874"/>
                  </a:lnTo>
                  <a:lnTo>
                    <a:pt x="0" y="856"/>
                  </a:lnTo>
                  <a:lnTo>
                    <a:pt x="37" y="854"/>
                  </a:lnTo>
                  <a:lnTo>
                    <a:pt x="75" y="853"/>
                  </a:lnTo>
                  <a:lnTo>
                    <a:pt x="113" y="852"/>
                  </a:lnTo>
                  <a:lnTo>
                    <a:pt x="151" y="849"/>
                  </a:lnTo>
                  <a:lnTo>
                    <a:pt x="223" y="842"/>
                  </a:lnTo>
                  <a:lnTo>
                    <a:pt x="288" y="834"/>
                  </a:lnTo>
                  <a:lnTo>
                    <a:pt x="344" y="826"/>
                  </a:lnTo>
                  <a:lnTo>
                    <a:pt x="388" y="820"/>
                  </a:lnTo>
                  <a:lnTo>
                    <a:pt x="417" y="814"/>
                  </a:lnTo>
                  <a:lnTo>
                    <a:pt x="427" y="813"/>
                  </a:lnTo>
                  <a:lnTo>
                    <a:pt x="432" y="812"/>
                  </a:lnTo>
                  <a:lnTo>
                    <a:pt x="437" y="810"/>
                  </a:lnTo>
                  <a:lnTo>
                    <a:pt x="442" y="806"/>
                  </a:lnTo>
                  <a:lnTo>
                    <a:pt x="449" y="800"/>
                  </a:lnTo>
                  <a:lnTo>
                    <a:pt x="456" y="792"/>
                  </a:lnTo>
                  <a:lnTo>
                    <a:pt x="461" y="782"/>
                  </a:lnTo>
                  <a:lnTo>
                    <a:pt x="466" y="770"/>
                  </a:lnTo>
                  <a:lnTo>
                    <a:pt x="472" y="756"/>
                  </a:lnTo>
                  <a:lnTo>
                    <a:pt x="477" y="737"/>
                  </a:lnTo>
                  <a:lnTo>
                    <a:pt x="481" y="717"/>
                  </a:lnTo>
                  <a:lnTo>
                    <a:pt x="484" y="695"/>
                  </a:lnTo>
                  <a:lnTo>
                    <a:pt x="486" y="668"/>
                  </a:lnTo>
                  <a:lnTo>
                    <a:pt x="488" y="639"/>
                  </a:lnTo>
                  <a:lnTo>
                    <a:pt x="486" y="607"/>
                  </a:lnTo>
                  <a:lnTo>
                    <a:pt x="485" y="571"/>
                  </a:lnTo>
                  <a:lnTo>
                    <a:pt x="481" y="531"/>
                  </a:lnTo>
                  <a:lnTo>
                    <a:pt x="513" y="531"/>
                  </a:lnTo>
                  <a:lnTo>
                    <a:pt x="540" y="529"/>
                  </a:lnTo>
                  <a:lnTo>
                    <a:pt x="552" y="527"/>
                  </a:lnTo>
                  <a:lnTo>
                    <a:pt x="562" y="524"/>
                  </a:lnTo>
                  <a:lnTo>
                    <a:pt x="573" y="520"/>
                  </a:lnTo>
                  <a:lnTo>
                    <a:pt x="581" y="515"/>
                  </a:lnTo>
                  <a:lnTo>
                    <a:pt x="589" y="508"/>
                  </a:lnTo>
                  <a:lnTo>
                    <a:pt x="596" y="499"/>
                  </a:lnTo>
                  <a:lnTo>
                    <a:pt x="601" y="488"/>
                  </a:lnTo>
                  <a:lnTo>
                    <a:pt x="606" y="475"/>
                  </a:lnTo>
                  <a:lnTo>
                    <a:pt x="609" y="459"/>
                  </a:lnTo>
                  <a:lnTo>
                    <a:pt x="612" y="439"/>
                  </a:lnTo>
                  <a:lnTo>
                    <a:pt x="613" y="417"/>
                  </a:lnTo>
                  <a:lnTo>
                    <a:pt x="614" y="392"/>
                  </a:lnTo>
                  <a:lnTo>
                    <a:pt x="630" y="391"/>
                  </a:lnTo>
                  <a:lnTo>
                    <a:pt x="646" y="388"/>
                  </a:lnTo>
                  <a:lnTo>
                    <a:pt x="653" y="385"/>
                  </a:lnTo>
                  <a:lnTo>
                    <a:pt x="660" y="381"/>
                  </a:lnTo>
                  <a:lnTo>
                    <a:pt x="665" y="377"/>
                  </a:lnTo>
                  <a:lnTo>
                    <a:pt x="670" y="372"/>
                  </a:lnTo>
                  <a:lnTo>
                    <a:pt x="674" y="364"/>
                  </a:lnTo>
                  <a:lnTo>
                    <a:pt x="678" y="356"/>
                  </a:lnTo>
                  <a:lnTo>
                    <a:pt x="681" y="345"/>
                  </a:lnTo>
                  <a:lnTo>
                    <a:pt x="684" y="333"/>
                  </a:lnTo>
                  <a:lnTo>
                    <a:pt x="685" y="320"/>
                  </a:lnTo>
                  <a:lnTo>
                    <a:pt x="686" y="304"/>
                  </a:lnTo>
                  <a:lnTo>
                    <a:pt x="686" y="285"/>
                  </a:lnTo>
                  <a:lnTo>
                    <a:pt x="686" y="265"/>
                  </a:lnTo>
                  <a:lnTo>
                    <a:pt x="700" y="264"/>
                  </a:lnTo>
                  <a:lnTo>
                    <a:pt x="712" y="261"/>
                  </a:lnTo>
                  <a:lnTo>
                    <a:pt x="721" y="257"/>
                  </a:lnTo>
                  <a:lnTo>
                    <a:pt x="730" y="251"/>
                  </a:lnTo>
                  <a:lnTo>
                    <a:pt x="737" y="244"/>
                  </a:lnTo>
                  <a:lnTo>
                    <a:pt x="742" y="237"/>
                  </a:lnTo>
                  <a:lnTo>
                    <a:pt x="748" y="229"/>
                  </a:lnTo>
                  <a:lnTo>
                    <a:pt x="752" y="221"/>
                  </a:lnTo>
                  <a:lnTo>
                    <a:pt x="758" y="205"/>
                  </a:lnTo>
                  <a:lnTo>
                    <a:pt x="764" y="192"/>
                  </a:lnTo>
                  <a:lnTo>
                    <a:pt x="766" y="187"/>
                  </a:lnTo>
                  <a:lnTo>
                    <a:pt x="769" y="183"/>
                  </a:lnTo>
                  <a:lnTo>
                    <a:pt x="772" y="181"/>
                  </a:lnTo>
                  <a:lnTo>
                    <a:pt x="777" y="181"/>
                  </a:lnTo>
                  <a:lnTo>
                    <a:pt x="796" y="183"/>
                  </a:lnTo>
                  <a:lnTo>
                    <a:pt x="814" y="183"/>
                  </a:lnTo>
                  <a:lnTo>
                    <a:pt x="830" y="179"/>
                  </a:lnTo>
                  <a:lnTo>
                    <a:pt x="846" y="174"/>
                  </a:lnTo>
                  <a:lnTo>
                    <a:pt x="861" y="167"/>
                  </a:lnTo>
                  <a:lnTo>
                    <a:pt x="874" y="158"/>
                  </a:lnTo>
                  <a:lnTo>
                    <a:pt x="886" y="146"/>
                  </a:lnTo>
                  <a:lnTo>
                    <a:pt x="898" y="134"/>
                  </a:lnTo>
                  <a:lnTo>
                    <a:pt x="909" y="120"/>
                  </a:lnTo>
                  <a:lnTo>
                    <a:pt x="920" y="104"/>
                  </a:lnTo>
                  <a:lnTo>
                    <a:pt x="929" y="88"/>
                  </a:lnTo>
                  <a:lnTo>
                    <a:pt x="938" y="72"/>
                  </a:lnTo>
                  <a:lnTo>
                    <a:pt x="957" y="36"/>
                  </a:lnTo>
                  <a:lnTo>
                    <a:pt x="976" y="0"/>
                  </a:lnTo>
                  <a:lnTo>
                    <a:pt x="982" y="4"/>
                  </a:lnTo>
                  <a:lnTo>
                    <a:pt x="1000" y="16"/>
                  </a:lnTo>
                  <a:lnTo>
                    <a:pt x="1025" y="35"/>
                  </a:lnTo>
                  <a:lnTo>
                    <a:pt x="1053" y="59"/>
                  </a:lnTo>
                  <a:lnTo>
                    <a:pt x="1068" y="71"/>
                  </a:lnTo>
                  <a:lnTo>
                    <a:pt x="1082" y="86"/>
                  </a:lnTo>
                  <a:lnTo>
                    <a:pt x="1096" y="100"/>
                  </a:lnTo>
                  <a:lnTo>
                    <a:pt x="1108" y="115"/>
                  </a:lnTo>
                  <a:lnTo>
                    <a:pt x="1117" y="130"/>
                  </a:lnTo>
                  <a:lnTo>
                    <a:pt x="1125" y="146"/>
                  </a:lnTo>
                  <a:lnTo>
                    <a:pt x="1128" y="152"/>
                  </a:lnTo>
                  <a:lnTo>
                    <a:pt x="1130" y="160"/>
                  </a:lnTo>
                  <a:lnTo>
                    <a:pt x="1132" y="168"/>
                  </a:lnTo>
                  <a:lnTo>
                    <a:pt x="1132" y="175"/>
                  </a:lnTo>
                  <a:lnTo>
                    <a:pt x="1132" y="195"/>
                  </a:lnTo>
                  <a:lnTo>
                    <a:pt x="1132" y="209"/>
                  </a:lnTo>
                  <a:lnTo>
                    <a:pt x="1132" y="223"/>
                  </a:lnTo>
                  <a:lnTo>
                    <a:pt x="1132" y="235"/>
                  </a:lnTo>
                  <a:lnTo>
                    <a:pt x="1133" y="241"/>
                  </a:lnTo>
                  <a:lnTo>
                    <a:pt x="1134" y="247"/>
                  </a:lnTo>
                  <a:lnTo>
                    <a:pt x="1137" y="252"/>
                  </a:lnTo>
                  <a:lnTo>
                    <a:pt x="1141" y="256"/>
                  </a:lnTo>
                  <a:lnTo>
                    <a:pt x="1146" y="260"/>
                  </a:lnTo>
                  <a:lnTo>
                    <a:pt x="1152" y="263"/>
                  </a:lnTo>
                  <a:lnTo>
                    <a:pt x="1158" y="265"/>
                  </a:lnTo>
                  <a:lnTo>
                    <a:pt x="1165" y="267"/>
                  </a:lnTo>
                  <a:lnTo>
                    <a:pt x="1182" y="269"/>
                  </a:lnTo>
                  <a:lnTo>
                    <a:pt x="1201" y="271"/>
                  </a:lnTo>
                  <a:lnTo>
                    <a:pt x="1219" y="271"/>
                  </a:lnTo>
                  <a:lnTo>
                    <a:pt x="1239" y="271"/>
                  </a:lnTo>
                  <a:lnTo>
                    <a:pt x="1243" y="339"/>
                  </a:lnTo>
                  <a:lnTo>
                    <a:pt x="1246" y="397"/>
                  </a:lnTo>
                  <a:lnTo>
                    <a:pt x="1247" y="423"/>
                  </a:lnTo>
                  <a:lnTo>
                    <a:pt x="1247" y="447"/>
                  </a:lnTo>
                  <a:lnTo>
                    <a:pt x="1246" y="469"/>
                  </a:lnTo>
                  <a:lnTo>
                    <a:pt x="1242" y="491"/>
                  </a:lnTo>
                  <a:lnTo>
                    <a:pt x="1239" y="500"/>
                  </a:lnTo>
                  <a:lnTo>
                    <a:pt x="1237" y="509"/>
                  </a:lnTo>
                  <a:lnTo>
                    <a:pt x="1233" y="519"/>
                  </a:lnTo>
                  <a:lnTo>
                    <a:pt x="1229" y="528"/>
                  </a:lnTo>
                  <a:lnTo>
                    <a:pt x="1225" y="536"/>
                  </a:lnTo>
                  <a:lnTo>
                    <a:pt x="1218" y="544"/>
                  </a:lnTo>
                  <a:lnTo>
                    <a:pt x="1213" y="552"/>
                  </a:lnTo>
                  <a:lnTo>
                    <a:pt x="1205" y="560"/>
                  </a:lnTo>
                  <a:lnTo>
                    <a:pt x="1197" y="568"/>
                  </a:lnTo>
                  <a:lnTo>
                    <a:pt x="1189" y="575"/>
                  </a:lnTo>
                  <a:lnTo>
                    <a:pt x="1178" y="581"/>
                  </a:lnTo>
                  <a:lnTo>
                    <a:pt x="1168" y="589"/>
                  </a:lnTo>
                  <a:lnTo>
                    <a:pt x="1142" y="601"/>
                  </a:lnTo>
                  <a:lnTo>
                    <a:pt x="1114" y="615"/>
                  </a:lnTo>
                  <a:lnTo>
                    <a:pt x="1090" y="660"/>
                  </a:lnTo>
                  <a:lnTo>
                    <a:pt x="1070" y="697"/>
                  </a:lnTo>
                  <a:lnTo>
                    <a:pt x="1054" y="728"/>
                  </a:lnTo>
                  <a:lnTo>
                    <a:pt x="1042" y="755"/>
                  </a:lnTo>
                  <a:lnTo>
                    <a:pt x="1037" y="766"/>
                  </a:lnTo>
                  <a:lnTo>
                    <a:pt x="1033" y="778"/>
                  </a:lnTo>
                  <a:lnTo>
                    <a:pt x="1030" y="789"/>
                  </a:lnTo>
                  <a:lnTo>
                    <a:pt x="1028" y="801"/>
                  </a:lnTo>
                  <a:lnTo>
                    <a:pt x="1026" y="812"/>
                  </a:lnTo>
                  <a:lnTo>
                    <a:pt x="1026" y="824"/>
                  </a:lnTo>
                  <a:lnTo>
                    <a:pt x="1028" y="836"/>
                  </a:lnTo>
                  <a:lnTo>
                    <a:pt x="1029" y="849"/>
                  </a:lnTo>
                  <a:lnTo>
                    <a:pt x="1028" y="888"/>
                  </a:lnTo>
                  <a:lnTo>
                    <a:pt x="1025" y="937"/>
                  </a:lnTo>
                  <a:lnTo>
                    <a:pt x="1024" y="962"/>
                  </a:lnTo>
                  <a:lnTo>
                    <a:pt x="1024" y="990"/>
                  </a:lnTo>
                  <a:lnTo>
                    <a:pt x="1026" y="1017"/>
                  </a:lnTo>
                  <a:lnTo>
                    <a:pt x="1029" y="1042"/>
                  </a:lnTo>
                  <a:lnTo>
                    <a:pt x="1016" y="1052"/>
                  </a:lnTo>
                  <a:lnTo>
                    <a:pt x="1001" y="1061"/>
                  </a:lnTo>
                  <a:lnTo>
                    <a:pt x="994" y="1066"/>
                  </a:lnTo>
                  <a:lnTo>
                    <a:pt x="986" y="1069"/>
                  </a:lnTo>
                  <a:lnTo>
                    <a:pt x="978" y="1072"/>
                  </a:lnTo>
                  <a:lnTo>
                    <a:pt x="969" y="1072"/>
                  </a:lnTo>
                  <a:lnTo>
                    <a:pt x="962" y="1068"/>
                  </a:lnTo>
                  <a:lnTo>
                    <a:pt x="954" y="1060"/>
                  </a:lnTo>
                  <a:lnTo>
                    <a:pt x="945" y="1049"/>
                  </a:lnTo>
                  <a:lnTo>
                    <a:pt x="938" y="1042"/>
                  </a:lnTo>
                  <a:lnTo>
                    <a:pt x="909" y="1042"/>
                  </a:lnTo>
                  <a:lnTo>
                    <a:pt x="908" y="1062"/>
                  </a:lnTo>
                  <a:lnTo>
                    <a:pt x="906" y="1081"/>
                  </a:lnTo>
                  <a:lnTo>
                    <a:pt x="902" y="1097"/>
                  </a:lnTo>
                  <a:lnTo>
                    <a:pt x="897" y="1113"/>
                  </a:lnTo>
                  <a:lnTo>
                    <a:pt x="886" y="1140"/>
                  </a:lnTo>
                  <a:lnTo>
                    <a:pt x="873" y="1165"/>
                  </a:lnTo>
                  <a:lnTo>
                    <a:pt x="860" y="1189"/>
                  </a:lnTo>
                  <a:lnTo>
                    <a:pt x="848" y="1216"/>
                  </a:lnTo>
                  <a:lnTo>
                    <a:pt x="844" y="1230"/>
                  </a:lnTo>
                  <a:lnTo>
                    <a:pt x="840" y="1246"/>
                  </a:lnTo>
                  <a:lnTo>
                    <a:pt x="837" y="1264"/>
                  </a:lnTo>
                  <a:lnTo>
                    <a:pt x="837" y="1282"/>
                  </a:lnTo>
                  <a:lnTo>
                    <a:pt x="837" y="1289"/>
                  </a:lnTo>
                  <a:lnTo>
                    <a:pt x="838" y="1294"/>
                  </a:lnTo>
                  <a:lnTo>
                    <a:pt x="840" y="1298"/>
                  </a:lnTo>
                  <a:lnTo>
                    <a:pt x="842" y="1302"/>
                  </a:lnTo>
                  <a:lnTo>
                    <a:pt x="848" y="1308"/>
                  </a:lnTo>
                  <a:lnTo>
                    <a:pt x="854" y="1312"/>
                  </a:lnTo>
                  <a:lnTo>
                    <a:pt x="861" y="1316"/>
                  </a:lnTo>
                  <a:lnTo>
                    <a:pt x="868" y="1321"/>
                  </a:lnTo>
                  <a:lnTo>
                    <a:pt x="869" y="1324"/>
                  </a:lnTo>
                  <a:lnTo>
                    <a:pt x="872" y="1328"/>
                  </a:lnTo>
                  <a:lnTo>
                    <a:pt x="872" y="1332"/>
                  </a:lnTo>
                  <a:lnTo>
                    <a:pt x="873" y="1337"/>
                  </a:lnTo>
                  <a:lnTo>
                    <a:pt x="872" y="1345"/>
                  </a:lnTo>
                  <a:lnTo>
                    <a:pt x="870" y="1350"/>
                  </a:lnTo>
                  <a:lnTo>
                    <a:pt x="869" y="1355"/>
                  </a:lnTo>
                  <a:lnTo>
                    <a:pt x="866" y="1359"/>
                  </a:lnTo>
                  <a:lnTo>
                    <a:pt x="860" y="1367"/>
                  </a:lnTo>
                  <a:lnTo>
                    <a:pt x="850" y="1373"/>
                  </a:lnTo>
                  <a:lnTo>
                    <a:pt x="842" y="1378"/>
                  </a:lnTo>
                  <a:lnTo>
                    <a:pt x="834" y="1383"/>
                  </a:lnTo>
                  <a:lnTo>
                    <a:pt x="832" y="1387"/>
                  </a:lnTo>
                  <a:lnTo>
                    <a:pt x="828" y="1391"/>
                  </a:lnTo>
                  <a:lnTo>
                    <a:pt x="826" y="1397"/>
                  </a:lnTo>
                  <a:lnTo>
                    <a:pt x="825" y="1403"/>
                  </a:lnTo>
                  <a:lnTo>
                    <a:pt x="822" y="1418"/>
                  </a:lnTo>
                  <a:lnTo>
                    <a:pt x="818" y="1431"/>
                  </a:lnTo>
                  <a:lnTo>
                    <a:pt x="814" y="1443"/>
                  </a:lnTo>
                  <a:lnTo>
                    <a:pt x="809" y="1455"/>
                  </a:lnTo>
                  <a:lnTo>
                    <a:pt x="798" y="1478"/>
                  </a:lnTo>
                  <a:lnTo>
                    <a:pt x="785" y="1499"/>
                  </a:lnTo>
                  <a:lnTo>
                    <a:pt x="757" y="1538"/>
                  </a:lnTo>
                  <a:lnTo>
                    <a:pt x="728" y="1578"/>
                  </a:lnTo>
                  <a:lnTo>
                    <a:pt x="722" y="1571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accent1">
                  <a:lumMod val="20000"/>
                  <a:lumOff val="8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95" b="0" i="0" u="none" strike="noStrike" kern="1200" cap="none" spc="0" normalizeH="0" baseline="0" noProof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3" name="Freeform 98"/>
            <p:cNvSpPr>
              <a:spLocks/>
            </p:cNvSpPr>
            <p:nvPr/>
          </p:nvSpPr>
          <p:spPr bwMode="auto">
            <a:xfrm>
              <a:off x="5251072" y="2597831"/>
              <a:ext cx="62962" cy="62255"/>
            </a:xfrm>
            <a:custGeom>
              <a:avLst/>
              <a:gdLst>
                <a:gd name="T0" fmla="*/ 3 w 878"/>
                <a:gd name="T1" fmla="*/ 528 h 863"/>
                <a:gd name="T2" fmla="*/ 28 w 878"/>
                <a:gd name="T3" fmla="*/ 565 h 863"/>
                <a:gd name="T4" fmla="*/ 111 w 878"/>
                <a:gd name="T5" fmla="*/ 603 h 863"/>
                <a:gd name="T6" fmla="*/ 116 w 878"/>
                <a:gd name="T7" fmla="*/ 657 h 863"/>
                <a:gd name="T8" fmla="*/ 129 w 878"/>
                <a:gd name="T9" fmla="*/ 713 h 863"/>
                <a:gd name="T10" fmla="*/ 181 w 878"/>
                <a:gd name="T11" fmla="*/ 735 h 863"/>
                <a:gd name="T12" fmla="*/ 244 w 878"/>
                <a:gd name="T13" fmla="*/ 759 h 863"/>
                <a:gd name="T14" fmla="*/ 275 w 878"/>
                <a:gd name="T15" fmla="*/ 782 h 863"/>
                <a:gd name="T16" fmla="*/ 315 w 878"/>
                <a:gd name="T17" fmla="*/ 773 h 863"/>
                <a:gd name="T18" fmla="*/ 369 w 878"/>
                <a:gd name="T19" fmla="*/ 719 h 863"/>
                <a:gd name="T20" fmla="*/ 397 w 878"/>
                <a:gd name="T21" fmla="*/ 749 h 863"/>
                <a:gd name="T22" fmla="*/ 400 w 878"/>
                <a:gd name="T23" fmla="*/ 801 h 863"/>
                <a:gd name="T24" fmla="*/ 433 w 878"/>
                <a:gd name="T25" fmla="*/ 841 h 863"/>
                <a:gd name="T26" fmla="*/ 510 w 878"/>
                <a:gd name="T27" fmla="*/ 862 h 863"/>
                <a:gd name="T28" fmla="*/ 565 w 878"/>
                <a:gd name="T29" fmla="*/ 842 h 863"/>
                <a:gd name="T30" fmla="*/ 592 w 878"/>
                <a:gd name="T31" fmla="*/ 802 h 863"/>
                <a:gd name="T32" fmla="*/ 613 w 878"/>
                <a:gd name="T33" fmla="*/ 777 h 863"/>
                <a:gd name="T34" fmla="*/ 692 w 878"/>
                <a:gd name="T35" fmla="*/ 759 h 863"/>
                <a:gd name="T36" fmla="*/ 770 w 878"/>
                <a:gd name="T37" fmla="*/ 746 h 863"/>
                <a:gd name="T38" fmla="*/ 844 w 878"/>
                <a:gd name="T39" fmla="*/ 674 h 863"/>
                <a:gd name="T40" fmla="*/ 813 w 878"/>
                <a:gd name="T41" fmla="*/ 609 h 863"/>
                <a:gd name="T42" fmla="*/ 826 w 878"/>
                <a:gd name="T43" fmla="*/ 568 h 863"/>
                <a:gd name="T44" fmla="*/ 877 w 878"/>
                <a:gd name="T45" fmla="*/ 541 h 863"/>
                <a:gd name="T46" fmla="*/ 842 w 878"/>
                <a:gd name="T47" fmla="*/ 488 h 863"/>
                <a:gd name="T48" fmla="*/ 769 w 878"/>
                <a:gd name="T49" fmla="*/ 422 h 863"/>
                <a:gd name="T50" fmla="*/ 746 w 878"/>
                <a:gd name="T51" fmla="*/ 353 h 863"/>
                <a:gd name="T52" fmla="*/ 722 w 878"/>
                <a:gd name="T53" fmla="*/ 293 h 863"/>
                <a:gd name="T54" fmla="*/ 678 w 878"/>
                <a:gd name="T55" fmla="*/ 325 h 863"/>
                <a:gd name="T56" fmla="*/ 652 w 878"/>
                <a:gd name="T57" fmla="*/ 330 h 863"/>
                <a:gd name="T58" fmla="*/ 597 w 878"/>
                <a:gd name="T59" fmla="*/ 309 h 863"/>
                <a:gd name="T60" fmla="*/ 590 w 878"/>
                <a:gd name="T61" fmla="*/ 282 h 863"/>
                <a:gd name="T62" fmla="*/ 598 w 878"/>
                <a:gd name="T63" fmla="*/ 222 h 863"/>
                <a:gd name="T64" fmla="*/ 584 w 878"/>
                <a:gd name="T65" fmla="*/ 205 h 863"/>
                <a:gd name="T66" fmla="*/ 594 w 878"/>
                <a:gd name="T67" fmla="*/ 165 h 863"/>
                <a:gd name="T68" fmla="*/ 637 w 878"/>
                <a:gd name="T69" fmla="*/ 122 h 863"/>
                <a:gd name="T70" fmla="*/ 666 w 878"/>
                <a:gd name="T71" fmla="*/ 78 h 863"/>
                <a:gd name="T72" fmla="*/ 649 w 878"/>
                <a:gd name="T73" fmla="*/ 53 h 863"/>
                <a:gd name="T74" fmla="*/ 557 w 878"/>
                <a:gd name="T75" fmla="*/ 30 h 863"/>
                <a:gd name="T76" fmla="*/ 480 w 878"/>
                <a:gd name="T77" fmla="*/ 9 h 863"/>
                <a:gd name="T78" fmla="*/ 430 w 878"/>
                <a:gd name="T79" fmla="*/ 10 h 863"/>
                <a:gd name="T80" fmla="*/ 399 w 878"/>
                <a:gd name="T81" fmla="*/ 37 h 863"/>
                <a:gd name="T82" fmla="*/ 400 w 878"/>
                <a:gd name="T83" fmla="*/ 70 h 863"/>
                <a:gd name="T84" fmla="*/ 422 w 878"/>
                <a:gd name="T85" fmla="*/ 113 h 863"/>
                <a:gd name="T86" fmla="*/ 417 w 878"/>
                <a:gd name="T87" fmla="*/ 164 h 863"/>
                <a:gd name="T88" fmla="*/ 367 w 878"/>
                <a:gd name="T89" fmla="*/ 188 h 863"/>
                <a:gd name="T90" fmla="*/ 243 w 878"/>
                <a:gd name="T91" fmla="*/ 209 h 863"/>
                <a:gd name="T92" fmla="*/ 168 w 878"/>
                <a:gd name="T93" fmla="*/ 249 h 863"/>
                <a:gd name="T94" fmla="*/ 17 w 878"/>
                <a:gd name="T95" fmla="*/ 328 h 863"/>
                <a:gd name="T96" fmla="*/ 0 w 878"/>
                <a:gd name="T97" fmla="*/ 349 h 863"/>
                <a:gd name="T98" fmla="*/ 23 w 878"/>
                <a:gd name="T99" fmla="*/ 378 h 863"/>
                <a:gd name="T100" fmla="*/ 69 w 878"/>
                <a:gd name="T101" fmla="*/ 409 h 863"/>
                <a:gd name="T102" fmla="*/ 68 w 878"/>
                <a:gd name="T103" fmla="*/ 444 h 863"/>
                <a:gd name="T104" fmla="*/ 45 w 878"/>
                <a:gd name="T105" fmla="*/ 461 h 863"/>
                <a:gd name="T106" fmla="*/ 9 w 878"/>
                <a:gd name="T107" fmla="*/ 482 h 863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878"/>
                <a:gd name="T163" fmla="*/ 0 h 863"/>
                <a:gd name="T164" fmla="*/ 878 w 878"/>
                <a:gd name="T165" fmla="*/ 863 h 863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878" h="863">
                  <a:moveTo>
                    <a:pt x="12" y="482"/>
                  </a:moveTo>
                  <a:lnTo>
                    <a:pt x="5" y="494"/>
                  </a:lnTo>
                  <a:lnTo>
                    <a:pt x="0" y="506"/>
                  </a:lnTo>
                  <a:lnTo>
                    <a:pt x="0" y="518"/>
                  </a:lnTo>
                  <a:lnTo>
                    <a:pt x="3" y="528"/>
                  </a:lnTo>
                  <a:lnTo>
                    <a:pt x="5" y="537"/>
                  </a:lnTo>
                  <a:lnTo>
                    <a:pt x="9" y="545"/>
                  </a:lnTo>
                  <a:lnTo>
                    <a:pt x="15" y="553"/>
                  </a:lnTo>
                  <a:lnTo>
                    <a:pt x="21" y="558"/>
                  </a:lnTo>
                  <a:lnTo>
                    <a:pt x="28" y="565"/>
                  </a:lnTo>
                  <a:lnTo>
                    <a:pt x="35" y="569"/>
                  </a:lnTo>
                  <a:lnTo>
                    <a:pt x="68" y="584"/>
                  </a:lnTo>
                  <a:lnTo>
                    <a:pt x="103" y="595"/>
                  </a:lnTo>
                  <a:lnTo>
                    <a:pt x="107" y="599"/>
                  </a:lnTo>
                  <a:lnTo>
                    <a:pt x="111" y="603"/>
                  </a:lnTo>
                  <a:lnTo>
                    <a:pt x="115" y="607"/>
                  </a:lnTo>
                  <a:lnTo>
                    <a:pt x="116" y="613"/>
                  </a:lnTo>
                  <a:lnTo>
                    <a:pt x="119" y="623"/>
                  </a:lnTo>
                  <a:lnTo>
                    <a:pt x="120" y="634"/>
                  </a:lnTo>
                  <a:lnTo>
                    <a:pt x="116" y="657"/>
                  </a:lnTo>
                  <a:lnTo>
                    <a:pt x="115" y="681"/>
                  </a:lnTo>
                  <a:lnTo>
                    <a:pt x="116" y="690"/>
                  </a:lnTo>
                  <a:lnTo>
                    <a:pt x="119" y="698"/>
                  </a:lnTo>
                  <a:lnTo>
                    <a:pt x="124" y="706"/>
                  </a:lnTo>
                  <a:lnTo>
                    <a:pt x="129" y="713"/>
                  </a:lnTo>
                  <a:lnTo>
                    <a:pt x="136" y="718"/>
                  </a:lnTo>
                  <a:lnTo>
                    <a:pt x="144" y="723"/>
                  </a:lnTo>
                  <a:lnTo>
                    <a:pt x="152" y="727"/>
                  </a:lnTo>
                  <a:lnTo>
                    <a:pt x="161" y="731"/>
                  </a:lnTo>
                  <a:lnTo>
                    <a:pt x="181" y="735"/>
                  </a:lnTo>
                  <a:lnTo>
                    <a:pt x="201" y="739"/>
                  </a:lnTo>
                  <a:lnTo>
                    <a:pt x="221" y="741"/>
                  </a:lnTo>
                  <a:lnTo>
                    <a:pt x="240" y="741"/>
                  </a:lnTo>
                  <a:lnTo>
                    <a:pt x="241" y="751"/>
                  </a:lnTo>
                  <a:lnTo>
                    <a:pt x="244" y="759"/>
                  </a:lnTo>
                  <a:lnTo>
                    <a:pt x="248" y="767"/>
                  </a:lnTo>
                  <a:lnTo>
                    <a:pt x="252" y="773"/>
                  </a:lnTo>
                  <a:lnTo>
                    <a:pt x="259" y="777"/>
                  </a:lnTo>
                  <a:lnTo>
                    <a:pt x="267" y="781"/>
                  </a:lnTo>
                  <a:lnTo>
                    <a:pt x="275" y="782"/>
                  </a:lnTo>
                  <a:lnTo>
                    <a:pt x="283" y="783"/>
                  </a:lnTo>
                  <a:lnTo>
                    <a:pt x="292" y="782"/>
                  </a:lnTo>
                  <a:lnTo>
                    <a:pt x="301" y="779"/>
                  </a:lnTo>
                  <a:lnTo>
                    <a:pt x="308" y="777"/>
                  </a:lnTo>
                  <a:lnTo>
                    <a:pt x="315" y="773"/>
                  </a:lnTo>
                  <a:lnTo>
                    <a:pt x="327" y="762"/>
                  </a:lnTo>
                  <a:lnTo>
                    <a:pt x="337" y="749"/>
                  </a:lnTo>
                  <a:lnTo>
                    <a:pt x="349" y="735"/>
                  </a:lnTo>
                  <a:lnTo>
                    <a:pt x="361" y="725"/>
                  </a:lnTo>
                  <a:lnTo>
                    <a:pt x="369" y="719"/>
                  </a:lnTo>
                  <a:lnTo>
                    <a:pt x="377" y="715"/>
                  </a:lnTo>
                  <a:lnTo>
                    <a:pt x="387" y="713"/>
                  </a:lnTo>
                  <a:lnTo>
                    <a:pt x="397" y="710"/>
                  </a:lnTo>
                  <a:lnTo>
                    <a:pt x="397" y="731"/>
                  </a:lnTo>
                  <a:lnTo>
                    <a:pt x="397" y="749"/>
                  </a:lnTo>
                  <a:lnTo>
                    <a:pt x="397" y="766"/>
                  </a:lnTo>
                  <a:lnTo>
                    <a:pt x="397" y="783"/>
                  </a:lnTo>
                  <a:lnTo>
                    <a:pt x="397" y="789"/>
                  </a:lnTo>
                  <a:lnTo>
                    <a:pt x="399" y="795"/>
                  </a:lnTo>
                  <a:lnTo>
                    <a:pt x="400" y="801"/>
                  </a:lnTo>
                  <a:lnTo>
                    <a:pt x="403" y="806"/>
                  </a:lnTo>
                  <a:lnTo>
                    <a:pt x="409" y="815"/>
                  </a:lnTo>
                  <a:lnTo>
                    <a:pt x="417" y="825"/>
                  </a:lnTo>
                  <a:lnTo>
                    <a:pt x="425" y="833"/>
                  </a:lnTo>
                  <a:lnTo>
                    <a:pt x="433" y="841"/>
                  </a:lnTo>
                  <a:lnTo>
                    <a:pt x="440" y="850"/>
                  </a:lnTo>
                  <a:lnTo>
                    <a:pt x="445" y="861"/>
                  </a:lnTo>
                  <a:lnTo>
                    <a:pt x="461" y="863"/>
                  </a:lnTo>
                  <a:lnTo>
                    <a:pt x="498" y="863"/>
                  </a:lnTo>
                  <a:lnTo>
                    <a:pt x="510" y="862"/>
                  </a:lnTo>
                  <a:lnTo>
                    <a:pt x="521" y="861"/>
                  </a:lnTo>
                  <a:lnTo>
                    <a:pt x="533" y="857"/>
                  </a:lnTo>
                  <a:lnTo>
                    <a:pt x="544" y="854"/>
                  </a:lnTo>
                  <a:lnTo>
                    <a:pt x="556" y="849"/>
                  </a:lnTo>
                  <a:lnTo>
                    <a:pt x="565" y="842"/>
                  </a:lnTo>
                  <a:lnTo>
                    <a:pt x="576" y="834"/>
                  </a:lnTo>
                  <a:lnTo>
                    <a:pt x="584" y="825"/>
                  </a:lnTo>
                  <a:lnTo>
                    <a:pt x="585" y="817"/>
                  </a:lnTo>
                  <a:lnTo>
                    <a:pt x="588" y="809"/>
                  </a:lnTo>
                  <a:lnTo>
                    <a:pt x="592" y="802"/>
                  </a:lnTo>
                  <a:lnTo>
                    <a:pt x="594" y="795"/>
                  </a:lnTo>
                  <a:lnTo>
                    <a:pt x="598" y="790"/>
                  </a:lnTo>
                  <a:lnTo>
                    <a:pt x="602" y="785"/>
                  </a:lnTo>
                  <a:lnTo>
                    <a:pt x="608" y="781"/>
                  </a:lnTo>
                  <a:lnTo>
                    <a:pt x="613" y="777"/>
                  </a:lnTo>
                  <a:lnTo>
                    <a:pt x="624" y="770"/>
                  </a:lnTo>
                  <a:lnTo>
                    <a:pt x="637" y="766"/>
                  </a:lnTo>
                  <a:lnTo>
                    <a:pt x="649" y="763"/>
                  </a:lnTo>
                  <a:lnTo>
                    <a:pt x="664" y="761"/>
                  </a:lnTo>
                  <a:lnTo>
                    <a:pt x="692" y="759"/>
                  </a:lnTo>
                  <a:lnTo>
                    <a:pt x="721" y="758"/>
                  </a:lnTo>
                  <a:lnTo>
                    <a:pt x="734" y="757"/>
                  </a:lnTo>
                  <a:lnTo>
                    <a:pt x="748" y="754"/>
                  </a:lnTo>
                  <a:lnTo>
                    <a:pt x="760" y="751"/>
                  </a:lnTo>
                  <a:lnTo>
                    <a:pt x="770" y="746"/>
                  </a:lnTo>
                  <a:lnTo>
                    <a:pt x="793" y="733"/>
                  </a:lnTo>
                  <a:lnTo>
                    <a:pt x="814" y="717"/>
                  </a:lnTo>
                  <a:lnTo>
                    <a:pt x="836" y="701"/>
                  </a:lnTo>
                  <a:lnTo>
                    <a:pt x="854" y="686"/>
                  </a:lnTo>
                  <a:lnTo>
                    <a:pt x="844" y="674"/>
                  </a:lnTo>
                  <a:lnTo>
                    <a:pt x="829" y="657"/>
                  </a:lnTo>
                  <a:lnTo>
                    <a:pt x="822" y="646"/>
                  </a:lnTo>
                  <a:lnTo>
                    <a:pt x="817" y="634"/>
                  </a:lnTo>
                  <a:lnTo>
                    <a:pt x="814" y="621"/>
                  </a:lnTo>
                  <a:lnTo>
                    <a:pt x="813" y="609"/>
                  </a:lnTo>
                  <a:lnTo>
                    <a:pt x="813" y="599"/>
                  </a:lnTo>
                  <a:lnTo>
                    <a:pt x="814" y="590"/>
                  </a:lnTo>
                  <a:lnTo>
                    <a:pt x="817" y="582"/>
                  </a:lnTo>
                  <a:lnTo>
                    <a:pt x="821" y="574"/>
                  </a:lnTo>
                  <a:lnTo>
                    <a:pt x="826" y="568"/>
                  </a:lnTo>
                  <a:lnTo>
                    <a:pt x="833" y="562"/>
                  </a:lnTo>
                  <a:lnTo>
                    <a:pt x="840" y="557"/>
                  </a:lnTo>
                  <a:lnTo>
                    <a:pt x="849" y="554"/>
                  </a:lnTo>
                  <a:lnTo>
                    <a:pt x="878" y="554"/>
                  </a:lnTo>
                  <a:lnTo>
                    <a:pt x="877" y="541"/>
                  </a:lnTo>
                  <a:lnTo>
                    <a:pt x="874" y="529"/>
                  </a:lnTo>
                  <a:lnTo>
                    <a:pt x="868" y="518"/>
                  </a:lnTo>
                  <a:lnTo>
                    <a:pt x="861" y="508"/>
                  </a:lnTo>
                  <a:lnTo>
                    <a:pt x="852" y="497"/>
                  </a:lnTo>
                  <a:lnTo>
                    <a:pt x="842" y="488"/>
                  </a:lnTo>
                  <a:lnTo>
                    <a:pt x="832" y="478"/>
                  </a:lnTo>
                  <a:lnTo>
                    <a:pt x="820" y="470"/>
                  </a:lnTo>
                  <a:lnTo>
                    <a:pt x="797" y="452"/>
                  </a:lnTo>
                  <a:lnTo>
                    <a:pt x="777" y="432"/>
                  </a:lnTo>
                  <a:lnTo>
                    <a:pt x="769" y="422"/>
                  </a:lnTo>
                  <a:lnTo>
                    <a:pt x="761" y="410"/>
                  </a:lnTo>
                  <a:lnTo>
                    <a:pt x="756" y="398"/>
                  </a:lnTo>
                  <a:lnTo>
                    <a:pt x="752" y="385"/>
                  </a:lnTo>
                  <a:lnTo>
                    <a:pt x="750" y="368"/>
                  </a:lnTo>
                  <a:lnTo>
                    <a:pt x="746" y="353"/>
                  </a:lnTo>
                  <a:lnTo>
                    <a:pt x="742" y="338"/>
                  </a:lnTo>
                  <a:lnTo>
                    <a:pt x="738" y="325"/>
                  </a:lnTo>
                  <a:lnTo>
                    <a:pt x="734" y="313"/>
                  </a:lnTo>
                  <a:lnTo>
                    <a:pt x="729" y="302"/>
                  </a:lnTo>
                  <a:lnTo>
                    <a:pt x="722" y="293"/>
                  </a:lnTo>
                  <a:lnTo>
                    <a:pt x="716" y="284"/>
                  </a:lnTo>
                  <a:lnTo>
                    <a:pt x="706" y="296"/>
                  </a:lnTo>
                  <a:lnTo>
                    <a:pt x="693" y="312"/>
                  </a:lnTo>
                  <a:lnTo>
                    <a:pt x="686" y="320"/>
                  </a:lnTo>
                  <a:lnTo>
                    <a:pt x="678" y="325"/>
                  </a:lnTo>
                  <a:lnTo>
                    <a:pt x="674" y="328"/>
                  </a:lnTo>
                  <a:lnTo>
                    <a:pt x="670" y="330"/>
                  </a:lnTo>
                  <a:lnTo>
                    <a:pt x="666" y="330"/>
                  </a:lnTo>
                  <a:lnTo>
                    <a:pt x="662" y="332"/>
                  </a:lnTo>
                  <a:lnTo>
                    <a:pt x="652" y="330"/>
                  </a:lnTo>
                  <a:lnTo>
                    <a:pt x="641" y="328"/>
                  </a:lnTo>
                  <a:lnTo>
                    <a:pt x="629" y="325"/>
                  </a:lnTo>
                  <a:lnTo>
                    <a:pt x="617" y="320"/>
                  </a:lnTo>
                  <a:lnTo>
                    <a:pt x="606" y="314"/>
                  </a:lnTo>
                  <a:lnTo>
                    <a:pt x="597" y="309"/>
                  </a:lnTo>
                  <a:lnTo>
                    <a:pt x="594" y="305"/>
                  </a:lnTo>
                  <a:lnTo>
                    <a:pt x="592" y="302"/>
                  </a:lnTo>
                  <a:lnTo>
                    <a:pt x="590" y="298"/>
                  </a:lnTo>
                  <a:lnTo>
                    <a:pt x="590" y="296"/>
                  </a:lnTo>
                  <a:lnTo>
                    <a:pt x="590" y="282"/>
                  </a:lnTo>
                  <a:lnTo>
                    <a:pt x="593" y="272"/>
                  </a:lnTo>
                  <a:lnTo>
                    <a:pt x="597" y="260"/>
                  </a:lnTo>
                  <a:lnTo>
                    <a:pt x="602" y="246"/>
                  </a:lnTo>
                  <a:lnTo>
                    <a:pt x="602" y="222"/>
                  </a:lnTo>
                  <a:lnTo>
                    <a:pt x="598" y="222"/>
                  </a:lnTo>
                  <a:lnTo>
                    <a:pt x="593" y="218"/>
                  </a:lnTo>
                  <a:lnTo>
                    <a:pt x="589" y="216"/>
                  </a:lnTo>
                  <a:lnTo>
                    <a:pt x="586" y="213"/>
                  </a:lnTo>
                  <a:lnTo>
                    <a:pt x="585" y="209"/>
                  </a:lnTo>
                  <a:lnTo>
                    <a:pt x="584" y="205"/>
                  </a:lnTo>
                  <a:lnTo>
                    <a:pt x="584" y="196"/>
                  </a:lnTo>
                  <a:lnTo>
                    <a:pt x="585" y="188"/>
                  </a:lnTo>
                  <a:lnTo>
                    <a:pt x="588" y="180"/>
                  </a:lnTo>
                  <a:lnTo>
                    <a:pt x="590" y="172"/>
                  </a:lnTo>
                  <a:lnTo>
                    <a:pt x="594" y="165"/>
                  </a:lnTo>
                  <a:lnTo>
                    <a:pt x="600" y="157"/>
                  </a:lnTo>
                  <a:lnTo>
                    <a:pt x="604" y="150"/>
                  </a:lnTo>
                  <a:lnTo>
                    <a:pt x="610" y="145"/>
                  </a:lnTo>
                  <a:lnTo>
                    <a:pt x="622" y="133"/>
                  </a:lnTo>
                  <a:lnTo>
                    <a:pt x="637" y="122"/>
                  </a:lnTo>
                  <a:lnTo>
                    <a:pt x="652" y="112"/>
                  </a:lnTo>
                  <a:lnTo>
                    <a:pt x="668" y="102"/>
                  </a:lnTo>
                  <a:lnTo>
                    <a:pt x="669" y="94"/>
                  </a:lnTo>
                  <a:lnTo>
                    <a:pt x="668" y="86"/>
                  </a:lnTo>
                  <a:lnTo>
                    <a:pt x="666" y="78"/>
                  </a:lnTo>
                  <a:lnTo>
                    <a:pt x="665" y="73"/>
                  </a:lnTo>
                  <a:lnTo>
                    <a:pt x="662" y="66"/>
                  </a:lnTo>
                  <a:lnTo>
                    <a:pt x="658" y="62"/>
                  </a:lnTo>
                  <a:lnTo>
                    <a:pt x="654" y="57"/>
                  </a:lnTo>
                  <a:lnTo>
                    <a:pt x="649" y="53"/>
                  </a:lnTo>
                  <a:lnTo>
                    <a:pt x="637" y="46"/>
                  </a:lnTo>
                  <a:lnTo>
                    <a:pt x="624" y="42"/>
                  </a:lnTo>
                  <a:lnTo>
                    <a:pt x="608" y="38"/>
                  </a:lnTo>
                  <a:lnTo>
                    <a:pt x="592" y="36"/>
                  </a:lnTo>
                  <a:lnTo>
                    <a:pt x="557" y="30"/>
                  </a:lnTo>
                  <a:lnTo>
                    <a:pt x="522" y="25"/>
                  </a:lnTo>
                  <a:lnTo>
                    <a:pt x="506" y="21"/>
                  </a:lnTo>
                  <a:lnTo>
                    <a:pt x="492" y="16"/>
                  </a:lnTo>
                  <a:lnTo>
                    <a:pt x="485" y="13"/>
                  </a:lnTo>
                  <a:lnTo>
                    <a:pt x="480" y="9"/>
                  </a:lnTo>
                  <a:lnTo>
                    <a:pt x="474" y="5"/>
                  </a:lnTo>
                  <a:lnTo>
                    <a:pt x="469" y="0"/>
                  </a:lnTo>
                  <a:lnTo>
                    <a:pt x="456" y="3"/>
                  </a:lnTo>
                  <a:lnTo>
                    <a:pt x="442" y="6"/>
                  </a:lnTo>
                  <a:lnTo>
                    <a:pt x="430" y="10"/>
                  </a:lnTo>
                  <a:lnTo>
                    <a:pt x="420" y="14"/>
                  </a:lnTo>
                  <a:lnTo>
                    <a:pt x="410" y="21"/>
                  </a:lnTo>
                  <a:lnTo>
                    <a:pt x="404" y="29"/>
                  </a:lnTo>
                  <a:lnTo>
                    <a:pt x="401" y="33"/>
                  </a:lnTo>
                  <a:lnTo>
                    <a:pt x="399" y="37"/>
                  </a:lnTo>
                  <a:lnTo>
                    <a:pt x="397" y="42"/>
                  </a:lnTo>
                  <a:lnTo>
                    <a:pt x="397" y="48"/>
                  </a:lnTo>
                  <a:lnTo>
                    <a:pt x="397" y="57"/>
                  </a:lnTo>
                  <a:lnTo>
                    <a:pt x="399" y="64"/>
                  </a:lnTo>
                  <a:lnTo>
                    <a:pt x="400" y="70"/>
                  </a:lnTo>
                  <a:lnTo>
                    <a:pt x="401" y="77"/>
                  </a:lnTo>
                  <a:lnTo>
                    <a:pt x="407" y="86"/>
                  </a:lnTo>
                  <a:lnTo>
                    <a:pt x="412" y="96"/>
                  </a:lnTo>
                  <a:lnTo>
                    <a:pt x="417" y="104"/>
                  </a:lnTo>
                  <a:lnTo>
                    <a:pt x="422" y="113"/>
                  </a:lnTo>
                  <a:lnTo>
                    <a:pt x="426" y="125"/>
                  </a:lnTo>
                  <a:lnTo>
                    <a:pt x="428" y="138"/>
                  </a:lnTo>
                  <a:lnTo>
                    <a:pt x="426" y="148"/>
                  </a:lnTo>
                  <a:lnTo>
                    <a:pt x="422" y="157"/>
                  </a:lnTo>
                  <a:lnTo>
                    <a:pt x="417" y="164"/>
                  </a:lnTo>
                  <a:lnTo>
                    <a:pt x="409" y="170"/>
                  </a:lnTo>
                  <a:lnTo>
                    <a:pt x="400" y="176"/>
                  </a:lnTo>
                  <a:lnTo>
                    <a:pt x="391" y="180"/>
                  </a:lnTo>
                  <a:lnTo>
                    <a:pt x="379" y="184"/>
                  </a:lnTo>
                  <a:lnTo>
                    <a:pt x="367" y="188"/>
                  </a:lnTo>
                  <a:lnTo>
                    <a:pt x="313" y="197"/>
                  </a:lnTo>
                  <a:lnTo>
                    <a:pt x="265" y="205"/>
                  </a:lnTo>
                  <a:lnTo>
                    <a:pt x="256" y="205"/>
                  </a:lnTo>
                  <a:lnTo>
                    <a:pt x="249" y="206"/>
                  </a:lnTo>
                  <a:lnTo>
                    <a:pt x="243" y="209"/>
                  </a:lnTo>
                  <a:lnTo>
                    <a:pt x="237" y="212"/>
                  </a:lnTo>
                  <a:lnTo>
                    <a:pt x="225" y="220"/>
                  </a:lnTo>
                  <a:lnTo>
                    <a:pt x="211" y="229"/>
                  </a:lnTo>
                  <a:lnTo>
                    <a:pt x="195" y="236"/>
                  </a:lnTo>
                  <a:lnTo>
                    <a:pt x="168" y="249"/>
                  </a:lnTo>
                  <a:lnTo>
                    <a:pt x="133" y="264"/>
                  </a:lnTo>
                  <a:lnTo>
                    <a:pt x="96" y="282"/>
                  </a:lnTo>
                  <a:lnTo>
                    <a:pt x="60" y="301"/>
                  </a:lnTo>
                  <a:lnTo>
                    <a:pt x="29" y="320"/>
                  </a:lnTo>
                  <a:lnTo>
                    <a:pt x="17" y="328"/>
                  </a:lnTo>
                  <a:lnTo>
                    <a:pt x="8" y="336"/>
                  </a:lnTo>
                  <a:lnTo>
                    <a:pt x="4" y="340"/>
                  </a:lnTo>
                  <a:lnTo>
                    <a:pt x="1" y="344"/>
                  </a:lnTo>
                  <a:lnTo>
                    <a:pt x="0" y="346"/>
                  </a:lnTo>
                  <a:lnTo>
                    <a:pt x="0" y="349"/>
                  </a:lnTo>
                  <a:lnTo>
                    <a:pt x="0" y="356"/>
                  </a:lnTo>
                  <a:lnTo>
                    <a:pt x="3" y="361"/>
                  </a:lnTo>
                  <a:lnTo>
                    <a:pt x="7" y="366"/>
                  </a:lnTo>
                  <a:lnTo>
                    <a:pt x="11" y="370"/>
                  </a:lnTo>
                  <a:lnTo>
                    <a:pt x="23" y="378"/>
                  </a:lnTo>
                  <a:lnTo>
                    <a:pt x="36" y="385"/>
                  </a:lnTo>
                  <a:lnTo>
                    <a:pt x="49" y="393"/>
                  </a:lnTo>
                  <a:lnTo>
                    <a:pt x="60" y="400"/>
                  </a:lnTo>
                  <a:lnTo>
                    <a:pt x="65" y="405"/>
                  </a:lnTo>
                  <a:lnTo>
                    <a:pt x="69" y="409"/>
                  </a:lnTo>
                  <a:lnTo>
                    <a:pt x="71" y="416"/>
                  </a:lnTo>
                  <a:lnTo>
                    <a:pt x="72" y="421"/>
                  </a:lnTo>
                  <a:lnTo>
                    <a:pt x="72" y="430"/>
                  </a:lnTo>
                  <a:lnTo>
                    <a:pt x="69" y="437"/>
                  </a:lnTo>
                  <a:lnTo>
                    <a:pt x="68" y="444"/>
                  </a:lnTo>
                  <a:lnTo>
                    <a:pt x="64" y="448"/>
                  </a:lnTo>
                  <a:lnTo>
                    <a:pt x="60" y="452"/>
                  </a:lnTo>
                  <a:lnTo>
                    <a:pt x="56" y="456"/>
                  </a:lnTo>
                  <a:lnTo>
                    <a:pt x="51" y="458"/>
                  </a:lnTo>
                  <a:lnTo>
                    <a:pt x="45" y="461"/>
                  </a:lnTo>
                  <a:lnTo>
                    <a:pt x="35" y="466"/>
                  </a:lnTo>
                  <a:lnTo>
                    <a:pt x="24" y="472"/>
                  </a:lnTo>
                  <a:lnTo>
                    <a:pt x="19" y="474"/>
                  </a:lnTo>
                  <a:lnTo>
                    <a:pt x="13" y="478"/>
                  </a:lnTo>
                  <a:lnTo>
                    <a:pt x="9" y="482"/>
                  </a:lnTo>
                  <a:lnTo>
                    <a:pt x="5" y="488"/>
                  </a:lnTo>
                  <a:lnTo>
                    <a:pt x="12" y="482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accent1">
                  <a:lumMod val="20000"/>
                  <a:lumOff val="8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95" b="0" i="0" u="none" strike="noStrike" kern="1200" cap="none" spc="0" normalizeH="0" baseline="0" noProof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4" name="Freeform 99"/>
            <p:cNvSpPr>
              <a:spLocks/>
            </p:cNvSpPr>
            <p:nvPr/>
          </p:nvSpPr>
          <p:spPr bwMode="auto">
            <a:xfrm>
              <a:off x="5406473" y="2470491"/>
              <a:ext cx="171437" cy="157052"/>
            </a:xfrm>
            <a:custGeom>
              <a:avLst/>
              <a:gdLst>
                <a:gd name="T0" fmla="*/ 1542 w 2377"/>
                <a:gd name="T1" fmla="*/ 1965 h 2180"/>
                <a:gd name="T2" fmla="*/ 1480 w 2377"/>
                <a:gd name="T3" fmla="*/ 1897 h 2180"/>
                <a:gd name="T4" fmla="*/ 1516 w 2377"/>
                <a:gd name="T5" fmla="*/ 1777 h 2180"/>
                <a:gd name="T6" fmla="*/ 1491 w 2377"/>
                <a:gd name="T7" fmla="*/ 1702 h 2180"/>
                <a:gd name="T8" fmla="*/ 1612 w 2377"/>
                <a:gd name="T9" fmla="*/ 1678 h 2180"/>
                <a:gd name="T10" fmla="*/ 1703 w 2377"/>
                <a:gd name="T11" fmla="*/ 1608 h 2180"/>
                <a:gd name="T12" fmla="*/ 1814 w 2377"/>
                <a:gd name="T13" fmla="*/ 1576 h 2180"/>
                <a:gd name="T14" fmla="*/ 1898 w 2377"/>
                <a:gd name="T15" fmla="*/ 1450 h 2180"/>
                <a:gd name="T16" fmla="*/ 1968 w 2377"/>
                <a:gd name="T17" fmla="*/ 1340 h 2180"/>
                <a:gd name="T18" fmla="*/ 2107 w 2377"/>
                <a:gd name="T19" fmla="*/ 1235 h 2180"/>
                <a:gd name="T20" fmla="*/ 2184 w 2377"/>
                <a:gd name="T21" fmla="*/ 1138 h 2180"/>
                <a:gd name="T22" fmla="*/ 2131 w 2377"/>
                <a:gd name="T23" fmla="*/ 1033 h 2180"/>
                <a:gd name="T24" fmla="*/ 2085 w 2377"/>
                <a:gd name="T25" fmla="*/ 934 h 2180"/>
                <a:gd name="T26" fmla="*/ 2176 w 2377"/>
                <a:gd name="T27" fmla="*/ 819 h 2180"/>
                <a:gd name="T28" fmla="*/ 2293 w 2377"/>
                <a:gd name="T29" fmla="*/ 633 h 2180"/>
                <a:gd name="T30" fmla="*/ 2377 w 2377"/>
                <a:gd name="T31" fmla="*/ 530 h 2180"/>
                <a:gd name="T32" fmla="*/ 2305 w 2377"/>
                <a:gd name="T33" fmla="*/ 446 h 2180"/>
                <a:gd name="T34" fmla="*/ 2185 w 2377"/>
                <a:gd name="T35" fmla="*/ 417 h 2180"/>
                <a:gd name="T36" fmla="*/ 2064 w 2377"/>
                <a:gd name="T37" fmla="*/ 181 h 2180"/>
                <a:gd name="T38" fmla="*/ 2039 w 2377"/>
                <a:gd name="T39" fmla="*/ 92 h 2180"/>
                <a:gd name="T40" fmla="*/ 2055 w 2377"/>
                <a:gd name="T41" fmla="*/ 1 h 2180"/>
                <a:gd name="T42" fmla="*/ 1963 w 2377"/>
                <a:gd name="T43" fmla="*/ 88 h 2180"/>
                <a:gd name="T44" fmla="*/ 1866 w 2377"/>
                <a:gd name="T45" fmla="*/ 224 h 2180"/>
                <a:gd name="T46" fmla="*/ 1810 w 2377"/>
                <a:gd name="T47" fmla="*/ 269 h 2180"/>
                <a:gd name="T48" fmla="*/ 1731 w 2377"/>
                <a:gd name="T49" fmla="*/ 269 h 2180"/>
                <a:gd name="T50" fmla="*/ 1667 w 2377"/>
                <a:gd name="T51" fmla="*/ 236 h 2180"/>
                <a:gd name="T52" fmla="*/ 1564 w 2377"/>
                <a:gd name="T53" fmla="*/ 260 h 2180"/>
                <a:gd name="T54" fmla="*/ 1491 w 2377"/>
                <a:gd name="T55" fmla="*/ 242 h 2180"/>
                <a:gd name="T56" fmla="*/ 1396 w 2377"/>
                <a:gd name="T57" fmla="*/ 320 h 2180"/>
                <a:gd name="T58" fmla="*/ 1319 w 2377"/>
                <a:gd name="T59" fmla="*/ 345 h 2180"/>
                <a:gd name="T60" fmla="*/ 1290 w 2377"/>
                <a:gd name="T61" fmla="*/ 416 h 2180"/>
                <a:gd name="T62" fmla="*/ 1190 w 2377"/>
                <a:gd name="T63" fmla="*/ 477 h 2180"/>
                <a:gd name="T64" fmla="*/ 1227 w 2377"/>
                <a:gd name="T65" fmla="*/ 560 h 2180"/>
                <a:gd name="T66" fmla="*/ 1234 w 2377"/>
                <a:gd name="T67" fmla="*/ 711 h 2180"/>
                <a:gd name="T68" fmla="*/ 1289 w 2377"/>
                <a:gd name="T69" fmla="*/ 819 h 2180"/>
                <a:gd name="T70" fmla="*/ 1335 w 2377"/>
                <a:gd name="T71" fmla="*/ 954 h 2180"/>
                <a:gd name="T72" fmla="*/ 1306 w 2377"/>
                <a:gd name="T73" fmla="*/ 1290 h 2180"/>
                <a:gd name="T74" fmla="*/ 1174 w 2377"/>
                <a:gd name="T75" fmla="*/ 1470 h 2180"/>
                <a:gd name="T76" fmla="*/ 1059 w 2377"/>
                <a:gd name="T77" fmla="*/ 1604 h 2180"/>
                <a:gd name="T78" fmla="*/ 1017 w 2377"/>
                <a:gd name="T79" fmla="*/ 1726 h 2180"/>
                <a:gd name="T80" fmla="*/ 903 w 2377"/>
                <a:gd name="T81" fmla="*/ 1808 h 2180"/>
                <a:gd name="T82" fmla="*/ 863 w 2377"/>
                <a:gd name="T83" fmla="*/ 1907 h 2180"/>
                <a:gd name="T84" fmla="*/ 819 w 2377"/>
                <a:gd name="T85" fmla="*/ 1949 h 2180"/>
                <a:gd name="T86" fmla="*/ 806 w 2377"/>
                <a:gd name="T87" fmla="*/ 1904 h 2180"/>
                <a:gd name="T88" fmla="*/ 715 w 2377"/>
                <a:gd name="T89" fmla="*/ 1872 h 2180"/>
                <a:gd name="T90" fmla="*/ 653 w 2377"/>
                <a:gd name="T91" fmla="*/ 1781 h 2180"/>
                <a:gd name="T92" fmla="*/ 543 w 2377"/>
                <a:gd name="T93" fmla="*/ 1716 h 2180"/>
                <a:gd name="T94" fmla="*/ 440 w 2377"/>
                <a:gd name="T95" fmla="*/ 1684 h 2180"/>
                <a:gd name="T96" fmla="*/ 266 w 2377"/>
                <a:gd name="T97" fmla="*/ 1611 h 2180"/>
                <a:gd name="T98" fmla="*/ 222 w 2377"/>
                <a:gd name="T99" fmla="*/ 1534 h 2180"/>
                <a:gd name="T100" fmla="*/ 172 w 2377"/>
                <a:gd name="T101" fmla="*/ 1496 h 2180"/>
                <a:gd name="T102" fmla="*/ 68 w 2377"/>
                <a:gd name="T103" fmla="*/ 1628 h 2180"/>
                <a:gd name="T104" fmla="*/ 13 w 2377"/>
                <a:gd name="T105" fmla="*/ 1658 h 2180"/>
                <a:gd name="T106" fmla="*/ 5 w 2377"/>
                <a:gd name="T107" fmla="*/ 1724 h 2180"/>
                <a:gd name="T108" fmla="*/ 25 w 2377"/>
                <a:gd name="T109" fmla="*/ 1804 h 2180"/>
                <a:gd name="T110" fmla="*/ 547 w 2377"/>
                <a:gd name="T111" fmla="*/ 1945 h 2180"/>
                <a:gd name="T112" fmla="*/ 637 w 2377"/>
                <a:gd name="T113" fmla="*/ 2075 h 2180"/>
                <a:gd name="T114" fmla="*/ 722 w 2377"/>
                <a:gd name="T115" fmla="*/ 2172 h 2180"/>
                <a:gd name="T116" fmla="*/ 873 w 2377"/>
                <a:gd name="T117" fmla="*/ 2167 h 2180"/>
                <a:gd name="T118" fmla="*/ 1074 w 2377"/>
                <a:gd name="T119" fmla="*/ 2059 h 2180"/>
                <a:gd name="T120" fmla="*/ 1249 w 2377"/>
                <a:gd name="T121" fmla="*/ 2039 h 2180"/>
                <a:gd name="T122" fmla="*/ 1420 w 2377"/>
                <a:gd name="T123" fmla="*/ 2091 h 218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377"/>
                <a:gd name="T187" fmla="*/ 0 h 2180"/>
                <a:gd name="T188" fmla="*/ 2377 w 2377"/>
                <a:gd name="T189" fmla="*/ 2180 h 218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377" h="2180">
                  <a:moveTo>
                    <a:pt x="1456" y="2079"/>
                  </a:moveTo>
                  <a:lnTo>
                    <a:pt x="1456" y="2084"/>
                  </a:lnTo>
                  <a:lnTo>
                    <a:pt x="1459" y="2071"/>
                  </a:lnTo>
                  <a:lnTo>
                    <a:pt x="1464" y="2059"/>
                  </a:lnTo>
                  <a:lnTo>
                    <a:pt x="1470" y="2048"/>
                  </a:lnTo>
                  <a:lnTo>
                    <a:pt x="1476" y="2037"/>
                  </a:lnTo>
                  <a:lnTo>
                    <a:pt x="1492" y="2019"/>
                  </a:lnTo>
                  <a:lnTo>
                    <a:pt x="1510" y="2000"/>
                  </a:lnTo>
                  <a:lnTo>
                    <a:pt x="1527" y="1983"/>
                  </a:lnTo>
                  <a:lnTo>
                    <a:pt x="1542" y="1965"/>
                  </a:lnTo>
                  <a:lnTo>
                    <a:pt x="1548" y="1955"/>
                  </a:lnTo>
                  <a:lnTo>
                    <a:pt x="1554" y="1944"/>
                  </a:lnTo>
                  <a:lnTo>
                    <a:pt x="1556" y="1933"/>
                  </a:lnTo>
                  <a:lnTo>
                    <a:pt x="1559" y="1921"/>
                  </a:lnTo>
                  <a:lnTo>
                    <a:pt x="1538" y="1917"/>
                  </a:lnTo>
                  <a:lnTo>
                    <a:pt x="1507" y="1911"/>
                  </a:lnTo>
                  <a:lnTo>
                    <a:pt x="1499" y="1908"/>
                  </a:lnTo>
                  <a:lnTo>
                    <a:pt x="1492" y="1905"/>
                  </a:lnTo>
                  <a:lnTo>
                    <a:pt x="1486" y="1901"/>
                  </a:lnTo>
                  <a:lnTo>
                    <a:pt x="1480" y="1897"/>
                  </a:lnTo>
                  <a:lnTo>
                    <a:pt x="1475" y="1893"/>
                  </a:lnTo>
                  <a:lnTo>
                    <a:pt x="1471" y="1887"/>
                  </a:lnTo>
                  <a:lnTo>
                    <a:pt x="1470" y="1881"/>
                  </a:lnTo>
                  <a:lnTo>
                    <a:pt x="1468" y="1873"/>
                  </a:lnTo>
                  <a:lnTo>
                    <a:pt x="1470" y="1859"/>
                  </a:lnTo>
                  <a:lnTo>
                    <a:pt x="1474" y="1845"/>
                  </a:lnTo>
                  <a:lnTo>
                    <a:pt x="1479" y="1832"/>
                  </a:lnTo>
                  <a:lnTo>
                    <a:pt x="1486" y="1820"/>
                  </a:lnTo>
                  <a:lnTo>
                    <a:pt x="1502" y="1799"/>
                  </a:lnTo>
                  <a:lnTo>
                    <a:pt x="1516" y="1777"/>
                  </a:lnTo>
                  <a:lnTo>
                    <a:pt x="1506" y="1768"/>
                  </a:lnTo>
                  <a:lnTo>
                    <a:pt x="1494" y="1756"/>
                  </a:lnTo>
                  <a:lnTo>
                    <a:pt x="1488" y="1750"/>
                  </a:lnTo>
                  <a:lnTo>
                    <a:pt x="1484" y="1743"/>
                  </a:lnTo>
                  <a:lnTo>
                    <a:pt x="1482" y="1734"/>
                  </a:lnTo>
                  <a:lnTo>
                    <a:pt x="1480" y="1723"/>
                  </a:lnTo>
                  <a:lnTo>
                    <a:pt x="1482" y="1716"/>
                  </a:lnTo>
                  <a:lnTo>
                    <a:pt x="1483" y="1711"/>
                  </a:lnTo>
                  <a:lnTo>
                    <a:pt x="1487" y="1706"/>
                  </a:lnTo>
                  <a:lnTo>
                    <a:pt x="1491" y="1702"/>
                  </a:lnTo>
                  <a:lnTo>
                    <a:pt x="1498" y="1698"/>
                  </a:lnTo>
                  <a:lnTo>
                    <a:pt x="1504" y="1694"/>
                  </a:lnTo>
                  <a:lnTo>
                    <a:pt x="1511" y="1691"/>
                  </a:lnTo>
                  <a:lnTo>
                    <a:pt x="1520" y="1688"/>
                  </a:lnTo>
                  <a:lnTo>
                    <a:pt x="1538" y="1684"/>
                  </a:lnTo>
                  <a:lnTo>
                    <a:pt x="1556" y="1683"/>
                  </a:lnTo>
                  <a:lnTo>
                    <a:pt x="1576" y="1682"/>
                  </a:lnTo>
                  <a:lnTo>
                    <a:pt x="1595" y="1680"/>
                  </a:lnTo>
                  <a:lnTo>
                    <a:pt x="1604" y="1680"/>
                  </a:lnTo>
                  <a:lnTo>
                    <a:pt x="1612" y="1678"/>
                  </a:lnTo>
                  <a:lnTo>
                    <a:pt x="1620" y="1674"/>
                  </a:lnTo>
                  <a:lnTo>
                    <a:pt x="1627" y="1670"/>
                  </a:lnTo>
                  <a:lnTo>
                    <a:pt x="1638" y="1658"/>
                  </a:lnTo>
                  <a:lnTo>
                    <a:pt x="1647" y="1644"/>
                  </a:lnTo>
                  <a:lnTo>
                    <a:pt x="1656" y="1631"/>
                  </a:lnTo>
                  <a:lnTo>
                    <a:pt x="1668" y="1620"/>
                  </a:lnTo>
                  <a:lnTo>
                    <a:pt x="1676" y="1615"/>
                  </a:lnTo>
                  <a:lnTo>
                    <a:pt x="1684" y="1612"/>
                  </a:lnTo>
                  <a:lnTo>
                    <a:pt x="1692" y="1610"/>
                  </a:lnTo>
                  <a:lnTo>
                    <a:pt x="1703" y="1608"/>
                  </a:lnTo>
                  <a:lnTo>
                    <a:pt x="1731" y="1610"/>
                  </a:lnTo>
                  <a:lnTo>
                    <a:pt x="1759" y="1608"/>
                  </a:lnTo>
                  <a:lnTo>
                    <a:pt x="1772" y="1607"/>
                  </a:lnTo>
                  <a:lnTo>
                    <a:pt x="1784" y="1603"/>
                  </a:lnTo>
                  <a:lnTo>
                    <a:pt x="1791" y="1602"/>
                  </a:lnTo>
                  <a:lnTo>
                    <a:pt x="1796" y="1598"/>
                  </a:lnTo>
                  <a:lnTo>
                    <a:pt x="1802" y="1595"/>
                  </a:lnTo>
                  <a:lnTo>
                    <a:pt x="1806" y="1591"/>
                  </a:lnTo>
                  <a:lnTo>
                    <a:pt x="1811" y="1583"/>
                  </a:lnTo>
                  <a:lnTo>
                    <a:pt x="1814" y="1576"/>
                  </a:lnTo>
                  <a:lnTo>
                    <a:pt x="1815" y="1568"/>
                  </a:lnTo>
                  <a:lnTo>
                    <a:pt x="1815" y="1559"/>
                  </a:lnTo>
                  <a:lnTo>
                    <a:pt x="1815" y="1551"/>
                  </a:lnTo>
                  <a:lnTo>
                    <a:pt x="1816" y="1542"/>
                  </a:lnTo>
                  <a:lnTo>
                    <a:pt x="1819" y="1534"/>
                  </a:lnTo>
                  <a:lnTo>
                    <a:pt x="1824" y="1524"/>
                  </a:lnTo>
                  <a:lnTo>
                    <a:pt x="1846" y="1503"/>
                  </a:lnTo>
                  <a:lnTo>
                    <a:pt x="1864" y="1486"/>
                  </a:lnTo>
                  <a:lnTo>
                    <a:pt x="1882" y="1467"/>
                  </a:lnTo>
                  <a:lnTo>
                    <a:pt x="1898" y="1450"/>
                  </a:lnTo>
                  <a:lnTo>
                    <a:pt x="1904" y="1440"/>
                  </a:lnTo>
                  <a:lnTo>
                    <a:pt x="1911" y="1430"/>
                  </a:lnTo>
                  <a:lnTo>
                    <a:pt x="1918" y="1419"/>
                  </a:lnTo>
                  <a:lnTo>
                    <a:pt x="1924" y="1407"/>
                  </a:lnTo>
                  <a:lnTo>
                    <a:pt x="1930" y="1394"/>
                  </a:lnTo>
                  <a:lnTo>
                    <a:pt x="1935" y="1378"/>
                  </a:lnTo>
                  <a:lnTo>
                    <a:pt x="1940" y="1362"/>
                  </a:lnTo>
                  <a:lnTo>
                    <a:pt x="1944" y="1343"/>
                  </a:lnTo>
                  <a:lnTo>
                    <a:pt x="1956" y="1343"/>
                  </a:lnTo>
                  <a:lnTo>
                    <a:pt x="1968" y="1340"/>
                  </a:lnTo>
                  <a:lnTo>
                    <a:pt x="1980" y="1338"/>
                  </a:lnTo>
                  <a:lnTo>
                    <a:pt x="1992" y="1332"/>
                  </a:lnTo>
                  <a:lnTo>
                    <a:pt x="2004" y="1327"/>
                  </a:lnTo>
                  <a:lnTo>
                    <a:pt x="2015" y="1320"/>
                  </a:lnTo>
                  <a:lnTo>
                    <a:pt x="2027" y="1314"/>
                  </a:lnTo>
                  <a:lnTo>
                    <a:pt x="2038" y="1306"/>
                  </a:lnTo>
                  <a:lnTo>
                    <a:pt x="2057" y="1288"/>
                  </a:lnTo>
                  <a:lnTo>
                    <a:pt x="2076" y="1270"/>
                  </a:lnTo>
                  <a:lnTo>
                    <a:pt x="2092" y="1252"/>
                  </a:lnTo>
                  <a:lnTo>
                    <a:pt x="2107" y="1235"/>
                  </a:lnTo>
                  <a:lnTo>
                    <a:pt x="2123" y="1222"/>
                  </a:lnTo>
                  <a:lnTo>
                    <a:pt x="2137" y="1211"/>
                  </a:lnTo>
                  <a:lnTo>
                    <a:pt x="2151" y="1199"/>
                  </a:lnTo>
                  <a:lnTo>
                    <a:pt x="2161" y="1186"/>
                  </a:lnTo>
                  <a:lnTo>
                    <a:pt x="2167" y="1179"/>
                  </a:lnTo>
                  <a:lnTo>
                    <a:pt x="2172" y="1173"/>
                  </a:lnTo>
                  <a:lnTo>
                    <a:pt x="2176" y="1165"/>
                  </a:lnTo>
                  <a:lnTo>
                    <a:pt x="2179" y="1157"/>
                  </a:lnTo>
                  <a:lnTo>
                    <a:pt x="2181" y="1147"/>
                  </a:lnTo>
                  <a:lnTo>
                    <a:pt x="2184" y="1138"/>
                  </a:lnTo>
                  <a:lnTo>
                    <a:pt x="2184" y="1127"/>
                  </a:lnTo>
                  <a:lnTo>
                    <a:pt x="2185" y="1115"/>
                  </a:lnTo>
                  <a:lnTo>
                    <a:pt x="2184" y="1101"/>
                  </a:lnTo>
                  <a:lnTo>
                    <a:pt x="2180" y="1087"/>
                  </a:lnTo>
                  <a:lnTo>
                    <a:pt x="2175" y="1075"/>
                  </a:lnTo>
                  <a:lnTo>
                    <a:pt x="2168" y="1065"/>
                  </a:lnTo>
                  <a:lnTo>
                    <a:pt x="2160" y="1055"/>
                  </a:lnTo>
                  <a:lnTo>
                    <a:pt x="2151" y="1047"/>
                  </a:lnTo>
                  <a:lnTo>
                    <a:pt x="2141" y="1039"/>
                  </a:lnTo>
                  <a:lnTo>
                    <a:pt x="2131" y="1033"/>
                  </a:lnTo>
                  <a:lnTo>
                    <a:pt x="2111" y="1018"/>
                  </a:lnTo>
                  <a:lnTo>
                    <a:pt x="2093" y="1002"/>
                  </a:lnTo>
                  <a:lnTo>
                    <a:pt x="2087" y="993"/>
                  </a:lnTo>
                  <a:lnTo>
                    <a:pt x="2081" y="982"/>
                  </a:lnTo>
                  <a:lnTo>
                    <a:pt x="2077" y="971"/>
                  </a:lnTo>
                  <a:lnTo>
                    <a:pt x="2076" y="958"/>
                  </a:lnTo>
                  <a:lnTo>
                    <a:pt x="2077" y="951"/>
                  </a:lnTo>
                  <a:lnTo>
                    <a:pt x="2079" y="945"/>
                  </a:lnTo>
                  <a:lnTo>
                    <a:pt x="2081" y="938"/>
                  </a:lnTo>
                  <a:lnTo>
                    <a:pt x="2085" y="934"/>
                  </a:lnTo>
                  <a:lnTo>
                    <a:pt x="2095" y="925"/>
                  </a:lnTo>
                  <a:lnTo>
                    <a:pt x="2105" y="918"/>
                  </a:lnTo>
                  <a:lnTo>
                    <a:pt x="2119" y="911"/>
                  </a:lnTo>
                  <a:lnTo>
                    <a:pt x="2129" y="905"/>
                  </a:lnTo>
                  <a:lnTo>
                    <a:pt x="2136" y="901"/>
                  </a:lnTo>
                  <a:lnTo>
                    <a:pt x="2140" y="897"/>
                  </a:lnTo>
                  <a:lnTo>
                    <a:pt x="2145" y="891"/>
                  </a:lnTo>
                  <a:lnTo>
                    <a:pt x="2149" y="886"/>
                  </a:lnTo>
                  <a:lnTo>
                    <a:pt x="2163" y="854"/>
                  </a:lnTo>
                  <a:lnTo>
                    <a:pt x="2176" y="819"/>
                  </a:lnTo>
                  <a:lnTo>
                    <a:pt x="2192" y="783"/>
                  </a:lnTo>
                  <a:lnTo>
                    <a:pt x="2208" y="746"/>
                  </a:lnTo>
                  <a:lnTo>
                    <a:pt x="2216" y="729"/>
                  </a:lnTo>
                  <a:lnTo>
                    <a:pt x="2225" y="711"/>
                  </a:lnTo>
                  <a:lnTo>
                    <a:pt x="2235" y="694"/>
                  </a:lnTo>
                  <a:lnTo>
                    <a:pt x="2245" y="679"/>
                  </a:lnTo>
                  <a:lnTo>
                    <a:pt x="2256" y="665"/>
                  </a:lnTo>
                  <a:lnTo>
                    <a:pt x="2268" y="653"/>
                  </a:lnTo>
                  <a:lnTo>
                    <a:pt x="2280" y="642"/>
                  </a:lnTo>
                  <a:lnTo>
                    <a:pt x="2293" y="633"/>
                  </a:lnTo>
                  <a:lnTo>
                    <a:pt x="2321" y="617"/>
                  </a:lnTo>
                  <a:lnTo>
                    <a:pt x="2349" y="600"/>
                  </a:lnTo>
                  <a:lnTo>
                    <a:pt x="2355" y="594"/>
                  </a:lnTo>
                  <a:lnTo>
                    <a:pt x="2360" y="589"/>
                  </a:lnTo>
                  <a:lnTo>
                    <a:pt x="2365" y="582"/>
                  </a:lnTo>
                  <a:lnTo>
                    <a:pt x="2369" y="574"/>
                  </a:lnTo>
                  <a:lnTo>
                    <a:pt x="2373" y="565"/>
                  </a:lnTo>
                  <a:lnTo>
                    <a:pt x="2376" y="556"/>
                  </a:lnTo>
                  <a:lnTo>
                    <a:pt x="2377" y="544"/>
                  </a:lnTo>
                  <a:lnTo>
                    <a:pt x="2377" y="530"/>
                  </a:lnTo>
                  <a:lnTo>
                    <a:pt x="2377" y="522"/>
                  </a:lnTo>
                  <a:lnTo>
                    <a:pt x="2376" y="514"/>
                  </a:lnTo>
                  <a:lnTo>
                    <a:pt x="2375" y="508"/>
                  </a:lnTo>
                  <a:lnTo>
                    <a:pt x="2372" y="501"/>
                  </a:lnTo>
                  <a:lnTo>
                    <a:pt x="2368" y="494"/>
                  </a:lnTo>
                  <a:lnTo>
                    <a:pt x="2364" y="489"/>
                  </a:lnTo>
                  <a:lnTo>
                    <a:pt x="2360" y="485"/>
                  </a:lnTo>
                  <a:lnTo>
                    <a:pt x="2355" y="480"/>
                  </a:lnTo>
                  <a:lnTo>
                    <a:pt x="2332" y="464"/>
                  </a:lnTo>
                  <a:lnTo>
                    <a:pt x="2305" y="446"/>
                  </a:lnTo>
                  <a:lnTo>
                    <a:pt x="2297" y="441"/>
                  </a:lnTo>
                  <a:lnTo>
                    <a:pt x="2291" y="436"/>
                  </a:lnTo>
                  <a:lnTo>
                    <a:pt x="2284" y="432"/>
                  </a:lnTo>
                  <a:lnTo>
                    <a:pt x="2276" y="429"/>
                  </a:lnTo>
                  <a:lnTo>
                    <a:pt x="2263" y="426"/>
                  </a:lnTo>
                  <a:lnTo>
                    <a:pt x="2249" y="425"/>
                  </a:lnTo>
                  <a:lnTo>
                    <a:pt x="2236" y="425"/>
                  </a:lnTo>
                  <a:lnTo>
                    <a:pt x="2221" y="424"/>
                  </a:lnTo>
                  <a:lnTo>
                    <a:pt x="2204" y="421"/>
                  </a:lnTo>
                  <a:lnTo>
                    <a:pt x="2185" y="417"/>
                  </a:lnTo>
                  <a:lnTo>
                    <a:pt x="2179" y="402"/>
                  </a:lnTo>
                  <a:lnTo>
                    <a:pt x="2163" y="369"/>
                  </a:lnTo>
                  <a:lnTo>
                    <a:pt x="2147" y="333"/>
                  </a:lnTo>
                  <a:lnTo>
                    <a:pt x="2137" y="308"/>
                  </a:lnTo>
                  <a:lnTo>
                    <a:pt x="2129" y="290"/>
                  </a:lnTo>
                  <a:lnTo>
                    <a:pt x="2123" y="274"/>
                  </a:lnTo>
                  <a:lnTo>
                    <a:pt x="2113" y="260"/>
                  </a:lnTo>
                  <a:lnTo>
                    <a:pt x="2105" y="245"/>
                  </a:lnTo>
                  <a:lnTo>
                    <a:pt x="2085" y="214"/>
                  </a:lnTo>
                  <a:lnTo>
                    <a:pt x="2064" y="181"/>
                  </a:lnTo>
                  <a:lnTo>
                    <a:pt x="2057" y="173"/>
                  </a:lnTo>
                  <a:lnTo>
                    <a:pt x="2047" y="164"/>
                  </a:lnTo>
                  <a:lnTo>
                    <a:pt x="2043" y="158"/>
                  </a:lnTo>
                  <a:lnTo>
                    <a:pt x="2039" y="152"/>
                  </a:lnTo>
                  <a:lnTo>
                    <a:pt x="2036" y="144"/>
                  </a:lnTo>
                  <a:lnTo>
                    <a:pt x="2035" y="133"/>
                  </a:lnTo>
                  <a:lnTo>
                    <a:pt x="2035" y="124"/>
                  </a:lnTo>
                  <a:lnTo>
                    <a:pt x="2035" y="113"/>
                  </a:lnTo>
                  <a:lnTo>
                    <a:pt x="2036" y="102"/>
                  </a:lnTo>
                  <a:lnTo>
                    <a:pt x="2039" y="92"/>
                  </a:lnTo>
                  <a:lnTo>
                    <a:pt x="2042" y="82"/>
                  </a:lnTo>
                  <a:lnTo>
                    <a:pt x="2047" y="74"/>
                  </a:lnTo>
                  <a:lnTo>
                    <a:pt x="2051" y="72"/>
                  </a:lnTo>
                  <a:lnTo>
                    <a:pt x="2055" y="69"/>
                  </a:lnTo>
                  <a:lnTo>
                    <a:pt x="2059" y="68"/>
                  </a:lnTo>
                  <a:lnTo>
                    <a:pt x="2064" y="68"/>
                  </a:lnTo>
                  <a:lnTo>
                    <a:pt x="2076" y="30"/>
                  </a:lnTo>
                  <a:lnTo>
                    <a:pt x="2076" y="1"/>
                  </a:lnTo>
                  <a:lnTo>
                    <a:pt x="2065" y="0"/>
                  </a:lnTo>
                  <a:lnTo>
                    <a:pt x="2055" y="1"/>
                  </a:lnTo>
                  <a:lnTo>
                    <a:pt x="2044" y="3"/>
                  </a:lnTo>
                  <a:lnTo>
                    <a:pt x="2036" y="5"/>
                  </a:lnTo>
                  <a:lnTo>
                    <a:pt x="2027" y="9"/>
                  </a:lnTo>
                  <a:lnTo>
                    <a:pt x="2019" y="13"/>
                  </a:lnTo>
                  <a:lnTo>
                    <a:pt x="2012" y="19"/>
                  </a:lnTo>
                  <a:lnTo>
                    <a:pt x="2006" y="24"/>
                  </a:lnTo>
                  <a:lnTo>
                    <a:pt x="1992" y="37"/>
                  </a:lnTo>
                  <a:lnTo>
                    <a:pt x="1982" y="53"/>
                  </a:lnTo>
                  <a:lnTo>
                    <a:pt x="1972" y="70"/>
                  </a:lnTo>
                  <a:lnTo>
                    <a:pt x="1963" y="88"/>
                  </a:lnTo>
                  <a:lnTo>
                    <a:pt x="1946" y="126"/>
                  </a:lnTo>
                  <a:lnTo>
                    <a:pt x="1927" y="162"/>
                  </a:lnTo>
                  <a:lnTo>
                    <a:pt x="1916" y="178"/>
                  </a:lnTo>
                  <a:lnTo>
                    <a:pt x="1903" y="192"/>
                  </a:lnTo>
                  <a:lnTo>
                    <a:pt x="1896" y="198"/>
                  </a:lnTo>
                  <a:lnTo>
                    <a:pt x="1888" y="204"/>
                  </a:lnTo>
                  <a:lnTo>
                    <a:pt x="1880" y="208"/>
                  </a:lnTo>
                  <a:lnTo>
                    <a:pt x="1872" y="212"/>
                  </a:lnTo>
                  <a:lnTo>
                    <a:pt x="1868" y="216"/>
                  </a:lnTo>
                  <a:lnTo>
                    <a:pt x="1866" y="224"/>
                  </a:lnTo>
                  <a:lnTo>
                    <a:pt x="1863" y="233"/>
                  </a:lnTo>
                  <a:lnTo>
                    <a:pt x="1859" y="244"/>
                  </a:lnTo>
                  <a:lnTo>
                    <a:pt x="1855" y="254"/>
                  </a:lnTo>
                  <a:lnTo>
                    <a:pt x="1847" y="264"/>
                  </a:lnTo>
                  <a:lnTo>
                    <a:pt x="1843" y="266"/>
                  </a:lnTo>
                  <a:lnTo>
                    <a:pt x="1838" y="269"/>
                  </a:lnTo>
                  <a:lnTo>
                    <a:pt x="1831" y="272"/>
                  </a:lnTo>
                  <a:lnTo>
                    <a:pt x="1824" y="272"/>
                  </a:lnTo>
                  <a:lnTo>
                    <a:pt x="1816" y="272"/>
                  </a:lnTo>
                  <a:lnTo>
                    <a:pt x="1810" y="269"/>
                  </a:lnTo>
                  <a:lnTo>
                    <a:pt x="1802" y="266"/>
                  </a:lnTo>
                  <a:lnTo>
                    <a:pt x="1795" y="262"/>
                  </a:lnTo>
                  <a:lnTo>
                    <a:pt x="1783" y="257"/>
                  </a:lnTo>
                  <a:lnTo>
                    <a:pt x="1776" y="254"/>
                  </a:lnTo>
                  <a:lnTo>
                    <a:pt x="1767" y="254"/>
                  </a:lnTo>
                  <a:lnTo>
                    <a:pt x="1759" y="257"/>
                  </a:lnTo>
                  <a:lnTo>
                    <a:pt x="1752" y="260"/>
                  </a:lnTo>
                  <a:lnTo>
                    <a:pt x="1746" y="262"/>
                  </a:lnTo>
                  <a:lnTo>
                    <a:pt x="1739" y="266"/>
                  </a:lnTo>
                  <a:lnTo>
                    <a:pt x="1731" y="269"/>
                  </a:lnTo>
                  <a:lnTo>
                    <a:pt x="1724" y="272"/>
                  </a:lnTo>
                  <a:lnTo>
                    <a:pt x="1715" y="272"/>
                  </a:lnTo>
                  <a:lnTo>
                    <a:pt x="1708" y="272"/>
                  </a:lnTo>
                  <a:lnTo>
                    <a:pt x="1702" y="270"/>
                  </a:lnTo>
                  <a:lnTo>
                    <a:pt x="1696" y="269"/>
                  </a:lnTo>
                  <a:lnTo>
                    <a:pt x="1691" y="266"/>
                  </a:lnTo>
                  <a:lnTo>
                    <a:pt x="1683" y="260"/>
                  </a:lnTo>
                  <a:lnTo>
                    <a:pt x="1676" y="252"/>
                  </a:lnTo>
                  <a:lnTo>
                    <a:pt x="1671" y="244"/>
                  </a:lnTo>
                  <a:lnTo>
                    <a:pt x="1667" y="236"/>
                  </a:lnTo>
                  <a:lnTo>
                    <a:pt x="1662" y="229"/>
                  </a:lnTo>
                  <a:lnTo>
                    <a:pt x="1655" y="224"/>
                  </a:lnTo>
                  <a:lnTo>
                    <a:pt x="1647" y="232"/>
                  </a:lnTo>
                  <a:lnTo>
                    <a:pt x="1639" y="240"/>
                  </a:lnTo>
                  <a:lnTo>
                    <a:pt x="1628" y="246"/>
                  </a:lnTo>
                  <a:lnTo>
                    <a:pt x="1616" y="250"/>
                  </a:lnTo>
                  <a:lnTo>
                    <a:pt x="1604" y="254"/>
                  </a:lnTo>
                  <a:lnTo>
                    <a:pt x="1592" y="257"/>
                  </a:lnTo>
                  <a:lnTo>
                    <a:pt x="1579" y="260"/>
                  </a:lnTo>
                  <a:lnTo>
                    <a:pt x="1564" y="260"/>
                  </a:lnTo>
                  <a:lnTo>
                    <a:pt x="1558" y="258"/>
                  </a:lnTo>
                  <a:lnTo>
                    <a:pt x="1548" y="254"/>
                  </a:lnTo>
                  <a:lnTo>
                    <a:pt x="1539" y="249"/>
                  </a:lnTo>
                  <a:lnTo>
                    <a:pt x="1530" y="242"/>
                  </a:lnTo>
                  <a:lnTo>
                    <a:pt x="1514" y="229"/>
                  </a:lnTo>
                  <a:lnTo>
                    <a:pt x="1504" y="224"/>
                  </a:lnTo>
                  <a:lnTo>
                    <a:pt x="1500" y="226"/>
                  </a:lnTo>
                  <a:lnTo>
                    <a:pt x="1496" y="230"/>
                  </a:lnTo>
                  <a:lnTo>
                    <a:pt x="1494" y="236"/>
                  </a:lnTo>
                  <a:lnTo>
                    <a:pt x="1491" y="242"/>
                  </a:lnTo>
                  <a:lnTo>
                    <a:pt x="1488" y="256"/>
                  </a:lnTo>
                  <a:lnTo>
                    <a:pt x="1486" y="272"/>
                  </a:lnTo>
                  <a:lnTo>
                    <a:pt x="1483" y="300"/>
                  </a:lnTo>
                  <a:lnTo>
                    <a:pt x="1480" y="314"/>
                  </a:lnTo>
                  <a:lnTo>
                    <a:pt x="1470" y="317"/>
                  </a:lnTo>
                  <a:lnTo>
                    <a:pt x="1460" y="320"/>
                  </a:lnTo>
                  <a:lnTo>
                    <a:pt x="1450" y="321"/>
                  </a:lnTo>
                  <a:lnTo>
                    <a:pt x="1439" y="321"/>
                  </a:lnTo>
                  <a:lnTo>
                    <a:pt x="1418" y="321"/>
                  </a:lnTo>
                  <a:lnTo>
                    <a:pt x="1396" y="320"/>
                  </a:lnTo>
                  <a:lnTo>
                    <a:pt x="1378" y="320"/>
                  </a:lnTo>
                  <a:lnTo>
                    <a:pt x="1362" y="320"/>
                  </a:lnTo>
                  <a:lnTo>
                    <a:pt x="1354" y="320"/>
                  </a:lnTo>
                  <a:lnTo>
                    <a:pt x="1347" y="321"/>
                  </a:lnTo>
                  <a:lnTo>
                    <a:pt x="1340" y="324"/>
                  </a:lnTo>
                  <a:lnTo>
                    <a:pt x="1336" y="326"/>
                  </a:lnTo>
                  <a:lnTo>
                    <a:pt x="1330" y="330"/>
                  </a:lnTo>
                  <a:lnTo>
                    <a:pt x="1326" y="336"/>
                  </a:lnTo>
                  <a:lnTo>
                    <a:pt x="1322" y="340"/>
                  </a:lnTo>
                  <a:lnTo>
                    <a:pt x="1319" y="345"/>
                  </a:lnTo>
                  <a:lnTo>
                    <a:pt x="1316" y="356"/>
                  </a:lnTo>
                  <a:lnTo>
                    <a:pt x="1316" y="365"/>
                  </a:lnTo>
                  <a:lnTo>
                    <a:pt x="1316" y="376"/>
                  </a:lnTo>
                  <a:lnTo>
                    <a:pt x="1315" y="385"/>
                  </a:lnTo>
                  <a:lnTo>
                    <a:pt x="1315" y="390"/>
                  </a:lnTo>
                  <a:lnTo>
                    <a:pt x="1312" y="396"/>
                  </a:lnTo>
                  <a:lnTo>
                    <a:pt x="1310" y="400"/>
                  </a:lnTo>
                  <a:lnTo>
                    <a:pt x="1306" y="405"/>
                  </a:lnTo>
                  <a:lnTo>
                    <a:pt x="1299" y="410"/>
                  </a:lnTo>
                  <a:lnTo>
                    <a:pt x="1290" y="416"/>
                  </a:lnTo>
                  <a:lnTo>
                    <a:pt x="1282" y="421"/>
                  </a:lnTo>
                  <a:lnTo>
                    <a:pt x="1273" y="425"/>
                  </a:lnTo>
                  <a:lnTo>
                    <a:pt x="1253" y="432"/>
                  </a:lnTo>
                  <a:lnTo>
                    <a:pt x="1233" y="440"/>
                  </a:lnTo>
                  <a:lnTo>
                    <a:pt x="1223" y="444"/>
                  </a:lnTo>
                  <a:lnTo>
                    <a:pt x="1214" y="448"/>
                  </a:lnTo>
                  <a:lnTo>
                    <a:pt x="1206" y="454"/>
                  </a:lnTo>
                  <a:lnTo>
                    <a:pt x="1199" y="461"/>
                  </a:lnTo>
                  <a:lnTo>
                    <a:pt x="1194" y="468"/>
                  </a:lnTo>
                  <a:lnTo>
                    <a:pt x="1190" y="477"/>
                  </a:lnTo>
                  <a:lnTo>
                    <a:pt x="1186" y="488"/>
                  </a:lnTo>
                  <a:lnTo>
                    <a:pt x="1186" y="501"/>
                  </a:lnTo>
                  <a:lnTo>
                    <a:pt x="1186" y="509"/>
                  </a:lnTo>
                  <a:lnTo>
                    <a:pt x="1189" y="518"/>
                  </a:lnTo>
                  <a:lnTo>
                    <a:pt x="1193" y="526"/>
                  </a:lnTo>
                  <a:lnTo>
                    <a:pt x="1198" y="534"/>
                  </a:lnTo>
                  <a:lnTo>
                    <a:pt x="1205" y="541"/>
                  </a:lnTo>
                  <a:lnTo>
                    <a:pt x="1211" y="548"/>
                  </a:lnTo>
                  <a:lnTo>
                    <a:pt x="1219" y="554"/>
                  </a:lnTo>
                  <a:lnTo>
                    <a:pt x="1227" y="560"/>
                  </a:lnTo>
                  <a:lnTo>
                    <a:pt x="1262" y="581"/>
                  </a:lnTo>
                  <a:lnTo>
                    <a:pt x="1289" y="597"/>
                  </a:lnTo>
                  <a:lnTo>
                    <a:pt x="1275" y="609"/>
                  </a:lnTo>
                  <a:lnTo>
                    <a:pt x="1265" y="619"/>
                  </a:lnTo>
                  <a:lnTo>
                    <a:pt x="1255" y="633"/>
                  </a:lnTo>
                  <a:lnTo>
                    <a:pt x="1247" y="645"/>
                  </a:lnTo>
                  <a:lnTo>
                    <a:pt x="1242" y="659"/>
                  </a:lnTo>
                  <a:lnTo>
                    <a:pt x="1237" y="675"/>
                  </a:lnTo>
                  <a:lnTo>
                    <a:pt x="1235" y="693"/>
                  </a:lnTo>
                  <a:lnTo>
                    <a:pt x="1234" y="711"/>
                  </a:lnTo>
                  <a:lnTo>
                    <a:pt x="1235" y="727"/>
                  </a:lnTo>
                  <a:lnTo>
                    <a:pt x="1238" y="745"/>
                  </a:lnTo>
                  <a:lnTo>
                    <a:pt x="1243" y="761"/>
                  </a:lnTo>
                  <a:lnTo>
                    <a:pt x="1250" y="777"/>
                  </a:lnTo>
                  <a:lnTo>
                    <a:pt x="1258" y="791"/>
                  </a:lnTo>
                  <a:lnTo>
                    <a:pt x="1267" y="803"/>
                  </a:lnTo>
                  <a:lnTo>
                    <a:pt x="1271" y="809"/>
                  </a:lnTo>
                  <a:lnTo>
                    <a:pt x="1277" y="814"/>
                  </a:lnTo>
                  <a:lnTo>
                    <a:pt x="1282" y="817"/>
                  </a:lnTo>
                  <a:lnTo>
                    <a:pt x="1289" y="819"/>
                  </a:lnTo>
                  <a:lnTo>
                    <a:pt x="1295" y="842"/>
                  </a:lnTo>
                  <a:lnTo>
                    <a:pt x="1300" y="865"/>
                  </a:lnTo>
                  <a:lnTo>
                    <a:pt x="1303" y="886"/>
                  </a:lnTo>
                  <a:lnTo>
                    <a:pt x="1307" y="906"/>
                  </a:lnTo>
                  <a:lnTo>
                    <a:pt x="1310" y="915"/>
                  </a:lnTo>
                  <a:lnTo>
                    <a:pt x="1312" y="923"/>
                  </a:lnTo>
                  <a:lnTo>
                    <a:pt x="1316" y="933"/>
                  </a:lnTo>
                  <a:lnTo>
                    <a:pt x="1322" y="941"/>
                  </a:lnTo>
                  <a:lnTo>
                    <a:pt x="1327" y="947"/>
                  </a:lnTo>
                  <a:lnTo>
                    <a:pt x="1335" y="954"/>
                  </a:lnTo>
                  <a:lnTo>
                    <a:pt x="1343" y="959"/>
                  </a:lnTo>
                  <a:lnTo>
                    <a:pt x="1354" y="965"/>
                  </a:lnTo>
                  <a:lnTo>
                    <a:pt x="1346" y="1009"/>
                  </a:lnTo>
                  <a:lnTo>
                    <a:pt x="1336" y="1061"/>
                  </a:lnTo>
                  <a:lnTo>
                    <a:pt x="1328" y="1114"/>
                  </a:lnTo>
                  <a:lnTo>
                    <a:pt x="1320" y="1166"/>
                  </a:lnTo>
                  <a:lnTo>
                    <a:pt x="1315" y="1212"/>
                  </a:lnTo>
                  <a:lnTo>
                    <a:pt x="1310" y="1251"/>
                  </a:lnTo>
                  <a:lnTo>
                    <a:pt x="1307" y="1278"/>
                  </a:lnTo>
                  <a:lnTo>
                    <a:pt x="1306" y="1290"/>
                  </a:lnTo>
                  <a:lnTo>
                    <a:pt x="1303" y="1296"/>
                  </a:lnTo>
                  <a:lnTo>
                    <a:pt x="1294" y="1314"/>
                  </a:lnTo>
                  <a:lnTo>
                    <a:pt x="1281" y="1336"/>
                  </a:lnTo>
                  <a:lnTo>
                    <a:pt x="1262" y="1364"/>
                  </a:lnTo>
                  <a:lnTo>
                    <a:pt x="1242" y="1394"/>
                  </a:lnTo>
                  <a:lnTo>
                    <a:pt x="1219" y="1422"/>
                  </a:lnTo>
                  <a:lnTo>
                    <a:pt x="1209" y="1436"/>
                  </a:lnTo>
                  <a:lnTo>
                    <a:pt x="1197" y="1448"/>
                  </a:lnTo>
                  <a:lnTo>
                    <a:pt x="1185" y="1460"/>
                  </a:lnTo>
                  <a:lnTo>
                    <a:pt x="1174" y="1470"/>
                  </a:lnTo>
                  <a:lnTo>
                    <a:pt x="1147" y="1491"/>
                  </a:lnTo>
                  <a:lnTo>
                    <a:pt x="1125" y="1512"/>
                  </a:lnTo>
                  <a:lnTo>
                    <a:pt x="1114" y="1523"/>
                  </a:lnTo>
                  <a:lnTo>
                    <a:pt x="1103" y="1534"/>
                  </a:lnTo>
                  <a:lnTo>
                    <a:pt x="1094" y="1546"/>
                  </a:lnTo>
                  <a:lnTo>
                    <a:pt x="1086" y="1556"/>
                  </a:lnTo>
                  <a:lnTo>
                    <a:pt x="1078" y="1568"/>
                  </a:lnTo>
                  <a:lnTo>
                    <a:pt x="1071" y="1580"/>
                  </a:lnTo>
                  <a:lnTo>
                    <a:pt x="1065" y="1592"/>
                  </a:lnTo>
                  <a:lnTo>
                    <a:pt x="1059" y="1604"/>
                  </a:lnTo>
                  <a:lnTo>
                    <a:pt x="1055" y="1618"/>
                  </a:lnTo>
                  <a:lnTo>
                    <a:pt x="1051" y="1630"/>
                  </a:lnTo>
                  <a:lnTo>
                    <a:pt x="1049" y="1643"/>
                  </a:lnTo>
                  <a:lnTo>
                    <a:pt x="1047" y="1656"/>
                  </a:lnTo>
                  <a:lnTo>
                    <a:pt x="1045" y="1668"/>
                  </a:lnTo>
                  <a:lnTo>
                    <a:pt x="1042" y="1679"/>
                  </a:lnTo>
                  <a:lnTo>
                    <a:pt x="1039" y="1688"/>
                  </a:lnTo>
                  <a:lnTo>
                    <a:pt x="1035" y="1698"/>
                  </a:lnTo>
                  <a:lnTo>
                    <a:pt x="1027" y="1714"/>
                  </a:lnTo>
                  <a:lnTo>
                    <a:pt x="1017" y="1726"/>
                  </a:lnTo>
                  <a:lnTo>
                    <a:pt x="1006" y="1738"/>
                  </a:lnTo>
                  <a:lnTo>
                    <a:pt x="994" y="1747"/>
                  </a:lnTo>
                  <a:lnTo>
                    <a:pt x="981" y="1754"/>
                  </a:lnTo>
                  <a:lnTo>
                    <a:pt x="969" y="1760"/>
                  </a:lnTo>
                  <a:lnTo>
                    <a:pt x="943" y="1772"/>
                  </a:lnTo>
                  <a:lnTo>
                    <a:pt x="922" y="1784"/>
                  </a:lnTo>
                  <a:lnTo>
                    <a:pt x="914" y="1791"/>
                  </a:lnTo>
                  <a:lnTo>
                    <a:pt x="909" y="1799"/>
                  </a:lnTo>
                  <a:lnTo>
                    <a:pt x="906" y="1803"/>
                  </a:lnTo>
                  <a:lnTo>
                    <a:pt x="903" y="1808"/>
                  </a:lnTo>
                  <a:lnTo>
                    <a:pt x="903" y="1813"/>
                  </a:lnTo>
                  <a:lnTo>
                    <a:pt x="902" y="1819"/>
                  </a:lnTo>
                  <a:lnTo>
                    <a:pt x="903" y="1828"/>
                  </a:lnTo>
                  <a:lnTo>
                    <a:pt x="905" y="1835"/>
                  </a:lnTo>
                  <a:lnTo>
                    <a:pt x="906" y="1843"/>
                  </a:lnTo>
                  <a:lnTo>
                    <a:pt x="909" y="1849"/>
                  </a:lnTo>
                  <a:lnTo>
                    <a:pt x="913" y="1863"/>
                  </a:lnTo>
                  <a:lnTo>
                    <a:pt x="914" y="1880"/>
                  </a:lnTo>
                  <a:lnTo>
                    <a:pt x="890" y="1895"/>
                  </a:lnTo>
                  <a:lnTo>
                    <a:pt x="863" y="1907"/>
                  </a:lnTo>
                  <a:lnTo>
                    <a:pt x="858" y="1911"/>
                  </a:lnTo>
                  <a:lnTo>
                    <a:pt x="851" y="1913"/>
                  </a:lnTo>
                  <a:lnTo>
                    <a:pt x="846" y="1919"/>
                  </a:lnTo>
                  <a:lnTo>
                    <a:pt x="842" y="1924"/>
                  </a:lnTo>
                  <a:lnTo>
                    <a:pt x="838" y="1929"/>
                  </a:lnTo>
                  <a:lnTo>
                    <a:pt x="834" y="1936"/>
                  </a:lnTo>
                  <a:lnTo>
                    <a:pt x="831" y="1943"/>
                  </a:lnTo>
                  <a:lnTo>
                    <a:pt x="830" y="1952"/>
                  </a:lnTo>
                  <a:lnTo>
                    <a:pt x="825" y="1951"/>
                  </a:lnTo>
                  <a:lnTo>
                    <a:pt x="819" y="1949"/>
                  </a:lnTo>
                  <a:lnTo>
                    <a:pt x="817" y="1947"/>
                  </a:lnTo>
                  <a:lnTo>
                    <a:pt x="814" y="1945"/>
                  </a:lnTo>
                  <a:lnTo>
                    <a:pt x="811" y="1940"/>
                  </a:lnTo>
                  <a:lnTo>
                    <a:pt x="811" y="1935"/>
                  </a:lnTo>
                  <a:lnTo>
                    <a:pt x="813" y="1928"/>
                  </a:lnTo>
                  <a:lnTo>
                    <a:pt x="813" y="1920"/>
                  </a:lnTo>
                  <a:lnTo>
                    <a:pt x="813" y="1916"/>
                  </a:lnTo>
                  <a:lnTo>
                    <a:pt x="811" y="1912"/>
                  </a:lnTo>
                  <a:lnTo>
                    <a:pt x="809" y="1908"/>
                  </a:lnTo>
                  <a:lnTo>
                    <a:pt x="806" y="1904"/>
                  </a:lnTo>
                  <a:lnTo>
                    <a:pt x="798" y="1888"/>
                  </a:lnTo>
                  <a:lnTo>
                    <a:pt x="790" y="1879"/>
                  </a:lnTo>
                  <a:lnTo>
                    <a:pt x="786" y="1875"/>
                  </a:lnTo>
                  <a:lnTo>
                    <a:pt x="782" y="1873"/>
                  </a:lnTo>
                  <a:lnTo>
                    <a:pt x="778" y="1871"/>
                  </a:lnTo>
                  <a:lnTo>
                    <a:pt x="774" y="1871"/>
                  </a:lnTo>
                  <a:lnTo>
                    <a:pt x="754" y="1871"/>
                  </a:lnTo>
                  <a:lnTo>
                    <a:pt x="727" y="1873"/>
                  </a:lnTo>
                  <a:lnTo>
                    <a:pt x="722" y="1873"/>
                  </a:lnTo>
                  <a:lnTo>
                    <a:pt x="715" y="1872"/>
                  </a:lnTo>
                  <a:lnTo>
                    <a:pt x="711" y="1869"/>
                  </a:lnTo>
                  <a:lnTo>
                    <a:pt x="707" y="1867"/>
                  </a:lnTo>
                  <a:lnTo>
                    <a:pt x="699" y="1860"/>
                  </a:lnTo>
                  <a:lnTo>
                    <a:pt x="695" y="1852"/>
                  </a:lnTo>
                  <a:lnTo>
                    <a:pt x="687" y="1832"/>
                  </a:lnTo>
                  <a:lnTo>
                    <a:pt x="679" y="1813"/>
                  </a:lnTo>
                  <a:lnTo>
                    <a:pt x="674" y="1804"/>
                  </a:lnTo>
                  <a:lnTo>
                    <a:pt x="667" y="1796"/>
                  </a:lnTo>
                  <a:lnTo>
                    <a:pt x="659" y="1788"/>
                  </a:lnTo>
                  <a:lnTo>
                    <a:pt x="653" y="1781"/>
                  </a:lnTo>
                  <a:lnTo>
                    <a:pt x="637" y="1771"/>
                  </a:lnTo>
                  <a:lnTo>
                    <a:pt x="619" y="1762"/>
                  </a:lnTo>
                  <a:lnTo>
                    <a:pt x="602" y="1752"/>
                  </a:lnTo>
                  <a:lnTo>
                    <a:pt x="586" y="1742"/>
                  </a:lnTo>
                  <a:lnTo>
                    <a:pt x="579" y="1736"/>
                  </a:lnTo>
                  <a:lnTo>
                    <a:pt x="571" y="1728"/>
                  </a:lnTo>
                  <a:lnTo>
                    <a:pt x="565" y="1720"/>
                  </a:lnTo>
                  <a:lnTo>
                    <a:pt x="559" y="1711"/>
                  </a:lnTo>
                  <a:lnTo>
                    <a:pt x="551" y="1715"/>
                  </a:lnTo>
                  <a:lnTo>
                    <a:pt x="543" y="1716"/>
                  </a:lnTo>
                  <a:lnTo>
                    <a:pt x="537" y="1716"/>
                  </a:lnTo>
                  <a:lnTo>
                    <a:pt x="530" y="1715"/>
                  </a:lnTo>
                  <a:lnTo>
                    <a:pt x="521" y="1712"/>
                  </a:lnTo>
                  <a:lnTo>
                    <a:pt x="512" y="1711"/>
                  </a:lnTo>
                  <a:lnTo>
                    <a:pt x="500" y="1711"/>
                  </a:lnTo>
                  <a:lnTo>
                    <a:pt x="489" y="1708"/>
                  </a:lnTo>
                  <a:lnTo>
                    <a:pt x="480" y="1707"/>
                  </a:lnTo>
                  <a:lnTo>
                    <a:pt x="470" y="1703"/>
                  </a:lnTo>
                  <a:lnTo>
                    <a:pt x="454" y="1695"/>
                  </a:lnTo>
                  <a:lnTo>
                    <a:pt x="440" y="1684"/>
                  </a:lnTo>
                  <a:lnTo>
                    <a:pt x="424" y="1672"/>
                  </a:lnTo>
                  <a:lnTo>
                    <a:pt x="408" y="1660"/>
                  </a:lnTo>
                  <a:lnTo>
                    <a:pt x="400" y="1655"/>
                  </a:lnTo>
                  <a:lnTo>
                    <a:pt x="389" y="1648"/>
                  </a:lnTo>
                  <a:lnTo>
                    <a:pt x="378" y="1643"/>
                  </a:lnTo>
                  <a:lnTo>
                    <a:pt x="366" y="1639"/>
                  </a:lnTo>
                  <a:lnTo>
                    <a:pt x="330" y="1628"/>
                  </a:lnTo>
                  <a:lnTo>
                    <a:pt x="297" y="1622"/>
                  </a:lnTo>
                  <a:lnTo>
                    <a:pt x="281" y="1616"/>
                  </a:lnTo>
                  <a:lnTo>
                    <a:pt x="266" y="1611"/>
                  </a:lnTo>
                  <a:lnTo>
                    <a:pt x="258" y="1607"/>
                  </a:lnTo>
                  <a:lnTo>
                    <a:pt x="253" y="1602"/>
                  </a:lnTo>
                  <a:lnTo>
                    <a:pt x="246" y="1596"/>
                  </a:lnTo>
                  <a:lnTo>
                    <a:pt x="240" y="1591"/>
                  </a:lnTo>
                  <a:lnTo>
                    <a:pt x="236" y="1586"/>
                  </a:lnTo>
                  <a:lnTo>
                    <a:pt x="233" y="1579"/>
                  </a:lnTo>
                  <a:lnTo>
                    <a:pt x="230" y="1572"/>
                  </a:lnTo>
                  <a:lnTo>
                    <a:pt x="229" y="1566"/>
                  </a:lnTo>
                  <a:lnTo>
                    <a:pt x="225" y="1550"/>
                  </a:lnTo>
                  <a:lnTo>
                    <a:pt x="222" y="1534"/>
                  </a:lnTo>
                  <a:lnTo>
                    <a:pt x="220" y="1526"/>
                  </a:lnTo>
                  <a:lnTo>
                    <a:pt x="218" y="1518"/>
                  </a:lnTo>
                  <a:lnTo>
                    <a:pt x="216" y="1511"/>
                  </a:lnTo>
                  <a:lnTo>
                    <a:pt x="212" y="1506"/>
                  </a:lnTo>
                  <a:lnTo>
                    <a:pt x="206" y="1500"/>
                  </a:lnTo>
                  <a:lnTo>
                    <a:pt x="201" y="1498"/>
                  </a:lnTo>
                  <a:lnTo>
                    <a:pt x="194" y="1495"/>
                  </a:lnTo>
                  <a:lnTo>
                    <a:pt x="186" y="1494"/>
                  </a:lnTo>
                  <a:lnTo>
                    <a:pt x="178" y="1495"/>
                  </a:lnTo>
                  <a:lnTo>
                    <a:pt x="172" y="1496"/>
                  </a:lnTo>
                  <a:lnTo>
                    <a:pt x="166" y="1499"/>
                  </a:lnTo>
                  <a:lnTo>
                    <a:pt x="160" y="1502"/>
                  </a:lnTo>
                  <a:lnTo>
                    <a:pt x="149" y="1510"/>
                  </a:lnTo>
                  <a:lnTo>
                    <a:pt x="140" y="1520"/>
                  </a:lnTo>
                  <a:lnTo>
                    <a:pt x="122" y="1548"/>
                  </a:lnTo>
                  <a:lnTo>
                    <a:pt x="105" y="1578"/>
                  </a:lnTo>
                  <a:lnTo>
                    <a:pt x="97" y="1592"/>
                  </a:lnTo>
                  <a:lnTo>
                    <a:pt x="88" y="1606"/>
                  </a:lnTo>
                  <a:lnTo>
                    <a:pt x="78" y="1619"/>
                  </a:lnTo>
                  <a:lnTo>
                    <a:pt x="68" y="1628"/>
                  </a:lnTo>
                  <a:lnTo>
                    <a:pt x="62" y="1634"/>
                  </a:lnTo>
                  <a:lnTo>
                    <a:pt x="57" y="1636"/>
                  </a:lnTo>
                  <a:lnTo>
                    <a:pt x="50" y="1639"/>
                  </a:lnTo>
                  <a:lnTo>
                    <a:pt x="44" y="1642"/>
                  </a:lnTo>
                  <a:lnTo>
                    <a:pt x="36" y="1642"/>
                  </a:lnTo>
                  <a:lnTo>
                    <a:pt x="28" y="1642"/>
                  </a:lnTo>
                  <a:lnTo>
                    <a:pt x="20" y="1640"/>
                  </a:lnTo>
                  <a:lnTo>
                    <a:pt x="12" y="1639"/>
                  </a:lnTo>
                  <a:lnTo>
                    <a:pt x="10" y="1648"/>
                  </a:lnTo>
                  <a:lnTo>
                    <a:pt x="13" y="1658"/>
                  </a:lnTo>
                  <a:lnTo>
                    <a:pt x="17" y="1667"/>
                  </a:lnTo>
                  <a:lnTo>
                    <a:pt x="21" y="1676"/>
                  </a:lnTo>
                  <a:lnTo>
                    <a:pt x="22" y="1686"/>
                  </a:lnTo>
                  <a:lnTo>
                    <a:pt x="24" y="1692"/>
                  </a:lnTo>
                  <a:lnTo>
                    <a:pt x="22" y="1696"/>
                  </a:lnTo>
                  <a:lnTo>
                    <a:pt x="20" y="1700"/>
                  </a:lnTo>
                  <a:lnTo>
                    <a:pt x="16" y="1703"/>
                  </a:lnTo>
                  <a:lnTo>
                    <a:pt x="12" y="1704"/>
                  </a:lnTo>
                  <a:lnTo>
                    <a:pt x="9" y="1714"/>
                  </a:lnTo>
                  <a:lnTo>
                    <a:pt x="5" y="1724"/>
                  </a:lnTo>
                  <a:lnTo>
                    <a:pt x="4" y="1731"/>
                  </a:lnTo>
                  <a:lnTo>
                    <a:pt x="1" y="1738"/>
                  </a:lnTo>
                  <a:lnTo>
                    <a:pt x="0" y="1744"/>
                  </a:lnTo>
                  <a:lnTo>
                    <a:pt x="0" y="1754"/>
                  </a:lnTo>
                  <a:lnTo>
                    <a:pt x="0" y="1760"/>
                  </a:lnTo>
                  <a:lnTo>
                    <a:pt x="1" y="1768"/>
                  </a:lnTo>
                  <a:lnTo>
                    <a:pt x="4" y="1775"/>
                  </a:lnTo>
                  <a:lnTo>
                    <a:pt x="6" y="1781"/>
                  </a:lnTo>
                  <a:lnTo>
                    <a:pt x="16" y="1793"/>
                  </a:lnTo>
                  <a:lnTo>
                    <a:pt x="25" y="1804"/>
                  </a:lnTo>
                  <a:lnTo>
                    <a:pt x="45" y="1823"/>
                  </a:lnTo>
                  <a:lnTo>
                    <a:pt x="60" y="1837"/>
                  </a:lnTo>
                  <a:lnTo>
                    <a:pt x="118" y="1851"/>
                  </a:lnTo>
                  <a:lnTo>
                    <a:pt x="178" y="1864"/>
                  </a:lnTo>
                  <a:lnTo>
                    <a:pt x="242" y="1876"/>
                  </a:lnTo>
                  <a:lnTo>
                    <a:pt x="306" y="1889"/>
                  </a:lnTo>
                  <a:lnTo>
                    <a:pt x="369" y="1903"/>
                  </a:lnTo>
                  <a:lnTo>
                    <a:pt x="432" y="1916"/>
                  </a:lnTo>
                  <a:lnTo>
                    <a:pt x="492" y="1931"/>
                  </a:lnTo>
                  <a:lnTo>
                    <a:pt x="547" y="1945"/>
                  </a:lnTo>
                  <a:lnTo>
                    <a:pt x="557" y="1949"/>
                  </a:lnTo>
                  <a:lnTo>
                    <a:pt x="565" y="1953"/>
                  </a:lnTo>
                  <a:lnTo>
                    <a:pt x="573" y="1959"/>
                  </a:lnTo>
                  <a:lnTo>
                    <a:pt x="579" y="1964"/>
                  </a:lnTo>
                  <a:lnTo>
                    <a:pt x="586" y="1971"/>
                  </a:lnTo>
                  <a:lnTo>
                    <a:pt x="591" y="1979"/>
                  </a:lnTo>
                  <a:lnTo>
                    <a:pt x="597" y="1987"/>
                  </a:lnTo>
                  <a:lnTo>
                    <a:pt x="602" y="1995"/>
                  </a:lnTo>
                  <a:lnTo>
                    <a:pt x="621" y="2033"/>
                  </a:lnTo>
                  <a:lnTo>
                    <a:pt x="637" y="2075"/>
                  </a:lnTo>
                  <a:lnTo>
                    <a:pt x="646" y="2095"/>
                  </a:lnTo>
                  <a:lnTo>
                    <a:pt x="657" y="2115"/>
                  </a:lnTo>
                  <a:lnTo>
                    <a:pt x="662" y="2124"/>
                  </a:lnTo>
                  <a:lnTo>
                    <a:pt x="669" y="2132"/>
                  </a:lnTo>
                  <a:lnTo>
                    <a:pt x="675" y="2140"/>
                  </a:lnTo>
                  <a:lnTo>
                    <a:pt x="683" y="2148"/>
                  </a:lnTo>
                  <a:lnTo>
                    <a:pt x="691" y="2155"/>
                  </a:lnTo>
                  <a:lnTo>
                    <a:pt x="701" y="2161"/>
                  </a:lnTo>
                  <a:lnTo>
                    <a:pt x="711" y="2167"/>
                  </a:lnTo>
                  <a:lnTo>
                    <a:pt x="722" y="2172"/>
                  </a:lnTo>
                  <a:lnTo>
                    <a:pt x="734" y="2176"/>
                  </a:lnTo>
                  <a:lnTo>
                    <a:pt x="747" y="2179"/>
                  </a:lnTo>
                  <a:lnTo>
                    <a:pt x="761" y="2180"/>
                  </a:lnTo>
                  <a:lnTo>
                    <a:pt x="777" y="2180"/>
                  </a:lnTo>
                  <a:lnTo>
                    <a:pt x="794" y="2180"/>
                  </a:lnTo>
                  <a:lnTo>
                    <a:pt x="813" y="2179"/>
                  </a:lnTo>
                  <a:lnTo>
                    <a:pt x="829" y="2177"/>
                  </a:lnTo>
                  <a:lnTo>
                    <a:pt x="843" y="2175"/>
                  </a:lnTo>
                  <a:lnTo>
                    <a:pt x="858" y="2171"/>
                  </a:lnTo>
                  <a:lnTo>
                    <a:pt x="873" y="2167"/>
                  </a:lnTo>
                  <a:lnTo>
                    <a:pt x="885" y="2163"/>
                  </a:lnTo>
                  <a:lnTo>
                    <a:pt x="897" y="2157"/>
                  </a:lnTo>
                  <a:lnTo>
                    <a:pt x="921" y="2147"/>
                  </a:lnTo>
                  <a:lnTo>
                    <a:pt x="942" y="2135"/>
                  </a:lnTo>
                  <a:lnTo>
                    <a:pt x="962" y="2121"/>
                  </a:lnTo>
                  <a:lnTo>
                    <a:pt x="982" y="2108"/>
                  </a:lnTo>
                  <a:lnTo>
                    <a:pt x="1003" y="2095"/>
                  </a:lnTo>
                  <a:lnTo>
                    <a:pt x="1025" y="2081"/>
                  </a:lnTo>
                  <a:lnTo>
                    <a:pt x="1049" y="2069"/>
                  </a:lnTo>
                  <a:lnTo>
                    <a:pt x="1074" y="2059"/>
                  </a:lnTo>
                  <a:lnTo>
                    <a:pt x="1089" y="2053"/>
                  </a:lnTo>
                  <a:lnTo>
                    <a:pt x="1103" y="2049"/>
                  </a:lnTo>
                  <a:lnTo>
                    <a:pt x="1119" y="2045"/>
                  </a:lnTo>
                  <a:lnTo>
                    <a:pt x="1137" y="2043"/>
                  </a:lnTo>
                  <a:lnTo>
                    <a:pt x="1154" y="2040"/>
                  </a:lnTo>
                  <a:lnTo>
                    <a:pt x="1174" y="2037"/>
                  </a:lnTo>
                  <a:lnTo>
                    <a:pt x="1194" y="2036"/>
                  </a:lnTo>
                  <a:lnTo>
                    <a:pt x="1215" y="2036"/>
                  </a:lnTo>
                  <a:lnTo>
                    <a:pt x="1233" y="2037"/>
                  </a:lnTo>
                  <a:lnTo>
                    <a:pt x="1249" y="2039"/>
                  </a:lnTo>
                  <a:lnTo>
                    <a:pt x="1265" y="2043"/>
                  </a:lnTo>
                  <a:lnTo>
                    <a:pt x="1279" y="2047"/>
                  </a:lnTo>
                  <a:lnTo>
                    <a:pt x="1307" y="2057"/>
                  </a:lnTo>
                  <a:lnTo>
                    <a:pt x="1334" y="2069"/>
                  </a:lnTo>
                  <a:lnTo>
                    <a:pt x="1358" y="2081"/>
                  </a:lnTo>
                  <a:lnTo>
                    <a:pt x="1380" y="2089"/>
                  </a:lnTo>
                  <a:lnTo>
                    <a:pt x="1391" y="2092"/>
                  </a:lnTo>
                  <a:lnTo>
                    <a:pt x="1402" y="2093"/>
                  </a:lnTo>
                  <a:lnTo>
                    <a:pt x="1411" y="2092"/>
                  </a:lnTo>
                  <a:lnTo>
                    <a:pt x="1420" y="2091"/>
                  </a:lnTo>
                  <a:lnTo>
                    <a:pt x="1430" y="2087"/>
                  </a:lnTo>
                  <a:lnTo>
                    <a:pt x="1438" y="2085"/>
                  </a:lnTo>
                  <a:lnTo>
                    <a:pt x="1444" y="2084"/>
                  </a:lnTo>
                  <a:lnTo>
                    <a:pt x="1451" y="2084"/>
                  </a:lnTo>
                  <a:lnTo>
                    <a:pt x="1456" y="2079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accent1">
                  <a:lumMod val="20000"/>
                  <a:lumOff val="8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95" b="0" i="0" u="none" strike="noStrike" kern="1200" cap="none" spc="0" normalizeH="0" baseline="0" noProof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5" name="Freeform 104"/>
            <p:cNvSpPr>
              <a:spLocks/>
            </p:cNvSpPr>
            <p:nvPr/>
          </p:nvSpPr>
          <p:spPr bwMode="auto">
            <a:xfrm>
              <a:off x="4970688" y="2265569"/>
              <a:ext cx="185822" cy="114370"/>
            </a:xfrm>
            <a:custGeom>
              <a:avLst/>
              <a:gdLst>
                <a:gd name="T0" fmla="*/ 1446 w 2577"/>
                <a:gd name="T1" fmla="*/ 1419 h 1584"/>
                <a:gd name="T2" fmla="*/ 1531 w 2577"/>
                <a:gd name="T3" fmla="*/ 1168 h 1584"/>
                <a:gd name="T4" fmla="*/ 1639 w 2577"/>
                <a:gd name="T5" fmla="*/ 1014 h 1584"/>
                <a:gd name="T6" fmla="*/ 1720 w 2577"/>
                <a:gd name="T7" fmla="*/ 863 h 1584"/>
                <a:gd name="T8" fmla="*/ 1800 w 2577"/>
                <a:gd name="T9" fmla="*/ 875 h 1584"/>
                <a:gd name="T10" fmla="*/ 1900 w 2577"/>
                <a:gd name="T11" fmla="*/ 845 h 1584"/>
                <a:gd name="T12" fmla="*/ 2073 w 2577"/>
                <a:gd name="T13" fmla="*/ 743 h 1584"/>
                <a:gd name="T14" fmla="*/ 2344 w 2577"/>
                <a:gd name="T15" fmla="*/ 607 h 1584"/>
                <a:gd name="T16" fmla="*/ 2537 w 2577"/>
                <a:gd name="T17" fmla="*/ 490 h 1584"/>
                <a:gd name="T18" fmla="*/ 2555 w 2577"/>
                <a:gd name="T19" fmla="*/ 408 h 1584"/>
                <a:gd name="T20" fmla="*/ 2517 w 2577"/>
                <a:gd name="T21" fmla="*/ 338 h 1584"/>
                <a:gd name="T22" fmla="*/ 2568 w 2577"/>
                <a:gd name="T23" fmla="*/ 264 h 1584"/>
                <a:gd name="T24" fmla="*/ 2444 w 2577"/>
                <a:gd name="T25" fmla="*/ 281 h 1584"/>
                <a:gd name="T26" fmla="*/ 2201 w 2577"/>
                <a:gd name="T27" fmla="*/ 445 h 1584"/>
                <a:gd name="T28" fmla="*/ 1834 w 2577"/>
                <a:gd name="T29" fmla="*/ 332 h 1584"/>
                <a:gd name="T30" fmla="*/ 1380 w 2577"/>
                <a:gd name="T31" fmla="*/ 46 h 1584"/>
                <a:gd name="T32" fmla="*/ 1291 w 2577"/>
                <a:gd name="T33" fmla="*/ 0 h 1584"/>
                <a:gd name="T34" fmla="*/ 1063 w 2577"/>
                <a:gd name="T35" fmla="*/ 40 h 1584"/>
                <a:gd name="T36" fmla="*/ 878 w 2577"/>
                <a:gd name="T37" fmla="*/ 80 h 1584"/>
                <a:gd name="T38" fmla="*/ 789 w 2577"/>
                <a:gd name="T39" fmla="*/ 214 h 1584"/>
                <a:gd name="T40" fmla="*/ 827 w 2577"/>
                <a:gd name="T41" fmla="*/ 260 h 1584"/>
                <a:gd name="T42" fmla="*/ 841 w 2577"/>
                <a:gd name="T43" fmla="*/ 433 h 1584"/>
                <a:gd name="T44" fmla="*/ 785 w 2577"/>
                <a:gd name="T45" fmla="*/ 449 h 1584"/>
                <a:gd name="T46" fmla="*/ 719 w 2577"/>
                <a:gd name="T47" fmla="*/ 412 h 1584"/>
                <a:gd name="T48" fmla="*/ 686 w 2577"/>
                <a:gd name="T49" fmla="*/ 384 h 1584"/>
                <a:gd name="T50" fmla="*/ 582 w 2577"/>
                <a:gd name="T51" fmla="*/ 373 h 1584"/>
                <a:gd name="T52" fmla="*/ 393 w 2577"/>
                <a:gd name="T53" fmla="*/ 248 h 1584"/>
                <a:gd name="T54" fmla="*/ 338 w 2577"/>
                <a:gd name="T55" fmla="*/ 278 h 1584"/>
                <a:gd name="T56" fmla="*/ 380 w 2577"/>
                <a:gd name="T57" fmla="*/ 401 h 1584"/>
                <a:gd name="T58" fmla="*/ 352 w 2577"/>
                <a:gd name="T59" fmla="*/ 537 h 1584"/>
                <a:gd name="T60" fmla="*/ 357 w 2577"/>
                <a:gd name="T61" fmla="*/ 587 h 1584"/>
                <a:gd name="T62" fmla="*/ 250 w 2577"/>
                <a:gd name="T63" fmla="*/ 661 h 1584"/>
                <a:gd name="T64" fmla="*/ 234 w 2577"/>
                <a:gd name="T65" fmla="*/ 757 h 1584"/>
                <a:gd name="T66" fmla="*/ 350 w 2577"/>
                <a:gd name="T67" fmla="*/ 782 h 1584"/>
                <a:gd name="T68" fmla="*/ 417 w 2577"/>
                <a:gd name="T69" fmla="*/ 729 h 1584"/>
                <a:gd name="T70" fmla="*/ 488 w 2577"/>
                <a:gd name="T71" fmla="*/ 793 h 1584"/>
                <a:gd name="T72" fmla="*/ 361 w 2577"/>
                <a:gd name="T73" fmla="*/ 914 h 1584"/>
                <a:gd name="T74" fmla="*/ 306 w 2577"/>
                <a:gd name="T75" fmla="*/ 970 h 1584"/>
                <a:gd name="T76" fmla="*/ 308 w 2577"/>
                <a:gd name="T77" fmla="*/ 1046 h 1584"/>
                <a:gd name="T78" fmla="*/ 161 w 2577"/>
                <a:gd name="T79" fmla="*/ 1078 h 1584"/>
                <a:gd name="T80" fmla="*/ 84 w 2577"/>
                <a:gd name="T81" fmla="*/ 1155 h 1584"/>
                <a:gd name="T82" fmla="*/ 17 w 2577"/>
                <a:gd name="T83" fmla="*/ 1306 h 1584"/>
                <a:gd name="T84" fmla="*/ 17 w 2577"/>
                <a:gd name="T85" fmla="*/ 1366 h 1584"/>
                <a:gd name="T86" fmla="*/ 42 w 2577"/>
                <a:gd name="T87" fmla="*/ 1511 h 1584"/>
                <a:gd name="T88" fmla="*/ 106 w 2577"/>
                <a:gd name="T89" fmla="*/ 1511 h 1584"/>
                <a:gd name="T90" fmla="*/ 224 w 2577"/>
                <a:gd name="T91" fmla="*/ 1470 h 1584"/>
                <a:gd name="T92" fmla="*/ 313 w 2577"/>
                <a:gd name="T93" fmla="*/ 1464 h 1584"/>
                <a:gd name="T94" fmla="*/ 349 w 2577"/>
                <a:gd name="T95" fmla="*/ 1510 h 1584"/>
                <a:gd name="T96" fmla="*/ 414 w 2577"/>
                <a:gd name="T97" fmla="*/ 1474 h 1584"/>
                <a:gd name="T98" fmla="*/ 474 w 2577"/>
                <a:gd name="T99" fmla="*/ 1451 h 1584"/>
                <a:gd name="T100" fmla="*/ 464 w 2577"/>
                <a:gd name="T101" fmla="*/ 1351 h 1584"/>
                <a:gd name="T102" fmla="*/ 526 w 2577"/>
                <a:gd name="T103" fmla="*/ 1352 h 1584"/>
                <a:gd name="T104" fmla="*/ 655 w 2577"/>
                <a:gd name="T105" fmla="*/ 1388 h 1584"/>
                <a:gd name="T106" fmla="*/ 685 w 2577"/>
                <a:gd name="T107" fmla="*/ 1443 h 1584"/>
                <a:gd name="T108" fmla="*/ 771 w 2577"/>
                <a:gd name="T109" fmla="*/ 1503 h 1584"/>
                <a:gd name="T110" fmla="*/ 994 w 2577"/>
                <a:gd name="T111" fmla="*/ 1502 h 1584"/>
                <a:gd name="T112" fmla="*/ 1097 w 2577"/>
                <a:gd name="T113" fmla="*/ 1498 h 1584"/>
                <a:gd name="T114" fmla="*/ 1296 w 2577"/>
                <a:gd name="T115" fmla="*/ 1584 h 158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2577"/>
                <a:gd name="T175" fmla="*/ 0 h 1584"/>
                <a:gd name="T176" fmla="*/ 2577 w 2577"/>
                <a:gd name="T177" fmla="*/ 1584 h 158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2577" h="1584">
                  <a:moveTo>
                    <a:pt x="1396" y="1503"/>
                  </a:moveTo>
                  <a:lnTo>
                    <a:pt x="1398" y="1496"/>
                  </a:lnTo>
                  <a:lnTo>
                    <a:pt x="1399" y="1490"/>
                  </a:lnTo>
                  <a:lnTo>
                    <a:pt x="1400" y="1484"/>
                  </a:lnTo>
                  <a:lnTo>
                    <a:pt x="1403" y="1478"/>
                  </a:lnTo>
                  <a:lnTo>
                    <a:pt x="1411" y="1464"/>
                  </a:lnTo>
                  <a:lnTo>
                    <a:pt x="1419" y="1452"/>
                  </a:lnTo>
                  <a:lnTo>
                    <a:pt x="1428" y="1442"/>
                  </a:lnTo>
                  <a:lnTo>
                    <a:pt x="1438" y="1430"/>
                  </a:lnTo>
                  <a:lnTo>
                    <a:pt x="1446" y="1419"/>
                  </a:lnTo>
                  <a:lnTo>
                    <a:pt x="1451" y="1407"/>
                  </a:lnTo>
                  <a:lnTo>
                    <a:pt x="1463" y="1371"/>
                  </a:lnTo>
                  <a:lnTo>
                    <a:pt x="1472" y="1338"/>
                  </a:lnTo>
                  <a:lnTo>
                    <a:pt x="1479" y="1304"/>
                  </a:lnTo>
                  <a:lnTo>
                    <a:pt x="1487" y="1271"/>
                  </a:lnTo>
                  <a:lnTo>
                    <a:pt x="1496" y="1240"/>
                  </a:lnTo>
                  <a:lnTo>
                    <a:pt x="1507" y="1211"/>
                  </a:lnTo>
                  <a:lnTo>
                    <a:pt x="1514" y="1196"/>
                  </a:lnTo>
                  <a:lnTo>
                    <a:pt x="1522" y="1182"/>
                  </a:lnTo>
                  <a:lnTo>
                    <a:pt x="1531" y="1168"/>
                  </a:lnTo>
                  <a:lnTo>
                    <a:pt x="1542" y="1154"/>
                  </a:lnTo>
                  <a:lnTo>
                    <a:pt x="1563" y="1130"/>
                  </a:lnTo>
                  <a:lnTo>
                    <a:pt x="1594" y="1101"/>
                  </a:lnTo>
                  <a:lnTo>
                    <a:pt x="1608" y="1085"/>
                  </a:lnTo>
                  <a:lnTo>
                    <a:pt x="1620" y="1070"/>
                  </a:lnTo>
                  <a:lnTo>
                    <a:pt x="1624" y="1063"/>
                  </a:lnTo>
                  <a:lnTo>
                    <a:pt x="1628" y="1057"/>
                  </a:lnTo>
                  <a:lnTo>
                    <a:pt x="1631" y="1051"/>
                  </a:lnTo>
                  <a:lnTo>
                    <a:pt x="1631" y="1046"/>
                  </a:lnTo>
                  <a:lnTo>
                    <a:pt x="1639" y="1014"/>
                  </a:lnTo>
                  <a:lnTo>
                    <a:pt x="1647" y="981"/>
                  </a:lnTo>
                  <a:lnTo>
                    <a:pt x="1652" y="963"/>
                  </a:lnTo>
                  <a:lnTo>
                    <a:pt x="1658" y="947"/>
                  </a:lnTo>
                  <a:lnTo>
                    <a:pt x="1664" y="933"/>
                  </a:lnTo>
                  <a:lnTo>
                    <a:pt x="1671" y="918"/>
                  </a:lnTo>
                  <a:lnTo>
                    <a:pt x="1679" y="905"/>
                  </a:lnTo>
                  <a:lnTo>
                    <a:pt x="1687" y="891"/>
                  </a:lnTo>
                  <a:lnTo>
                    <a:pt x="1698" y="881"/>
                  </a:lnTo>
                  <a:lnTo>
                    <a:pt x="1708" y="871"/>
                  </a:lnTo>
                  <a:lnTo>
                    <a:pt x="1720" y="863"/>
                  </a:lnTo>
                  <a:lnTo>
                    <a:pt x="1734" y="858"/>
                  </a:lnTo>
                  <a:lnTo>
                    <a:pt x="1748" y="854"/>
                  </a:lnTo>
                  <a:lnTo>
                    <a:pt x="1764" y="853"/>
                  </a:lnTo>
                  <a:lnTo>
                    <a:pt x="1771" y="853"/>
                  </a:lnTo>
                  <a:lnTo>
                    <a:pt x="1775" y="853"/>
                  </a:lnTo>
                  <a:lnTo>
                    <a:pt x="1782" y="853"/>
                  </a:lnTo>
                  <a:lnTo>
                    <a:pt x="1794" y="853"/>
                  </a:lnTo>
                  <a:lnTo>
                    <a:pt x="1795" y="861"/>
                  </a:lnTo>
                  <a:lnTo>
                    <a:pt x="1798" y="870"/>
                  </a:lnTo>
                  <a:lnTo>
                    <a:pt x="1800" y="875"/>
                  </a:lnTo>
                  <a:lnTo>
                    <a:pt x="1802" y="879"/>
                  </a:lnTo>
                  <a:lnTo>
                    <a:pt x="1804" y="882"/>
                  </a:lnTo>
                  <a:lnTo>
                    <a:pt x="1806" y="883"/>
                  </a:lnTo>
                  <a:lnTo>
                    <a:pt x="1823" y="882"/>
                  </a:lnTo>
                  <a:lnTo>
                    <a:pt x="1838" y="879"/>
                  </a:lnTo>
                  <a:lnTo>
                    <a:pt x="1851" y="875"/>
                  </a:lnTo>
                  <a:lnTo>
                    <a:pt x="1864" y="869"/>
                  </a:lnTo>
                  <a:lnTo>
                    <a:pt x="1878" y="862"/>
                  </a:lnTo>
                  <a:lnTo>
                    <a:pt x="1888" y="854"/>
                  </a:lnTo>
                  <a:lnTo>
                    <a:pt x="1900" y="845"/>
                  </a:lnTo>
                  <a:lnTo>
                    <a:pt x="1912" y="835"/>
                  </a:lnTo>
                  <a:lnTo>
                    <a:pt x="1935" y="815"/>
                  </a:lnTo>
                  <a:lnTo>
                    <a:pt x="1959" y="797"/>
                  </a:lnTo>
                  <a:lnTo>
                    <a:pt x="1972" y="789"/>
                  </a:lnTo>
                  <a:lnTo>
                    <a:pt x="1986" y="781"/>
                  </a:lnTo>
                  <a:lnTo>
                    <a:pt x="2000" y="774"/>
                  </a:lnTo>
                  <a:lnTo>
                    <a:pt x="2017" y="769"/>
                  </a:lnTo>
                  <a:lnTo>
                    <a:pt x="2036" y="761"/>
                  </a:lnTo>
                  <a:lnTo>
                    <a:pt x="2056" y="751"/>
                  </a:lnTo>
                  <a:lnTo>
                    <a:pt x="2073" y="743"/>
                  </a:lnTo>
                  <a:lnTo>
                    <a:pt x="2091" y="734"/>
                  </a:lnTo>
                  <a:lnTo>
                    <a:pt x="2124" y="714"/>
                  </a:lnTo>
                  <a:lnTo>
                    <a:pt x="2157" y="694"/>
                  </a:lnTo>
                  <a:lnTo>
                    <a:pt x="2192" y="673"/>
                  </a:lnTo>
                  <a:lnTo>
                    <a:pt x="2228" y="654"/>
                  </a:lnTo>
                  <a:lnTo>
                    <a:pt x="2247" y="645"/>
                  </a:lnTo>
                  <a:lnTo>
                    <a:pt x="2268" y="635"/>
                  </a:lnTo>
                  <a:lnTo>
                    <a:pt x="2289" y="626"/>
                  </a:lnTo>
                  <a:lnTo>
                    <a:pt x="2312" y="618"/>
                  </a:lnTo>
                  <a:lnTo>
                    <a:pt x="2344" y="607"/>
                  </a:lnTo>
                  <a:lnTo>
                    <a:pt x="2381" y="593"/>
                  </a:lnTo>
                  <a:lnTo>
                    <a:pt x="2401" y="585"/>
                  </a:lnTo>
                  <a:lnTo>
                    <a:pt x="2421" y="575"/>
                  </a:lnTo>
                  <a:lnTo>
                    <a:pt x="2443" y="565"/>
                  </a:lnTo>
                  <a:lnTo>
                    <a:pt x="2463" y="554"/>
                  </a:lnTo>
                  <a:lnTo>
                    <a:pt x="2481" y="541"/>
                  </a:lnTo>
                  <a:lnTo>
                    <a:pt x="2500" y="528"/>
                  </a:lnTo>
                  <a:lnTo>
                    <a:pt x="2516" y="514"/>
                  </a:lnTo>
                  <a:lnTo>
                    <a:pt x="2531" y="498"/>
                  </a:lnTo>
                  <a:lnTo>
                    <a:pt x="2537" y="490"/>
                  </a:lnTo>
                  <a:lnTo>
                    <a:pt x="2543" y="482"/>
                  </a:lnTo>
                  <a:lnTo>
                    <a:pt x="2547" y="473"/>
                  </a:lnTo>
                  <a:lnTo>
                    <a:pt x="2552" y="464"/>
                  </a:lnTo>
                  <a:lnTo>
                    <a:pt x="2555" y="456"/>
                  </a:lnTo>
                  <a:lnTo>
                    <a:pt x="2557" y="445"/>
                  </a:lnTo>
                  <a:lnTo>
                    <a:pt x="2559" y="436"/>
                  </a:lnTo>
                  <a:lnTo>
                    <a:pt x="2559" y="426"/>
                  </a:lnTo>
                  <a:lnTo>
                    <a:pt x="2559" y="420"/>
                  </a:lnTo>
                  <a:lnTo>
                    <a:pt x="2557" y="413"/>
                  </a:lnTo>
                  <a:lnTo>
                    <a:pt x="2555" y="408"/>
                  </a:lnTo>
                  <a:lnTo>
                    <a:pt x="2552" y="401"/>
                  </a:lnTo>
                  <a:lnTo>
                    <a:pt x="2545" y="392"/>
                  </a:lnTo>
                  <a:lnTo>
                    <a:pt x="2537" y="382"/>
                  </a:lnTo>
                  <a:lnTo>
                    <a:pt x="2531" y="373"/>
                  </a:lnTo>
                  <a:lnTo>
                    <a:pt x="2524" y="365"/>
                  </a:lnTo>
                  <a:lnTo>
                    <a:pt x="2521" y="361"/>
                  </a:lnTo>
                  <a:lnTo>
                    <a:pt x="2519" y="356"/>
                  </a:lnTo>
                  <a:lnTo>
                    <a:pt x="2517" y="352"/>
                  </a:lnTo>
                  <a:lnTo>
                    <a:pt x="2517" y="348"/>
                  </a:lnTo>
                  <a:lnTo>
                    <a:pt x="2517" y="338"/>
                  </a:lnTo>
                  <a:lnTo>
                    <a:pt x="2519" y="332"/>
                  </a:lnTo>
                  <a:lnTo>
                    <a:pt x="2521" y="324"/>
                  </a:lnTo>
                  <a:lnTo>
                    <a:pt x="2524" y="318"/>
                  </a:lnTo>
                  <a:lnTo>
                    <a:pt x="2531" y="308"/>
                  </a:lnTo>
                  <a:lnTo>
                    <a:pt x="2540" y="298"/>
                  </a:lnTo>
                  <a:lnTo>
                    <a:pt x="2548" y="289"/>
                  </a:lnTo>
                  <a:lnTo>
                    <a:pt x="2557" y="280"/>
                  </a:lnTo>
                  <a:lnTo>
                    <a:pt x="2561" y="274"/>
                  </a:lnTo>
                  <a:lnTo>
                    <a:pt x="2565" y="269"/>
                  </a:lnTo>
                  <a:lnTo>
                    <a:pt x="2568" y="264"/>
                  </a:lnTo>
                  <a:lnTo>
                    <a:pt x="2571" y="257"/>
                  </a:lnTo>
                  <a:lnTo>
                    <a:pt x="2577" y="245"/>
                  </a:lnTo>
                  <a:lnTo>
                    <a:pt x="2559" y="246"/>
                  </a:lnTo>
                  <a:lnTo>
                    <a:pt x="2540" y="248"/>
                  </a:lnTo>
                  <a:lnTo>
                    <a:pt x="2523" y="250"/>
                  </a:lnTo>
                  <a:lnTo>
                    <a:pt x="2505" y="256"/>
                  </a:lnTo>
                  <a:lnTo>
                    <a:pt x="2489" y="261"/>
                  </a:lnTo>
                  <a:lnTo>
                    <a:pt x="2475" y="266"/>
                  </a:lnTo>
                  <a:lnTo>
                    <a:pt x="2459" y="273"/>
                  </a:lnTo>
                  <a:lnTo>
                    <a:pt x="2444" y="281"/>
                  </a:lnTo>
                  <a:lnTo>
                    <a:pt x="2416" y="298"/>
                  </a:lnTo>
                  <a:lnTo>
                    <a:pt x="2389" y="318"/>
                  </a:lnTo>
                  <a:lnTo>
                    <a:pt x="2363" y="338"/>
                  </a:lnTo>
                  <a:lnTo>
                    <a:pt x="2337" y="360"/>
                  </a:lnTo>
                  <a:lnTo>
                    <a:pt x="2311" y="380"/>
                  </a:lnTo>
                  <a:lnTo>
                    <a:pt x="2285" y="400"/>
                  </a:lnTo>
                  <a:lnTo>
                    <a:pt x="2259" y="417"/>
                  </a:lnTo>
                  <a:lnTo>
                    <a:pt x="2231" y="433"/>
                  </a:lnTo>
                  <a:lnTo>
                    <a:pt x="2216" y="440"/>
                  </a:lnTo>
                  <a:lnTo>
                    <a:pt x="2201" y="445"/>
                  </a:lnTo>
                  <a:lnTo>
                    <a:pt x="2187" y="450"/>
                  </a:lnTo>
                  <a:lnTo>
                    <a:pt x="2171" y="454"/>
                  </a:lnTo>
                  <a:lnTo>
                    <a:pt x="2153" y="456"/>
                  </a:lnTo>
                  <a:lnTo>
                    <a:pt x="2137" y="457"/>
                  </a:lnTo>
                  <a:lnTo>
                    <a:pt x="2120" y="457"/>
                  </a:lnTo>
                  <a:lnTo>
                    <a:pt x="2101" y="456"/>
                  </a:lnTo>
                  <a:lnTo>
                    <a:pt x="2071" y="442"/>
                  </a:lnTo>
                  <a:lnTo>
                    <a:pt x="2011" y="416"/>
                  </a:lnTo>
                  <a:lnTo>
                    <a:pt x="1928" y="377"/>
                  </a:lnTo>
                  <a:lnTo>
                    <a:pt x="1834" y="332"/>
                  </a:lnTo>
                  <a:lnTo>
                    <a:pt x="1734" y="282"/>
                  </a:lnTo>
                  <a:lnTo>
                    <a:pt x="1636" y="233"/>
                  </a:lnTo>
                  <a:lnTo>
                    <a:pt x="1550" y="188"/>
                  </a:lnTo>
                  <a:lnTo>
                    <a:pt x="1482" y="149"/>
                  </a:lnTo>
                  <a:lnTo>
                    <a:pt x="1467" y="138"/>
                  </a:lnTo>
                  <a:lnTo>
                    <a:pt x="1454" y="128"/>
                  </a:lnTo>
                  <a:lnTo>
                    <a:pt x="1440" y="114"/>
                  </a:lnTo>
                  <a:lnTo>
                    <a:pt x="1428" y="101"/>
                  </a:lnTo>
                  <a:lnTo>
                    <a:pt x="1404" y="74"/>
                  </a:lnTo>
                  <a:lnTo>
                    <a:pt x="1380" y="46"/>
                  </a:lnTo>
                  <a:lnTo>
                    <a:pt x="1370" y="34"/>
                  </a:lnTo>
                  <a:lnTo>
                    <a:pt x="1358" y="24"/>
                  </a:lnTo>
                  <a:lnTo>
                    <a:pt x="1346" y="14"/>
                  </a:lnTo>
                  <a:lnTo>
                    <a:pt x="1332" y="8"/>
                  </a:lnTo>
                  <a:lnTo>
                    <a:pt x="1326" y="5"/>
                  </a:lnTo>
                  <a:lnTo>
                    <a:pt x="1320" y="2"/>
                  </a:lnTo>
                  <a:lnTo>
                    <a:pt x="1312" y="1"/>
                  </a:lnTo>
                  <a:lnTo>
                    <a:pt x="1306" y="0"/>
                  </a:lnTo>
                  <a:lnTo>
                    <a:pt x="1299" y="0"/>
                  </a:lnTo>
                  <a:lnTo>
                    <a:pt x="1291" y="0"/>
                  </a:lnTo>
                  <a:lnTo>
                    <a:pt x="1284" y="2"/>
                  </a:lnTo>
                  <a:lnTo>
                    <a:pt x="1276" y="4"/>
                  </a:lnTo>
                  <a:lnTo>
                    <a:pt x="1259" y="10"/>
                  </a:lnTo>
                  <a:lnTo>
                    <a:pt x="1242" y="16"/>
                  </a:lnTo>
                  <a:lnTo>
                    <a:pt x="1226" y="21"/>
                  </a:lnTo>
                  <a:lnTo>
                    <a:pt x="1209" y="25"/>
                  </a:lnTo>
                  <a:lnTo>
                    <a:pt x="1174" y="32"/>
                  </a:lnTo>
                  <a:lnTo>
                    <a:pt x="1138" y="36"/>
                  </a:lnTo>
                  <a:lnTo>
                    <a:pt x="1101" y="38"/>
                  </a:lnTo>
                  <a:lnTo>
                    <a:pt x="1063" y="40"/>
                  </a:lnTo>
                  <a:lnTo>
                    <a:pt x="1023" y="40"/>
                  </a:lnTo>
                  <a:lnTo>
                    <a:pt x="982" y="40"/>
                  </a:lnTo>
                  <a:lnTo>
                    <a:pt x="961" y="40"/>
                  </a:lnTo>
                  <a:lnTo>
                    <a:pt x="943" y="37"/>
                  </a:lnTo>
                  <a:lnTo>
                    <a:pt x="926" y="33"/>
                  </a:lnTo>
                  <a:lnTo>
                    <a:pt x="909" y="28"/>
                  </a:lnTo>
                  <a:lnTo>
                    <a:pt x="903" y="42"/>
                  </a:lnTo>
                  <a:lnTo>
                    <a:pt x="895" y="56"/>
                  </a:lnTo>
                  <a:lnTo>
                    <a:pt x="887" y="68"/>
                  </a:lnTo>
                  <a:lnTo>
                    <a:pt x="878" y="80"/>
                  </a:lnTo>
                  <a:lnTo>
                    <a:pt x="858" y="101"/>
                  </a:lnTo>
                  <a:lnTo>
                    <a:pt x="838" y="121"/>
                  </a:lnTo>
                  <a:lnTo>
                    <a:pt x="827" y="132"/>
                  </a:lnTo>
                  <a:lnTo>
                    <a:pt x="819" y="142"/>
                  </a:lnTo>
                  <a:lnTo>
                    <a:pt x="810" y="153"/>
                  </a:lnTo>
                  <a:lnTo>
                    <a:pt x="803" y="164"/>
                  </a:lnTo>
                  <a:lnTo>
                    <a:pt x="797" y="176"/>
                  </a:lnTo>
                  <a:lnTo>
                    <a:pt x="793" y="188"/>
                  </a:lnTo>
                  <a:lnTo>
                    <a:pt x="790" y="201"/>
                  </a:lnTo>
                  <a:lnTo>
                    <a:pt x="789" y="214"/>
                  </a:lnTo>
                  <a:lnTo>
                    <a:pt x="789" y="224"/>
                  </a:lnTo>
                  <a:lnTo>
                    <a:pt x="790" y="230"/>
                  </a:lnTo>
                  <a:lnTo>
                    <a:pt x="791" y="236"/>
                  </a:lnTo>
                  <a:lnTo>
                    <a:pt x="794" y="240"/>
                  </a:lnTo>
                  <a:lnTo>
                    <a:pt x="801" y="245"/>
                  </a:lnTo>
                  <a:lnTo>
                    <a:pt x="807" y="249"/>
                  </a:lnTo>
                  <a:lnTo>
                    <a:pt x="815" y="252"/>
                  </a:lnTo>
                  <a:lnTo>
                    <a:pt x="822" y="254"/>
                  </a:lnTo>
                  <a:lnTo>
                    <a:pt x="825" y="257"/>
                  </a:lnTo>
                  <a:lnTo>
                    <a:pt x="827" y="260"/>
                  </a:lnTo>
                  <a:lnTo>
                    <a:pt x="829" y="264"/>
                  </a:lnTo>
                  <a:lnTo>
                    <a:pt x="831" y="269"/>
                  </a:lnTo>
                  <a:lnTo>
                    <a:pt x="837" y="289"/>
                  </a:lnTo>
                  <a:lnTo>
                    <a:pt x="841" y="309"/>
                  </a:lnTo>
                  <a:lnTo>
                    <a:pt x="842" y="328"/>
                  </a:lnTo>
                  <a:lnTo>
                    <a:pt x="843" y="346"/>
                  </a:lnTo>
                  <a:lnTo>
                    <a:pt x="843" y="381"/>
                  </a:lnTo>
                  <a:lnTo>
                    <a:pt x="843" y="414"/>
                  </a:lnTo>
                  <a:lnTo>
                    <a:pt x="842" y="424"/>
                  </a:lnTo>
                  <a:lnTo>
                    <a:pt x="841" y="433"/>
                  </a:lnTo>
                  <a:lnTo>
                    <a:pt x="838" y="440"/>
                  </a:lnTo>
                  <a:lnTo>
                    <a:pt x="834" y="446"/>
                  </a:lnTo>
                  <a:lnTo>
                    <a:pt x="830" y="450"/>
                  </a:lnTo>
                  <a:lnTo>
                    <a:pt x="825" y="453"/>
                  </a:lnTo>
                  <a:lnTo>
                    <a:pt x="819" y="456"/>
                  </a:lnTo>
                  <a:lnTo>
                    <a:pt x="813" y="456"/>
                  </a:lnTo>
                  <a:lnTo>
                    <a:pt x="805" y="456"/>
                  </a:lnTo>
                  <a:lnTo>
                    <a:pt x="797" y="454"/>
                  </a:lnTo>
                  <a:lnTo>
                    <a:pt x="790" y="452"/>
                  </a:lnTo>
                  <a:lnTo>
                    <a:pt x="785" y="449"/>
                  </a:lnTo>
                  <a:lnTo>
                    <a:pt x="779" y="445"/>
                  </a:lnTo>
                  <a:lnTo>
                    <a:pt x="775" y="441"/>
                  </a:lnTo>
                  <a:lnTo>
                    <a:pt x="771" y="437"/>
                  </a:lnTo>
                  <a:lnTo>
                    <a:pt x="767" y="432"/>
                  </a:lnTo>
                  <a:lnTo>
                    <a:pt x="755" y="410"/>
                  </a:lnTo>
                  <a:lnTo>
                    <a:pt x="741" y="389"/>
                  </a:lnTo>
                  <a:lnTo>
                    <a:pt x="735" y="398"/>
                  </a:lnTo>
                  <a:lnTo>
                    <a:pt x="727" y="406"/>
                  </a:lnTo>
                  <a:lnTo>
                    <a:pt x="723" y="409"/>
                  </a:lnTo>
                  <a:lnTo>
                    <a:pt x="719" y="412"/>
                  </a:lnTo>
                  <a:lnTo>
                    <a:pt x="715" y="413"/>
                  </a:lnTo>
                  <a:lnTo>
                    <a:pt x="710" y="414"/>
                  </a:lnTo>
                  <a:lnTo>
                    <a:pt x="706" y="413"/>
                  </a:lnTo>
                  <a:lnTo>
                    <a:pt x="702" y="410"/>
                  </a:lnTo>
                  <a:lnTo>
                    <a:pt x="698" y="408"/>
                  </a:lnTo>
                  <a:lnTo>
                    <a:pt x="694" y="404"/>
                  </a:lnTo>
                  <a:lnTo>
                    <a:pt x="690" y="398"/>
                  </a:lnTo>
                  <a:lnTo>
                    <a:pt x="689" y="393"/>
                  </a:lnTo>
                  <a:lnTo>
                    <a:pt x="687" y="389"/>
                  </a:lnTo>
                  <a:lnTo>
                    <a:pt x="686" y="384"/>
                  </a:lnTo>
                  <a:lnTo>
                    <a:pt x="666" y="384"/>
                  </a:lnTo>
                  <a:lnTo>
                    <a:pt x="651" y="384"/>
                  </a:lnTo>
                  <a:lnTo>
                    <a:pt x="639" y="384"/>
                  </a:lnTo>
                  <a:lnTo>
                    <a:pt x="626" y="384"/>
                  </a:lnTo>
                  <a:lnTo>
                    <a:pt x="615" y="384"/>
                  </a:lnTo>
                  <a:lnTo>
                    <a:pt x="606" y="382"/>
                  </a:lnTo>
                  <a:lnTo>
                    <a:pt x="599" y="381"/>
                  </a:lnTo>
                  <a:lnTo>
                    <a:pt x="593" y="378"/>
                  </a:lnTo>
                  <a:lnTo>
                    <a:pt x="587" y="376"/>
                  </a:lnTo>
                  <a:lnTo>
                    <a:pt x="582" y="373"/>
                  </a:lnTo>
                  <a:lnTo>
                    <a:pt x="579" y="369"/>
                  </a:lnTo>
                  <a:lnTo>
                    <a:pt x="575" y="365"/>
                  </a:lnTo>
                  <a:lnTo>
                    <a:pt x="565" y="345"/>
                  </a:lnTo>
                  <a:lnTo>
                    <a:pt x="547" y="324"/>
                  </a:lnTo>
                  <a:lnTo>
                    <a:pt x="521" y="306"/>
                  </a:lnTo>
                  <a:lnTo>
                    <a:pt x="495" y="292"/>
                  </a:lnTo>
                  <a:lnTo>
                    <a:pt x="470" y="280"/>
                  </a:lnTo>
                  <a:lnTo>
                    <a:pt x="445" y="269"/>
                  </a:lnTo>
                  <a:lnTo>
                    <a:pt x="420" y="258"/>
                  </a:lnTo>
                  <a:lnTo>
                    <a:pt x="393" y="248"/>
                  </a:lnTo>
                  <a:lnTo>
                    <a:pt x="366" y="238"/>
                  </a:lnTo>
                  <a:lnTo>
                    <a:pt x="337" y="226"/>
                  </a:lnTo>
                  <a:lnTo>
                    <a:pt x="333" y="233"/>
                  </a:lnTo>
                  <a:lnTo>
                    <a:pt x="332" y="237"/>
                  </a:lnTo>
                  <a:lnTo>
                    <a:pt x="332" y="240"/>
                  </a:lnTo>
                  <a:lnTo>
                    <a:pt x="333" y="242"/>
                  </a:lnTo>
                  <a:lnTo>
                    <a:pt x="336" y="250"/>
                  </a:lnTo>
                  <a:lnTo>
                    <a:pt x="337" y="264"/>
                  </a:lnTo>
                  <a:lnTo>
                    <a:pt x="337" y="270"/>
                  </a:lnTo>
                  <a:lnTo>
                    <a:pt x="338" y="278"/>
                  </a:lnTo>
                  <a:lnTo>
                    <a:pt x="341" y="286"/>
                  </a:lnTo>
                  <a:lnTo>
                    <a:pt x="344" y="293"/>
                  </a:lnTo>
                  <a:lnTo>
                    <a:pt x="350" y="308"/>
                  </a:lnTo>
                  <a:lnTo>
                    <a:pt x="358" y="324"/>
                  </a:lnTo>
                  <a:lnTo>
                    <a:pt x="366" y="340"/>
                  </a:lnTo>
                  <a:lnTo>
                    <a:pt x="373" y="358"/>
                  </a:lnTo>
                  <a:lnTo>
                    <a:pt x="376" y="368"/>
                  </a:lnTo>
                  <a:lnTo>
                    <a:pt x="377" y="378"/>
                  </a:lnTo>
                  <a:lnTo>
                    <a:pt x="378" y="389"/>
                  </a:lnTo>
                  <a:lnTo>
                    <a:pt x="380" y="401"/>
                  </a:lnTo>
                  <a:lnTo>
                    <a:pt x="378" y="421"/>
                  </a:lnTo>
                  <a:lnTo>
                    <a:pt x="374" y="437"/>
                  </a:lnTo>
                  <a:lnTo>
                    <a:pt x="370" y="450"/>
                  </a:lnTo>
                  <a:lnTo>
                    <a:pt x="364" y="464"/>
                  </a:lnTo>
                  <a:lnTo>
                    <a:pt x="358" y="477"/>
                  </a:lnTo>
                  <a:lnTo>
                    <a:pt x="354" y="490"/>
                  </a:lnTo>
                  <a:lnTo>
                    <a:pt x="350" y="505"/>
                  </a:lnTo>
                  <a:lnTo>
                    <a:pt x="349" y="522"/>
                  </a:lnTo>
                  <a:lnTo>
                    <a:pt x="350" y="530"/>
                  </a:lnTo>
                  <a:lnTo>
                    <a:pt x="352" y="537"/>
                  </a:lnTo>
                  <a:lnTo>
                    <a:pt x="354" y="543"/>
                  </a:lnTo>
                  <a:lnTo>
                    <a:pt x="358" y="549"/>
                  </a:lnTo>
                  <a:lnTo>
                    <a:pt x="361" y="553"/>
                  </a:lnTo>
                  <a:lnTo>
                    <a:pt x="365" y="558"/>
                  </a:lnTo>
                  <a:lnTo>
                    <a:pt x="366" y="563"/>
                  </a:lnTo>
                  <a:lnTo>
                    <a:pt x="368" y="570"/>
                  </a:lnTo>
                  <a:lnTo>
                    <a:pt x="366" y="575"/>
                  </a:lnTo>
                  <a:lnTo>
                    <a:pt x="365" y="579"/>
                  </a:lnTo>
                  <a:lnTo>
                    <a:pt x="361" y="585"/>
                  </a:lnTo>
                  <a:lnTo>
                    <a:pt x="357" y="587"/>
                  </a:lnTo>
                  <a:lnTo>
                    <a:pt x="348" y="593"/>
                  </a:lnTo>
                  <a:lnTo>
                    <a:pt x="336" y="597"/>
                  </a:lnTo>
                  <a:lnTo>
                    <a:pt x="312" y="602"/>
                  </a:lnTo>
                  <a:lnTo>
                    <a:pt x="294" y="606"/>
                  </a:lnTo>
                  <a:lnTo>
                    <a:pt x="290" y="609"/>
                  </a:lnTo>
                  <a:lnTo>
                    <a:pt x="285" y="614"/>
                  </a:lnTo>
                  <a:lnTo>
                    <a:pt x="280" y="619"/>
                  </a:lnTo>
                  <a:lnTo>
                    <a:pt x="273" y="626"/>
                  </a:lnTo>
                  <a:lnTo>
                    <a:pt x="261" y="642"/>
                  </a:lnTo>
                  <a:lnTo>
                    <a:pt x="250" y="661"/>
                  </a:lnTo>
                  <a:lnTo>
                    <a:pt x="240" y="682"/>
                  </a:lnTo>
                  <a:lnTo>
                    <a:pt x="230" y="702"/>
                  </a:lnTo>
                  <a:lnTo>
                    <a:pt x="228" y="711"/>
                  </a:lnTo>
                  <a:lnTo>
                    <a:pt x="225" y="722"/>
                  </a:lnTo>
                  <a:lnTo>
                    <a:pt x="224" y="730"/>
                  </a:lnTo>
                  <a:lnTo>
                    <a:pt x="222" y="739"/>
                  </a:lnTo>
                  <a:lnTo>
                    <a:pt x="224" y="743"/>
                  </a:lnTo>
                  <a:lnTo>
                    <a:pt x="226" y="747"/>
                  </a:lnTo>
                  <a:lnTo>
                    <a:pt x="229" y="753"/>
                  </a:lnTo>
                  <a:lnTo>
                    <a:pt x="234" y="757"/>
                  </a:lnTo>
                  <a:lnTo>
                    <a:pt x="248" y="766"/>
                  </a:lnTo>
                  <a:lnTo>
                    <a:pt x="264" y="775"/>
                  </a:lnTo>
                  <a:lnTo>
                    <a:pt x="281" y="782"/>
                  </a:lnTo>
                  <a:lnTo>
                    <a:pt x="298" y="787"/>
                  </a:lnTo>
                  <a:lnTo>
                    <a:pt x="316" y="791"/>
                  </a:lnTo>
                  <a:lnTo>
                    <a:pt x="332" y="793"/>
                  </a:lnTo>
                  <a:lnTo>
                    <a:pt x="337" y="793"/>
                  </a:lnTo>
                  <a:lnTo>
                    <a:pt x="341" y="790"/>
                  </a:lnTo>
                  <a:lnTo>
                    <a:pt x="346" y="787"/>
                  </a:lnTo>
                  <a:lnTo>
                    <a:pt x="350" y="782"/>
                  </a:lnTo>
                  <a:lnTo>
                    <a:pt x="358" y="771"/>
                  </a:lnTo>
                  <a:lnTo>
                    <a:pt x="365" y="759"/>
                  </a:lnTo>
                  <a:lnTo>
                    <a:pt x="373" y="747"/>
                  </a:lnTo>
                  <a:lnTo>
                    <a:pt x="381" y="737"/>
                  </a:lnTo>
                  <a:lnTo>
                    <a:pt x="386" y="733"/>
                  </a:lnTo>
                  <a:lnTo>
                    <a:pt x="392" y="730"/>
                  </a:lnTo>
                  <a:lnTo>
                    <a:pt x="397" y="727"/>
                  </a:lnTo>
                  <a:lnTo>
                    <a:pt x="404" y="726"/>
                  </a:lnTo>
                  <a:lnTo>
                    <a:pt x="410" y="727"/>
                  </a:lnTo>
                  <a:lnTo>
                    <a:pt x="417" y="729"/>
                  </a:lnTo>
                  <a:lnTo>
                    <a:pt x="425" y="731"/>
                  </a:lnTo>
                  <a:lnTo>
                    <a:pt x="432" y="734"/>
                  </a:lnTo>
                  <a:lnTo>
                    <a:pt x="446" y="741"/>
                  </a:lnTo>
                  <a:lnTo>
                    <a:pt x="460" y="751"/>
                  </a:lnTo>
                  <a:lnTo>
                    <a:pt x="470" y="762"/>
                  </a:lnTo>
                  <a:lnTo>
                    <a:pt x="480" y="773"/>
                  </a:lnTo>
                  <a:lnTo>
                    <a:pt x="484" y="778"/>
                  </a:lnTo>
                  <a:lnTo>
                    <a:pt x="485" y="783"/>
                  </a:lnTo>
                  <a:lnTo>
                    <a:pt x="488" y="789"/>
                  </a:lnTo>
                  <a:lnTo>
                    <a:pt x="488" y="793"/>
                  </a:lnTo>
                  <a:lnTo>
                    <a:pt x="486" y="798"/>
                  </a:lnTo>
                  <a:lnTo>
                    <a:pt x="484" y="803"/>
                  </a:lnTo>
                  <a:lnTo>
                    <a:pt x="478" y="810"/>
                  </a:lnTo>
                  <a:lnTo>
                    <a:pt x="472" y="818"/>
                  </a:lnTo>
                  <a:lnTo>
                    <a:pt x="454" y="834"/>
                  </a:lnTo>
                  <a:lnTo>
                    <a:pt x="433" y="851"/>
                  </a:lnTo>
                  <a:lnTo>
                    <a:pt x="412" y="869"/>
                  </a:lnTo>
                  <a:lnTo>
                    <a:pt x="392" y="885"/>
                  </a:lnTo>
                  <a:lnTo>
                    <a:pt x="373" y="901"/>
                  </a:lnTo>
                  <a:lnTo>
                    <a:pt x="361" y="914"/>
                  </a:lnTo>
                  <a:lnTo>
                    <a:pt x="356" y="919"/>
                  </a:lnTo>
                  <a:lnTo>
                    <a:pt x="349" y="925"/>
                  </a:lnTo>
                  <a:lnTo>
                    <a:pt x="342" y="930"/>
                  </a:lnTo>
                  <a:lnTo>
                    <a:pt x="334" y="934"/>
                  </a:lnTo>
                  <a:lnTo>
                    <a:pt x="318" y="942"/>
                  </a:lnTo>
                  <a:lnTo>
                    <a:pt x="308" y="950"/>
                  </a:lnTo>
                  <a:lnTo>
                    <a:pt x="305" y="954"/>
                  </a:lnTo>
                  <a:lnTo>
                    <a:pt x="304" y="958"/>
                  </a:lnTo>
                  <a:lnTo>
                    <a:pt x="305" y="963"/>
                  </a:lnTo>
                  <a:lnTo>
                    <a:pt x="306" y="970"/>
                  </a:lnTo>
                  <a:lnTo>
                    <a:pt x="313" y="983"/>
                  </a:lnTo>
                  <a:lnTo>
                    <a:pt x="321" y="998"/>
                  </a:lnTo>
                  <a:lnTo>
                    <a:pt x="324" y="1005"/>
                  </a:lnTo>
                  <a:lnTo>
                    <a:pt x="326" y="1013"/>
                  </a:lnTo>
                  <a:lnTo>
                    <a:pt x="328" y="1019"/>
                  </a:lnTo>
                  <a:lnTo>
                    <a:pt x="328" y="1026"/>
                  </a:lnTo>
                  <a:lnTo>
                    <a:pt x="325" y="1031"/>
                  </a:lnTo>
                  <a:lnTo>
                    <a:pt x="322" y="1037"/>
                  </a:lnTo>
                  <a:lnTo>
                    <a:pt x="316" y="1042"/>
                  </a:lnTo>
                  <a:lnTo>
                    <a:pt x="308" y="1046"/>
                  </a:lnTo>
                  <a:lnTo>
                    <a:pt x="293" y="1053"/>
                  </a:lnTo>
                  <a:lnTo>
                    <a:pt x="277" y="1058"/>
                  </a:lnTo>
                  <a:lnTo>
                    <a:pt x="261" y="1063"/>
                  </a:lnTo>
                  <a:lnTo>
                    <a:pt x="244" y="1067"/>
                  </a:lnTo>
                  <a:lnTo>
                    <a:pt x="226" y="1071"/>
                  </a:lnTo>
                  <a:lnTo>
                    <a:pt x="210" y="1074"/>
                  </a:lnTo>
                  <a:lnTo>
                    <a:pt x="194" y="1075"/>
                  </a:lnTo>
                  <a:lnTo>
                    <a:pt x="181" y="1077"/>
                  </a:lnTo>
                  <a:lnTo>
                    <a:pt x="170" y="1077"/>
                  </a:lnTo>
                  <a:lnTo>
                    <a:pt x="161" y="1078"/>
                  </a:lnTo>
                  <a:lnTo>
                    <a:pt x="153" y="1079"/>
                  </a:lnTo>
                  <a:lnTo>
                    <a:pt x="145" y="1082"/>
                  </a:lnTo>
                  <a:lnTo>
                    <a:pt x="137" y="1086"/>
                  </a:lnTo>
                  <a:lnTo>
                    <a:pt x="130" y="1090"/>
                  </a:lnTo>
                  <a:lnTo>
                    <a:pt x="124" y="1094"/>
                  </a:lnTo>
                  <a:lnTo>
                    <a:pt x="118" y="1099"/>
                  </a:lnTo>
                  <a:lnTo>
                    <a:pt x="108" y="1111"/>
                  </a:lnTo>
                  <a:lnTo>
                    <a:pt x="98" y="1124"/>
                  </a:lnTo>
                  <a:lnTo>
                    <a:pt x="90" y="1139"/>
                  </a:lnTo>
                  <a:lnTo>
                    <a:pt x="84" y="1155"/>
                  </a:lnTo>
                  <a:lnTo>
                    <a:pt x="73" y="1190"/>
                  </a:lnTo>
                  <a:lnTo>
                    <a:pt x="64" y="1223"/>
                  </a:lnTo>
                  <a:lnTo>
                    <a:pt x="58" y="1239"/>
                  </a:lnTo>
                  <a:lnTo>
                    <a:pt x="54" y="1255"/>
                  </a:lnTo>
                  <a:lnTo>
                    <a:pt x="48" y="1268"/>
                  </a:lnTo>
                  <a:lnTo>
                    <a:pt x="42" y="1280"/>
                  </a:lnTo>
                  <a:lnTo>
                    <a:pt x="37" y="1288"/>
                  </a:lnTo>
                  <a:lnTo>
                    <a:pt x="30" y="1295"/>
                  </a:lnTo>
                  <a:lnTo>
                    <a:pt x="24" y="1300"/>
                  </a:lnTo>
                  <a:lnTo>
                    <a:pt x="17" y="1306"/>
                  </a:lnTo>
                  <a:lnTo>
                    <a:pt x="10" y="1312"/>
                  </a:lnTo>
                  <a:lnTo>
                    <a:pt x="5" y="1319"/>
                  </a:lnTo>
                  <a:lnTo>
                    <a:pt x="2" y="1324"/>
                  </a:lnTo>
                  <a:lnTo>
                    <a:pt x="1" y="1328"/>
                  </a:lnTo>
                  <a:lnTo>
                    <a:pt x="0" y="1335"/>
                  </a:lnTo>
                  <a:lnTo>
                    <a:pt x="0" y="1340"/>
                  </a:lnTo>
                  <a:lnTo>
                    <a:pt x="1" y="1348"/>
                  </a:lnTo>
                  <a:lnTo>
                    <a:pt x="5" y="1356"/>
                  </a:lnTo>
                  <a:lnTo>
                    <a:pt x="10" y="1362"/>
                  </a:lnTo>
                  <a:lnTo>
                    <a:pt x="17" y="1366"/>
                  </a:lnTo>
                  <a:lnTo>
                    <a:pt x="30" y="1372"/>
                  </a:lnTo>
                  <a:lnTo>
                    <a:pt x="42" y="1376"/>
                  </a:lnTo>
                  <a:lnTo>
                    <a:pt x="12" y="1450"/>
                  </a:lnTo>
                  <a:lnTo>
                    <a:pt x="17" y="1454"/>
                  </a:lnTo>
                  <a:lnTo>
                    <a:pt x="21" y="1458"/>
                  </a:lnTo>
                  <a:lnTo>
                    <a:pt x="25" y="1464"/>
                  </a:lnTo>
                  <a:lnTo>
                    <a:pt x="28" y="1470"/>
                  </a:lnTo>
                  <a:lnTo>
                    <a:pt x="33" y="1484"/>
                  </a:lnTo>
                  <a:lnTo>
                    <a:pt x="37" y="1498"/>
                  </a:lnTo>
                  <a:lnTo>
                    <a:pt x="42" y="1511"/>
                  </a:lnTo>
                  <a:lnTo>
                    <a:pt x="49" y="1523"/>
                  </a:lnTo>
                  <a:lnTo>
                    <a:pt x="53" y="1527"/>
                  </a:lnTo>
                  <a:lnTo>
                    <a:pt x="58" y="1531"/>
                  </a:lnTo>
                  <a:lnTo>
                    <a:pt x="65" y="1532"/>
                  </a:lnTo>
                  <a:lnTo>
                    <a:pt x="72" y="1534"/>
                  </a:lnTo>
                  <a:lnTo>
                    <a:pt x="78" y="1532"/>
                  </a:lnTo>
                  <a:lnTo>
                    <a:pt x="85" y="1531"/>
                  </a:lnTo>
                  <a:lnTo>
                    <a:pt x="90" y="1527"/>
                  </a:lnTo>
                  <a:lnTo>
                    <a:pt x="96" y="1522"/>
                  </a:lnTo>
                  <a:lnTo>
                    <a:pt x="106" y="1511"/>
                  </a:lnTo>
                  <a:lnTo>
                    <a:pt x="117" y="1498"/>
                  </a:lnTo>
                  <a:lnTo>
                    <a:pt x="129" y="1484"/>
                  </a:lnTo>
                  <a:lnTo>
                    <a:pt x="144" y="1472"/>
                  </a:lnTo>
                  <a:lnTo>
                    <a:pt x="152" y="1468"/>
                  </a:lnTo>
                  <a:lnTo>
                    <a:pt x="160" y="1464"/>
                  </a:lnTo>
                  <a:lnTo>
                    <a:pt x="170" y="1462"/>
                  </a:lnTo>
                  <a:lnTo>
                    <a:pt x="181" y="1462"/>
                  </a:lnTo>
                  <a:lnTo>
                    <a:pt x="198" y="1463"/>
                  </a:lnTo>
                  <a:lnTo>
                    <a:pt x="214" y="1467"/>
                  </a:lnTo>
                  <a:lnTo>
                    <a:pt x="224" y="1470"/>
                  </a:lnTo>
                  <a:lnTo>
                    <a:pt x="232" y="1471"/>
                  </a:lnTo>
                  <a:lnTo>
                    <a:pt x="242" y="1472"/>
                  </a:lnTo>
                  <a:lnTo>
                    <a:pt x="253" y="1474"/>
                  </a:lnTo>
                  <a:lnTo>
                    <a:pt x="264" y="1472"/>
                  </a:lnTo>
                  <a:lnTo>
                    <a:pt x="272" y="1471"/>
                  </a:lnTo>
                  <a:lnTo>
                    <a:pt x="278" y="1470"/>
                  </a:lnTo>
                  <a:lnTo>
                    <a:pt x="285" y="1467"/>
                  </a:lnTo>
                  <a:lnTo>
                    <a:pt x="298" y="1460"/>
                  </a:lnTo>
                  <a:lnTo>
                    <a:pt x="313" y="1455"/>
                  </a:lnTo>
                  <a:lnTo>
                    <a:pt x="313" y="1464"/>
                  </a:lnTo>
                  <a:lnTo>
                    <a:pt x="314" y="1474"/>
                  </a:lnTo>
                  <a:lnTo>
                    <a:pt x="316" y="1483"/>
                  </a:lnTo>
                  <a:lnTo>
                    <a:pt x="320" y="1491"/>
                  </a:lnTo>
                  <a:lnTo>
                    <a:pt x="324" y="1499"/>
                  </a:lnTo>
                  <a:lnTo>
                    <a:pt x="328" y="1504"/>
                  </a:lnTo>
                  <a:lnTo>
                    <a:pt x="332" y="1507"/>
                  </a:lnTo>
                  <a:lnTo>
                    <a:pt x="334" y="1508"/>
                  </a:lnTo>
                  <a:lnTo>
                    <a:pt x="338" y="1510"/>
                  </a:lnTo>
                  <a:lnTo>
                    <a:pt x="344" y="1510"/>
                  </a:lnTo>
                  <a:lnTo>
                    <a:pt x="349" y="1510"/>
                  </a:lnTo>
                  <a:lnTo>
                    <a:pt x="354" y="1508"/>
                  </a:lnTo>
                  <a:lnTo>
                    <a:pt x="358" y="1506"/>
                  </a:lnTo>
                  <a:lnTo>
                    <a:pt x="362" y="1504"/>
                  </a:lnTo>
                  <a:lnTo>
                    <a:pt x="372" y="1498"/>
                  </a:lnTo>
                  <a:lnTo>
                    <a:pt x="380" y="1491"/>
                  </a:lnTo>
                  <a:lnTo>
                    <a:pt x="389" y="1484"/>
                  </a:lnTo>
                  <a:lnTo>
                    <a:pt x="398" y="1479"/>
                  </a:lnTo>
                  <a:lnTo>
                    <a:pt x="404" y="1476"/>
                  </a:lnTo>
                  <a:lnTo>
                    <a:pt x="409" y="1475"/>
                  </a:lnTo>
                  <a:lnTo>
                    <a:pt x="414" y="1474"/>
                  </a:lnTo>
                  <a:lnTo>
                    <a:pt x="421" y="1474"/>
                  </a:lnTo>
                  <a:lnTo>
                    <a:pt x="430" y="1474"/>
                  </a:lnTo>
                  <a:lnTo>
                    <a:pt x="440" y="1474"/>
                  </a:lnTo>
                  <a:lnTo>
                    <a:pt x="445" y="1472"/>
                  </a:lnTo>
                  <a:lnTo>
                    <a:pt x="450" y="1472"/>
                  </a:lnTo>
                  <a:lnTo>
                    <a:pt x="456" y="1470"/>
                  </a:lnTo>
                  <a:lnTo>
                    <a:pt x="462" y="1467"/>
                  </a:lnTo>
                  <a:lnTo>
                    <a:pt x="468" y="1463"/>
                  </a:lnTo>
                  <a:lnTo>
                    <a:pt x="472" y="1458"/>
                  </a:lnTo>
                  <a:lnTo>
                    <a:pt x="474" y="1451"/>
                  </a:lnTo>
                  <a:lnTo>
                    <a:pt x="476" y="1443"/>
                  </a:lnTo>
                  <a:lnTo>
                    <a:pt x="476" y="1428"/>
                  </a:lnTo>
                  <a:lnTo>
                    <a:pt x="474" y="1416"/>
                  </a:lnTo>
                  <a:lnTo>
                    <a:pt x="472" y="1406"/>
                  </a:lnTo>
                  <a:lnTo>
                    <a:pt x="469" y="1396"/>
                  </a:lnTo>
                  <a:lnTo>
                    <a:pt x="468" y="1386"/>
                  </a:lnTo>
                  <a:lnTo>
                    <a:pt x="465" y="1376"/>
                  </a:lnTo>
                  <a:lnTo>
                    <a:pt x="464" y="1366"/>
                  </a:lnTo>
                  <a:lnTo>
                    <a:pt x="464" y="1352"/>
                  </a:lnTo>
                  <a:lnTo>
                    <a:pt x="464" y="1351"/>
                  </a:lnTo>
                  <a:lnTo>
                    <a:pt x="465" y="1350"/>
                  </a:lnTo>
                  <a:lnTo>
                    <a:pt x="466" y="1348"/>
                  </a:lnTo>
                  <a:lnTo>
                    <a:pt x="469" y="1348"/>
                  </a:lnTo>
                  <a:lnTo>
                    <a:pt x="474" y="1347"/>
                  </a:lnTo>
                  <a:lnTo>
                    <a:pt x="480" y="1348"/>
                  </a:lnTo>
                  <a:lnTo>
                    <a:pt x="494" y="1351"/>
                  </a:lnTo>
                  <a:lnTo>
                    <a:pt x="506" y="1352"/>
                  </a:lnTo>
                  <a:lnTo>
                    <a:pt x="515" y="1352"/>
                  </a:lnTo>
                  <a:lnTo>
                    <a:pt x="521" y="1352"/>
                  </a:lnTo>
                  <a:lnTo>
                    <a:pt x="526" y="1352"/>
                  </a:lnTo>
                  <a:lnTo>
                    <a:pt x="535" y="1352"/>
                  </a:lnTo>
                  <a:lnTo>
                    <a:pt x="575" y="1350"/>
                  </a:lnTo>
                  <a:lnTo>
                    <a:pt x="614" y="1350"/>
                  </a:lnTo>
                  <a:lnTo>
                    <a:pt x="622" y="1351"/>
                  </a:lnTo>
                  <a:lnTo>
                    <a:pt x="630" y="1354"/>
                  </a:lnTo>
                  <a:lnTo>
                    <a:pt x="638" y="1358"/>
                  </a:lnTo>
                  <a:lnTo>
                    <a:pt x="645" y="1363"/>
                  </a:lnTo>
                  <a:lnTo>
                    <a:pt x="649" y="1370"/>
                  </a:lnTo>
                  <a:lnTo>
                    <a:pt x="653" y="1378"/>
                  </a:lnTo>
                  <a:lnTo>
                    <a:pt x="655" y="1388"/>
                  </a:lnTo>
                  <a:lnTo>
                    <a:pt x="657" y="1402"/>
                  </a:lnTo>
                  <a:lnTo>
                    <a:pt x="657" y="1412"/>
                  </a:lnTo>
                  <a:lnTo>
                    <a:pt x="658" y="1427"/>
                  </a:lnTo>
                  <a:lnTo>
                    <a:pt x="659" y="1434"/>
                  </a:lnTo>
                  <a:lnTo>
                    <a:pt x="661" y="1438"/>
                  </a:lnTo>
                  <a:lnTo>
                    <a:pt x="665" y="1442"/>
                  </a:lnTo>
                  <a:lnTo>
                    <a:pt x="669" y="1443"/>
                  </a:lnTo>
                  <a:lnTo>
                    <a:pt x="679" y="1443"/>
                  </a:lnTo>
                  <a:lnTo>
                    <a:pt x="682" y="1443"/>
                  </a:lnTo>
                  <a:lnTo>
                    <a:pt x="685" y="1443"/>
                  </a:lnTo>
                  <a:lnTo>
                    <a:pt x="693" y="1443"/>
                  </a:lnTo>
                  <a:lnTo>
                    <a:pt x="699" y="1444"/>
                  </a:lnTo>
                  <a:lnTo>
                    <a:pt x="706" y="1446"/>
                  </a:lnTo>
                  <a:lnTo>
                    <a:pt x="713" y="1450"/>
                  </a:lnTo>
                  <a:lnTo>
                    <a:pt x="718" y="1454"/>
                  </a:lnTo>
                  <a:lnTo>
                    <a:pt x="729" y="1464"/>
                  </a:lnTo>
                  <a:lnTo>
                    <a:pt x="739" y="1476"/>
                  </a:lnTo>
                  <a:lnTo>
                    <a:pt x="751" y="1488"/>
                  </a:lnTo>
                  <a:lnTo>
                    <a:pt x="765" y="1499"/>
                  </a:lnTo>
                  <a:lnTo>
                    <a:pt x="771" y="1503"/>
                  </a:lnTo>
                  <a:lnTo>
                    <a:pt x="781" y="1507"/>
                  </a:lnTo>
                  <a:lnTo>
                    <a:pt x="790" y="1508"/>
                  </a:lnTo>
                  <a:lnTo>
                    <a:pt x="801" y="1510"/>
                  </a:lnTo>
                  <a:lnTo>
                    <a:pt x="842" y="1510"/>
                  </a:lnTo>
                  <a:lnTo>
                    <a:pt x="879" y="1510"/>
                  </a:lnTo>
                  <a:lnTo>
                    <a:pt x="918" y="1510"/>
                  </a:lnTo>
                  <a:lnTo>
                    <a:pt x="963" y="1510"/>
                  </a:lnTo>
                  <a:lnTo>
                    <a:pt x="975" y="1508"/>
                  </a:lnTo>
                  <a:lnTo>
                    <a:pt x="986" y="1506"/>
                  </a:lnTo>
                  <a:lnTo>
                    <a:pt x="994" y="1502"/>
                  </a:lnTo>
                  <a:lnTo>
                    <a:pt x="1002" y="1498"/>
                  </a:lnTo>
                  <a:lnTo>
                    <a:pt x="1009" y="1492"/>
                  </a:lnTo>
                  <a:lnTo>
                    <a:pt x="1017" y="1490"/>
                  </a:lnTo>
                  <a:lnTo>
                    <a:pt x="1025" y="1487"/>
                  </a:lnTo>
                  <a:lnTo>
                    <a:pt x="1035" y="1486"/>
                  </a:lnTo>
                  <a:lnTo>
                    <a:pt x="1046" y="1486"/>
                  </a:lnTo>
                  <a:lnTo>
                    <a:pt x="1057" y="1487"/>
                  </a:lnTo>
                  <a:lnTo>
                    <a:pt x="1067" y="1488"/>
                  </a:lnTo>
                  <a:lnTo>
                    <a:pt x="1078" y="1491"/>
                  </a:lnTo>
                  <a:lnTo>
                    <a:pt x="1097" y="1498"/>
                  </a:lnTo>
                  <a:lnTo>
                    <a:pt x="1114" y="1506"/>
                  </a:lnTo>
                  <a:lnTo>
                    <a:pt x="1149" y="1526"/>
                  </a:lnTo>
                  <a:lnTo>
                    <a:pt x="1183" y="1547"/>
                  </a:lnTo>
                  <a:lnTo>
                    <a:pt x="1201" y="1556"/>
                  </a:lnTo>
                  <a:lnTo>
                    <a:pt x="1219" y="1566"/>
                  </a:lnTo>
                  <a:lnTo>
                    <a:pt x="1239" y="1574"/>
                  </a:lnTo>
                  <a:lnTo>
                    <a:pt x="1260" y="1579"/>
                  </a:lnTo>
                  <a:lnTo>
                    <a:pt x="1272" y="1582"/>
                  </a:lnTo>
                  <a:lnTo>
                    <a:pt x="1284" y="1583"/>
                  </a:lnTo>
                  <a:lnTo>
                    <a:pt x="1296" y="1584"/>
                  </a:lnTo>
                  <a:lnTo>
                    <a:pt x="1308" y="1584"/>
                  </a:lnTo>
                  <a:lnTo>
                    <a:pt x="1322" y="1583"/>
                  </a:lnTo>
                  <a:lnTo>
                    <a:pt x="1336" y="1582"/>
                  </a:lnTo>
                  <a:lnTo>
                    <a:pt x="1351" y="1579"/>
                  </a:lnTo>
                  <a:lnTo>
                    <a:pt x="1367" y="1576"/>
                  </a:lnTo>
                  <a:lnTo>
                    <a:pt x="1396" y="1503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accent1">
                  <a:lumMod val="20000"/>
                  <a:lumOff val="8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95" b="0" i="0" u="none" strike="noStrike" kern="1200" cap="none" spc="0" normalizeH="0" baseline="0" noProof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6" name="Freeform 107"/>
            <p:cNvSpPr>
              <a:spLocks/>
            </p:cNvSpPr>
            <p:nvPr/>
          </p:nvSpPr>
          <p:spPr bwMode="auto">
            <a:xfrm>
              <a:off x="4904425" y="2404227"/>
              <a:ext cx="27590" cy="26883"/>
            </a:xfrm>
            <a:custGeom>
              <a:avLst/>
              <a:gdLst>
                <a:gd name="T0" fmla="*/ 348 w 385"/>
                <a:gd name="T1" fmla="*/ 206 h 373"/>
                <a:gd name="T2" fmla="*/ 288 w 385"/>
                <a:gd name="T3" fmla="*/ 235 h 373"/>
                <a:gd name="T4" fmla="*/ 266 w 385"/>
                <a:gd name="T5" fmla="*/ 248 h 373"/>
                <a:gd name="T6" fmla="*/ 250 w 385"/>
                <a:gd name="T7" fmla="*/ 263 h 373"/>
                <a:gd name="T8" fmla="*/ 241 w 385"/>
                <a:gd name="T9" fmla="*/ 280 h 373"/>
                <a:gd name="T10" fmla="*/ 241 w 385"/>
                <a:gd name="T11" fmla="*/ 307 h 373"/>
                <a:gd name="T12" fmla="*/ 241 w 385"/>
                <a:gd name="T13" fmla="*/ 324 h 373"/>
                <a:gd name="T14" fmla="*/ 240 w 385"/>
                <a:gd name="T15" fmla="*/ 336 h 373"/>
                <a:gd name="T16" fmla="*/ 233 w 385"/>
                <a:gd name="T17" fmla="*/ 348 h 373"/>
                <a:gd name="T18" fmla="*/ 220 w 385"/>
                <a:gd name="T19" fmla="*/ 359 h 373"/>
                <a:gd name="T20" fmla="*/ 198 w 385"/>
                <a:gd name="T21" fmla="*/ 365 h 373"/>
                <a:gd name="T22" fmla="*/ 177 w 385"/>
                <a:gd name="T23" fmla="*/ 365 h 373"/>
                <a:gd name="T24" fmla="*/ 161 w 385"/>
                <a:gd name="T25" fmla="*/ 358 h 373"/>
                <a:gd name="T26" fmla="*/ 142 w 385"/>
                <a:gd name="T27" fmla="*/ 339 h 373"/>
                <a:gd name="T28" fmla="*/ 114 w 385"/>
                <a:gd name="T29" fmla="*/ 342 h 373"/>
                <a:gd name="T30" fmla="*/ 88 w 385"/>
                <a:gd name="T31" fmla="*/ 354 h 373"/>
                <a:gd name="T32" fmla="*/ 73 w 385"/>
                <a:gd name="T33" fmla="*/ 365 h 373"/>
                <a:gd name="T34" fmla="*/ 42 w 385"/>
                <a:gd name="T35" fmla="*/ 350 h 373"/>
                <a:gd name="T36" fmla="*/ 13 w 385"/>
                <a:gd name="T37" fmla="*/ 312 h 373"/>
                <a:gd name="T38" fmla="*/ 1 w 385"/>
                <a:gd name="T39" fmla="*/ 295 h 373"/>
                <a:gd name="T40" fmla="*/ 0 w 385"/>
                <a:gd name="T41" fmla="*/ 286 h 373"/>
                <a:gd name="T42" fmla="*/ 2 w 385"/>
                <a:gd name="T43" fmla="*/ 280 h 373"/>
                <a:gd name="T44" fmla="*/ 10 w 385"/>
                <a:gd name="T45" fmla="*/ 272 h 373"/>
                <a:gd name="T46" fmla="*/ 24 w 385"/>
                <a:gd name="T47" fmla="*/ 263 h 373"/>
                <a:gd name="T48" fmla="*/ 34 w 385"/>
                <a:gd name="T49" fmla="*/ 254 h 373"/>
                <a:gd name="T50" fmla="*/ 36 w 385"/>
                <a:gd name="T51" fmla="*/ 243 h 373"/>
                <a:gd name="T52" fmla="*/ 32 w 385"/>
                <a:gd name="T53" fmla="*/ 235 h 373"/>
                <a:gd name="T54" fmla="*/ 24 w 385"/>
                <a:gd name="T55" fmla="*/ 226 h 373"/>
                <a:gd name="T56" fmla="*/ 10 w 385"/>
                <a:gd name="T57" fmla="*/ 214 h 373"/>
                <a:gd name="T58" fmla="*/ 2 w 385"/>
                <a:gd name="T59" fmla="*/ 204 h 373"/>
                <a:gd name="T60" fmla="*/ 0 w 385"/>
                <a:gd name="T61" fmla="*/ 196 h 373"/>
                <a:gd name="T62" fmla="*/ 1 w 385"/>
                <a:gd name="T63" fmla="*/ 186 h 373"/>
                <a:gd name="T64" fmla="*/ 8 w 385"/>
                <a:gd name="T65" fmla="*/ 175 h 373"/>
                <a:gd name="T66" fmla="*/ 26 w 385"/>
                <a:gd name="T67" fmla="*/ 160 h 373"/>
                <a:gd name="T68" fmla="*/ 60 w 385"/>
                <a:gd name="T69" fmla="*/ 143 h 373"/>
                <a:gd name="T70" fmla="*/ 82 w 385"/>
                <a:gd name="T71" fmla="*/ 130 h 373"/>
                <a:gd name="T72" fmla="*/ 93 w 385"/>
                <a:gd name="T73" fmla="*/ 120 h 373"/>
                <a:gd name="T74" fmla="*/ 101 w 385"/>
                <a:gd name="T75" fmla="*/ 103 h 373"/>
                <a:gd name="T76" fmla="*/ 106 w 385"/>
                <a:gd name="T77" fmla="*/ 82 h 373"/>
                <a:gd name="T78" fmla="*/ 110 w 385"/>
                <a:gd name="T79" fmla="*/ 51 h 373"/>
                <a:gd name="T80" fmla="*/ 116 w 385"/>
                <a:gd name="T81" fmla="*/ 27 h 373"/>
                <a:gd name="T82" fmla="*/ 124 w 385"/>
                <a:gd name="T83" fmla="*/ 14 h 373"/>
                <a:gd name="T84" fmla="*/ 140 w 385"/>
                <a:gd name="T85" fmla="*/ 6 h 373"/>
                <a:gd name="T86" fmla="*/ 164 w 385"/>
                <a:gd name="T87" fmla="*/ 0 h 373"/>
                <a:gd name="T88" fmla="*/ 216 w 385"/>
                <a:gd name="T89" fmla="*/ 0 h 373"/>
                <a:gd name="T90" fmla="*/ 280 w 385"/>
                <a:gd name="T91" fmla="*/ 7 h 373"/>
                <a:gd name="T92" fmla="*/ 305 w 385"/>
                <a:gd name="T93" fmla="*/ 16 h 373"/>
                <a:gd name="T94" fmla="*/ 316 w 385"/>
                <a:gd name="T95" fmla="*/ 24 h 373"/>
                <a:gd name="T96" fmla="*/ 322 w 385"/>
                <a:gd name="T97" fmla="*/ 36 h 373"/>
                <a:gd name="T98" fmla="*/ 328 w 385"/>
                <a:gd name="T99" fmla="*/ 50 h 373"/>
                <a:gd name="T100" fmla="*/ 330 w 385"/>
                <a:gd name="T101" fmla="*/ 68 h 373"/>
                <a:gd name="T102" fmla="*/ 332 w 385"/>
                <a:gd name="T103" fmla="*/ 86 h 373"/>
                <a:gd name="T104" fmla="*/ 334 w 385"/>
                <a:gd name="T105" fmla="*/ 95 h 373"/>
                <a:gd name="T106" fmla="*/ 341 w 385"/>
                <a:gd name="T107" fmla="*/ 102 h 373"/>
                <a:gd name="T108" fmla="*/ 353 w 385"/>
                <a:gd name="T109" fmla="*/ 107 h 373"/>
                <a:gd name="T110" fmla="*/ 361 w 385"/>
                <a:gd name="T111" fmla="*/ 134 h 373"/>
                <a:gd name="T112" fmla="*/ 365 w 385"/>
                <a:gd name="T113" fmla="*/ 163 h 373"/>
                <a:gd name="T114" fmla="*/ 373 w 385"/>
                <a:gd name="T115" fmla="*/ 179 h 373"/>
                <a:gd name="T116" fmla="*/ 385 w 385"/>
                <a:gd name="T117" fmla="*/ 187 h 373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385"/>
                <a:gd name="T178" fmla="*/ 0 h 373"/>
                <a:gd name="T179" fmla="*/ 385 w 385"/>
                <a:gd name="T180" fmla="*/ 373 h 373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385" h="373">
                  <a:moveTo>
                    <a:pt x="385" y="187"/>
                  </a:moveTo>
                  <a:lnTo>
                    <a:pt x="348" y="206"/>
                  </a:lnTo>
                  <a:lnTo>
                    <a:pt x="300" y="228"/>
                  </a:lnTo>
                  <a:lnTo>
                    <a:pt x="288" y="235"/>
                  </a:lnTo>
                  <a:lnTo>
                    <a:pt x="277" y="242"/>
                  </a:lnTo>
                  <a:lnTo>
                    <a:pt x="266" y="248"/>
                  </a:lnTo>
                  <a:lnTo>
                    <a:pt x="258" y="256"/>
                  </a:lnTo>
                  <a:lnTo>
                    <a:pt x="250" y="263"/>
                  </a:lnTo>
                  <a:lnTo>
                    <a:pt x="245" y="272"/>
                  </a:lnTo>
                  <a:lnTo>
                    <a:pt x="241" y="280"/>
                  </a:lnTo>
                  <a:lnTo>
                    <a:pt x="241" y="288"/>
                  </a:lnTo>
                  <a:lnTo>
                    <a:pt x="241" y="307"/>
                  </a:lnTo>
                  <a:lnTo>
                    <a:pt x="241" y="316"/>
                  </a:lnTo>
                  <a:lnTo>
                    <a:pt x="241" y="324"/>
                  </a:lnTo>
                  <a:lnTo>
                    <a:pt x="241" y="331"/>
                  </a:lnTo>
                  <a:lnTo>
                    <a:pt x="240" y="336"/>
                  </a:lnTo>
                  <a:lnTo>
                    <a:pt x="237" y="342"/>
                  </a:lnTo>
                  <a:lnTo>
                    <a:pt x="233" y="348"/>
                  </a:lnTo>
                  <a:lnTo>
                    <a:pt x="226" y="354"/>
                  </a:lnTo>
                  <a:lnTo>
                    <a:pt x="220" y="359"/>
                  </a:lnTo>
                  <a:lnTo>
                    <a:pt x="210" y="363"/>
                  </a:lnTo>
                  <a:lnTo>
                    <a:pt x="198" y="365"/>
                  </a:lnTo>
                  <a:lnTo>
                    <a:pt x="186" y="367"/>
                  </a:lnTo>
                  <a:lnTo>
                    <a:pt x="177" y="365"/>
                  </a:lnTo>
                  <a:lnTo>
                    <a:pt x="169" y="363"/>
                  </a:lnTo>
                  <a:lnTo>
                    <a:pt x="161" y="358"/>
                  </a:lnTo>
                  <a:lnTo>
                    <a:pt x="154" y="351"/>
                  </a:lnTo>
                  <a:lnTo>
                    <a:pt x="142" y="339"/>
                  </a:lnTo>
                  <a:lnTo>
                    <a:pt x="132" y="331"/>
                  </a:lnTo>
                  <a:lnTo>
                    <a:pt x="114" y="342"/>
                  </a:lnTo>
                  <a:lnTo>
                    <a:pt x="97" y="350"/>
                  </a:lnTo>
                  <a:lnTo>
                    <a:pt x="88" y="354"/>
                  </a:lnTo>
                  <a:lnTo>
                    <a:pt x="80" y="359"/>
                  </a:lnTo>
                  <a:lnTo>
                    <a:pt x="73" y="365"/>
                  </a:lnTo>
                  <a:lnTo>
                    <a:pt x="66" y="373"/>
                  </a:lnTo>
                  <a:lnTo>
                    <a:pt x="42" y="350"/>
                  </a:lnTo>
                  <a:lnTo>
                    <a:pt x="21" y="324"/>
                  </a:lnTo>
                  <a:lnTo>
                    <a:pt x="13" y="312"/>
                  </a:lnTo>
                  <a:lnTo>
                    <a:pt x="5" y="303"/>
                  </a:lnTo>
                  <a:lnTo>
                    <a:pt x="1" y="295"/>
                  </a:lnTo>
                  <a:lnTo>
                    <a:pt x="0" y="288"/>
                  </a:lnTo>
                  <a:lnTo>
                    <a:pt x="0" y="286"/>
                  </a:lnTo>
                  <a:lnTo>
                    <a:pt x="1" y="283"/>
                  </a:lnTo>
                  <a:lnTo>
                    <a:pt x="2" y="280"/>
                  </a:lnTo>
                  <a:lnTo>
                    <a:pt x="5" y="278"/>
                  </a:lnTo>
                  <a:lnTo>
                    <a:pt x="10" y="272"/>
                  </a:lnTo>
                  <a:lnTo>
                    <a:pt x="17" y="268"/>
                  </a:lnTo>
                  <a:lnTo>
                    <a:pt x="24" y="263"/>
                  </a:lnTo>
                  <a:lnTo>
                    <a:pt x="30" y="259"/>
                  </a:lnTo>
                  <a:lnTo>
                    <a:pt x="34" y="254"/>
                  </a:lnTo>
                  <a:lnTo>
                    <a:pt x="36" y="247"/>
                  </a:lnTo>
                  <a:lnTo>
                    <a:pt x="36" y="243"/>
                  </a:lnTo>
                  <a:lnTo>
                    <a:pt x="34" y="239"/>
                  </a:lnTo>
                  <a:lnTo>
                    <a:pt x="32" y="235"/>
                  </a:lnTo>
                  <a:lnTo>
                    <a:pt x="30" y="231"/>
                  </a:lnTo>
                  <a:lnTo>
                    <a:pt x="24" y="226"/>
                  </a:lnTo>
                  <a:lnTo>
                    <a:pt x="17" y="219"/>
                  </a:lnTo>
                  <a:lnTo>
                    <a:pt x="10" y="214"/>
                  </a:lnTo>
                  <a:lnTo>
                    <a:pt x="5" y="208"/>
                  </a:lnTo>
                  <a:lnTo>
                    <a:pt x="2" y="204"/>
                  </a:lnTo>
                  <a:lnTo>
                    <a:pt x="1" y="200"/>
                  </a:lnTo>
                  <a:lnTo>
                    <a:pt x="0" y="196"/>
                  </a:lnTo>
                  <a:lnTo>
                    <a:pt x="0" y="192"/>
                  </a:lnTo>
                  <a:lnTo>
                    <a:pt x="1" y="186"/>
                  </a:lnTo>
                  <a:lnTo>
                    <a:pt x="4" y="180"/>
                  </a:lnTo>
                  <a:lnTo>
                    <a:pt x="8" y="175"/>
                  </a:lnTo>
                  <a:lnTo>
                    <a:pt x="13" y="170"/>
                  </a:lnTo>
                  <a:lnTo>
                    <a:pt x="26" y="160"/>
                  </a:lnTo>
                  <a:lnTo>
                    <a:pt x="44" y="151"/>
                  </a:lnTo>
                  <a:lnTo>
                    <a:pt x="60" y="143"/>
                  </a:lnTo>
                  <a:lnTo>
                    <a:pt x="76" y="134"/>
                  </a:lnTo>
                  <a:lnTo>
                    <a:pt x="82" y="130"/>
                  </a:lnTo>
                  <a:lnTo>
                    <a:pt x="88" y="124"/>
                  </a:lnTo>
                  <a:lnTo>
                    <a:pt x="93" y="120"/>
                  </a:lnTo>
                  <a:lnTo>
                    <a:pt x="96" y="114"/>
                  </a:lnTo>
                  <a:lnTo>
                    <a:pt x="101" y="103"/>
                  </a:lnTo>
                  <a:lnTo>
                    <a:pt x="104" y="92"/>
                  </a:lnTo>
                  <a:lnTo>
                    <a:pt x="106" y="82"/>
                  </a:lnTo>
                  <a:lnTo>
                    <a:pt x="108" y="71"/>
                  </a:lnTo>
                  <a:lnTo>
                    <a:pt x="110" y="51"/>
                  </a:lnTo>
                  <a:lnTo>
                    <a:pt x="113" y="35"/>
                  </a:lnTo>
                  <a:lnTo>
                    <a:pt x="116" y="27"/>
                  </a:lnTo>
                  <a:lnTo>
                    <a:pt x="120" y="20"/>
                  </a:lnTo>
                  <a:lnTo>
                    <a:pt x="124" y="14"/>
                  </a:lnTo>
                  <a:lnTo>
                    <a:pt x="130" y="10"/>
                  </a:lnTo>
                  <a:lnTo>
                    <a:pt x="140" y="6"/>
                  </a:lnTo>
                  <a:lnTo>
                    <a:pt x="150" y="2"/>
                  </a:lnTo>
                  <a:lnTo>
                    <a:pt x="164" y="0"/>
                  </a:lnTo>
                  <a:lnTo>
                    <a:pt x="180" y="0"/>
                  </a:lnTo>
                  <a:lnTo>
                    <a:pt x="216" y="0"/>
                  </a:lnTo>
                  <a:lnTo>
                    <a:pt x="258" y="3"/>
                  </a:lnTo>
                  <a:lnTo>
                    <a:pt x="280" y="7"/>
                  </a:lnTo>
                  <a:lnTo>
                    <a:pt x="297" y="12"/>
                  </a:lnTo>
                  <a:lnTo>
                    <a:pt x="305" y="16"/>
                  </a:lnTo>
                  <a:lnTo>
                    <a:pt x="310" y="20"/>
                  </a:lnTo>
                  <a:lnTo>
                    <a:pt x="316" y="24"/>
                  </a:lnTo>
                  <a:lnTo>
                    <a:pt x="318" y="30"/>
                  </a:lnTo>
                  <a:lnTo>
                    <a:pt x="322" y="36"/>
                  </a:lnTo>
                  <a:lnTo>
                    <a:pt x="325" y="43"/>
                  </a:lnTo>
                  <a:lnTo>
                    <a:pt x="328" y="50"/>
                  </a:lnTo>
                  <a:lnTo>
                    <a:pt x="329" y="56"/>
                  </a:lnTo>
                  <a:lnTo>
                    <a:pt x="330" y="68"/>
                  </a:lnTo>
                  <a:lnTo>
                    <a:pt x="330" y="80"/>
                  </a:lnTo>
                  <a:lnTo>
                    <a:pt x="332" y="86"/>
                  </a:lnTo>
                  <a:lnTo>
                    <a:pt x="333" y="90"/>
                  </a:lnTo>
                  <a:lnTo>
                    <a:pt x="334" y="95"/>
                  </a:lnTo>
                  <a:lnTo>
                    <a:pt x="337" y="99"/>
                  </a:lnTo>
                  <a:lnTo>
                    <a:pt x="341" y="102"/>
                  </a:lnTo>
                  <a:lnTo>
                    <a:pt x="346" y="104"/>
                  </a:lnTo>
                  <a:lnTo>
                    <a:pt x="353" y="107"/>
                  </a:lnTo>
                  <a:lnTo>
                    <a:pt x="361" y="108"/>
                  </a:lnTo>
                  <a:lnTo>
                    <a:pt x="361" y="134"/>
                  </a:lnTo>
                  <a:lnTo>
                    <a:pt x="364" y="154"/>
                  </a:lnTo>
                  <a:lnTo>
                    <a:pt x="365" y="163"/>
                  </a:lnTo>
                  <a:lnTo>
                    <a:pt x="369" y="172"/>
                  </a:lnTo>
                  <a:lnTo>
                    <a:pt x="373" y="179"/>
                  </a:lnTo>
                  <a:lnTo>
                    <a:pt x="378" y="187"/>
                  </a:lnTo>
                  <a:lnTo>
                    <a:pt x="385" y="187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accent1">
                  <a:lumMod val="20000"/>
                  <a:lumOff val="8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95" b="0" i="0" u="none" strike="noStrike" kern="1200" cap="none" spc="0" normalizeH="0" baseline="0" noProof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7" name="Freeform 109"/>
            <p:cNvSpPr>
              <a:spLocks/>
            </p:cNvSpPr>
            <p:nvPr/>
          </p:nvSpPr>
          <p:spPr bwMode="auto">
            <a:xfrm>
              <a:off x="5293047" y="2548310"/>
              <a:ext cx="42918" cy="73574"/>
            </a:xfrm>
            <a:custGeom>
              <a:avLst/>
              <a:gdLst>
                <a:gd name="T0" fmla="*/ 110 w 595"/>
                <a:gd name="T1" fmla="*/ 18 h 1024"/>
                <a:gd name="T2" fmla="*/ 102 w 595"/>
                <a:gd name="T3" fmla="*/ 43 h 1024"/>
                <a:gd name="T4" fmla="*/ 113 w 595"/>
                <a:gd name="T5" fmla="*/ 75 h 1024"/>
                <a:gd name="T6" fmla="*/ 134 w 595"/>
                <a:gd name="T7" fmla="*/ 114 h 1024"/>
                <a:gd name="T8" fmla="*/ 137 w 595"/>
                <a:gd name="T9" fmla="*/ 149 h 1024"/>
                <a:gd name="T10" fmla="*/ 113 w 595"/>
                <a:gd name="T11" fmla="*/ 217 h 1024"/>
                <a:gd name="T12" fmla="*/ 102 w 595"/>
                <a:gd name="T13" fmla="*/ 269 h 1024"/>
                <a:gd name="T14" fmla="*/ 110 w 595"/>
                <a:gd name="T15" fmla="*/ 284 h 1024"/>
                <a:gd name="T16" fmla="*/ 165 w 595"/>
                <a:gd name="T17" fmla="*/ 281 h 1024"/>
                <a:gd name="T18" fmla="*/ 206 w 595"/>
                <a:gd name="T19" fmla="*/ 287 h 1024"/>
                <a:gd name="T20" fmla="*/ 226 w 595"/>
                <a:gd name="T21" fmla="*/ 301 h 1024"/>
                <a:gd name="T22" fmla="*/ 234 w 595"/>
                <a:gd name="T23" fmla="*/ 328 h 1024"/>
                <a:gd name="T24" fmla="*/ 226 w 595"/>
                <a:gd name="T25" fmla="*/ 371 h 1024"/>
                <a:gd name="T26" fmla="*/ 177 w 595"/>
                <a:gd name="T27" fmla="*/ 435 h 1024"/>
                <a:gd name="T28" fmla="*/ 152 w 595"/>
                <a:gd name="T29" fmla="*/ 492 h 1024"/>
                <a:gd name="T30" fmla="*/ 154 w 595"/>
                <a:gd name="T31" fmla="*/ 539 h 1024"/>
                <a:gd name="T32" fmla="*/ 180 w 595"/>
                <a:gd name="T33" fmla="*/ 612 h 1024"/>
                <a:gd name="T34" fmla="*/ 192 w 595"/>
                <a:gd name="T35" fmla="*/ 659 h 1024"/>
                <a:gd name="T36" fmla="*/ 188 w 595"/>
                <a:gd name="T37" fmla="*/ 698 h 1024"/>
                <a:gd name="T38" fmla="*/ 169 w 595"/>
                <a:gd name="T39" fmla="*/ 732 h 1024"/>
                <a:gd name="T40" fmla="*/ 114 w 595"/>
                <a:gd name="T41" fmla="*/ 776 h 1024"/>
                <a:gd name="T42" fmla="*/ 45 w 595"/>
                <a:gd name="T43" fmla="*/ 820 h 1024"/>
                <a:gd name="T44" fmla="*/ 12 w 595"/>
                <a:gd name="T45" fmla="*/ 853 h 1024"/>
                <a:gd name="T46" fmla="*/ 0 w 595"/>
                <a:gd name="T47" fmla="*/ 886 h 1024"/>
                <a:gd name="T48" fmla="*/ 5 w 595"/>
                <a:gd name="T49" fmla="*/ 908 h 1024"/>
                <a:gd name="T50" fmla="*/ 18 w 595"/>
                <a:gd name="T51" fmla="*/ 938 h 1024"/>
                <a:gd name="T52" fmla="*/ 6 w 595"/>
                <a:gd name="T53" fmla="*/ 988 h 1024"/>
                <a:gd name="T54" fmla="*/ 13 w 595"/>
                <a:gd name="T55" fmla="*/ 1001 h 1024"/>
                <a:gd name="T56" fmla="*/ 57 w 595"/>
                <a:gd name="T57" fmla="*/ 1020 h 1024"/>
                <a:gd name="T58" fmla="*/ 86 w 595"/>
                <a:gd name="T59" fmla="*/ 1022 h 1024"/>
                <a:gd name="T60" fmla="*/ 109 w 595"/>
                <a:gd name="T61" fmla="*/ 1004 h 1024"/>
                <a:gd name="T62" fmla="*/ 186 w 595"/>
                <a:gd name="T63" fmla="*/ 950 h 1024"/>
                <a:gd name="T64" fmla="*/ 234 w 595"/>
                <a:gd name="T65" fmla="*/ 962 h 1024"/>
                <a:gd name="T66" fmla="*/ 282 w 595"/>
                <a:gd name="T67" fmla="*/ 948 h 1024"/>
                <a:gd name="T68" fmla="*/ 320 w 595"/>
                <a:gd name="T69" fmla="*/ 918 h 1024"/>
                <a:gd name="T70" fmla="*/ 337 w 595"/>
                <a:gd name="T71" fmla="*/ 885 h 1024"/>
                <a:gd name="T72" fmla="*/ 337 w 595"/>
                <a:gd name="T73" fmla="*/ 836 h 1024"/>
                <a:gd name="T74" fmla="*/ 357 w 595"/>
                <a:gd name="T75" fmla="*/ 820 h 1024"/>
                <a:gd name="T76" fmla="*/ 404 w 595"/>
                <a:gd name="T77" fmla="*/ 825 h 1024"/>
                <a:gd name="T78" fmla="*/ 418 w 595"/>
                <a:gd name="T79" fmla="*/ 762 h 1024"/>
                <a:gd name="T80" fmla="*/ 453 w 595"/>
                <a:gd name="T81" fmla="*/ 722 h 1024"/>
                <a:gd name="T82" fmla="*/ 514 w 595"/>
                <a:gd name="T83" fmla="*/ 675 h 1024"/>
                <a:gd name="T84" fmla="*/ 541 w 595"/>
                <a:gd name="T85" fmla="*/ 639 h 1024"/>
                <a:gd name="T86" fmla="*/ 544 w 595"/>
                <a:gd name="T87" fmla="*/ 601 h 1024"/>
                <a:gd name="T88" fmla="*/ 558 w 595"/>
                <a:gd name="T89" fmla="*/ 565 h 1024"/>
                <a:gd name="T90" fmla="*/ 589 w 595"/>
                <a:gd name="T91" fmla="*/ 537 h 1024"/>
                <a:gd name="T92" fmla="*/ 595 w 595"/>
                <a:gd name="T93" fmla="*/ 517 h 1024"/>
                <a:gd name="T94" fmla="*/ 584 w 595"/>
                <a:gd name="T95" fmla="*/ 488 h 1024"/>
                <a:gd name="T96" fmla="*/ 572 w 595"/>
                <a:gd name="T97" fmla="*/ 457 h 1024"/>
                <a:gd name="T98" fmla="*/ 545 w 595"/>
                <a:gd name="T99" fmla="*/ 421 h 1024"/>
                <a:gd name="T100" fmla="*/ 502 w 595"/>
                <a:gd name="T101" fmla="*/ 288 h 1024"/>
                <a:gd name="T102" fmla="*/ 472 w 595"/>
                <a:gd name="T103" fmla="*/ 199 h 1024"/>
                <a:gd name="T104" fmla="*/ 446 w 595"/>
                <a:gd name="T105" fmla="*/ 161 h 1024"/>
                <a:gd name="T106" fmla="*/ 409 w 595"/>
                <a:gd name="T107" fmla="*/ 132 h 1024"/>
                <a:gd name="T108" fmla="*/ 360 w 595"/>
                <a:gd name="T109" fmla="*/ 94 h 1024"/>
                <a:gd name="T110" fmla="*/ 297 w 595"/>
                <a:gd name="T111" fmla="*/ 96 h 1024"/>
                <a:gd name="T112" fmla="*/ 253 w 595"/>
                <a:gd name="T113" fmla="*/ 102 h 1024"/>
                <a:gd name="T114" fmla="*/ 224 w 595"/>
                <a:gd name="T115" fmla="*/ 90 h 1024"/>
                <a:gd name="T116" fmla="*/ 162 w 595"/>
                <a:gd name="T117" fmla="*/ 26 h 1024"/>
                <a:gd name="T118" fmla="*/ 150 w 595"/>
                <a:gd name="T119" fmla="*/ 0 h 1024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595"/>
                <a:gd name="T181" fmla="*/ 0 h 1024"/>
                <a:gd name="T182" fmla="*/ 595 w 595"/>
                <a:gd name="T183" fmla="*/ 1024 h 1024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595" h="1024">
                  <a:moveTo>
                    <a:pt x="150" y="0"/>
                  </a:moveTo>
                  <a:lnTo>
                    <a:pt x="133" y="7"/>
                  </a:lnTo>
                  <a:lnTo>
                    <a:pt x="117" y="14"/>
                  </a:lnTo>
                  <a:lnTo>
                    <a:pt x="110" y="18"/>
                  </a:lnTo>
                  <a:lnTo>
                    <a:pt x="106" y="22"/>
                  </a:lnTo>
                  <a:lnTo>
                    <a:pt x="104" y="28"/>
                  </a:lnTo>
                  <a:lnTo>
                    <a:pt x="102" y="36"/>
                  </a:lnTo>
                  <a:lnTo>
                    <a:pt x="102" y="43"/>
                  </a:lnTo>
                  <a:lnTo>
                    <a:pt x="104" y="51"/>
                  </a:lnTo>
                  <a:lnTo>
                    <a:pt x="105" y="58"/>
                  </a:lnTo>
                  <a:lnTo>
                    <a:pt x="108" y="64"/>
                  </a:lnTo>
                  <a:lnTo>
                    <a:pt x="113" y="75"/>
                  </a:lnTo>
                  <a:lnTo>
                    <a:pt x="120" y="87"/>
                  </a:lnTo>
                  <a:lnTo>
                    <a:pt x="126" y="98"/>
                  </a:lnTo>
                  <a:lnTo>
                    <a:pt x="133" y="108"/>
                  </a:lnTo>
                  <a:lnTo>
                    <a:pt x="134" y="114"/>
                  </a:lnTo>
                  <a:lnTo>
                    <a:pt x="137" y="119"/>
                  </a:lnTo>
                  <a:lnTo>
                    <a:pt x="138" y="125"/>
                  </a:lnTo>
                  <a:lnTo>
                    <a:pt x="138" y="132"/>
                  </a:lnTo>
                  <a:lnTo>
                    <a:pt x="137" y="149"/>
                  </a:lnTo>
                  <a:lnTo>
                    <a:pt x="133" y="167"/>
                  </a:lnTo>
                  <a:lnTo>
                    <a:pt x="126" y="184"/>
                  </a:lnTo>
                  <a:lnTo>
                    <a:pt x="120" y="200"/>
                  </a:lnTo>
                  <a:lnTo>
                    <a:pt x="113" y="217"/>
                  </a:lnTo>
                  <a:lnTo>
                    <a:pt x="108" y="233"/>
                  </a:lnTo>
                  <a:lnTo>
                    <a:pt x="104" y="249"/>
                  </a:lnTo>
                  <a:lnTo>
                    <a:pt x="102" y="264"/>
                  </a:lnTo>
                  <a:lnTo>
                    <a:pt x="102" y="269"/>
                  </a:lnTo>
                  <a:lnTo>
                    <a:pt x="104" y="273"/>
                  </a:lnTo>
                  <a:lnTo>
                    <a:pt x="105" y="277"/>
                  </a:lnTo>
                  <a:lnTo>
                    <a:pt x="106" y="280"/>
                  </a:lnTo>
                  <a:lnTo>
                    <a:pt x="110" y="284"/>
                  </a:lnTo>
                  <a:lnTo>
                    <a:pt x="117" y="285"/>
                  </a:lnTo>
                  <a:lnTo>
                    <a:pt x="130" y="284"/>
                  </a:lnTo>
                  <a:lnTo>
                    <a:pt x="144" y="283"/>
                  </a:lnTo>
                  <a:lnTo>
                    <a:pt x="165" y="281"/>
                  </a:lnTo>
                  <a:lnTo>
                    <a:pt x="184" y="281"/>
                  </a:lnTo>
                  <a:lnTo>
                    <a:pt x="192" y="283"/>
                  </a:lnTo>
                  <a:lnTo>
                    <a:pt x="200" y="284"/>
                  </a:lnTo>
                  <a:lnTo>
                    <a:pt x="206" y="287"/>
                  </a:lnTo>
                  <a:lnTo>
                    <a:pt x="212" y="289"/>
                  </a:lnTo>
                  <a:lnTo>
                    <a:pt x="217" y="293"/>
                  </a:lnTo>
                  <a:lnTo>
                    <a:pt x="222" y="297"/>
                  </a:lnTo>
                  <a:lnTo>
                    <a:pt x="226" y="301"/>
                  </a:lnTo>
                  <a:lnTo>
                    <a:pt x="229" y="307"/>
                  </a:lnTo>
                  <a:lnTo>
                    <a:pt x="232" y="313"/>
                  </a:lnTo>
                  <a:lnTo>
                    <a:pt x="233" y="320"/>
                  </a:lnTo>
                  <a:lnTo>
                    <a:pt x="234" y="328"/>
                  </a:lnTo>
                  <a:lnTo>
                    <a:pt x="234" y="337"/>
                  </a:lnTo>
                  <a:lnTo>
                    <a:pt x="233" y="349"/>
                  </a:lnTo>
                  <a:lnTo>
                    <a:pt x="230" y="360"/>
                  </a:lnTo>
                  <a:lnTo>
                    <a:pt x="226" y="371"/>
                  </a:lnTo>
                  <a:lnTo>
                    <a:pt x="221" y="380"/>
                  </a:lnTo>
                  <a:lnTo>
                    <a:pt x="208" y="399"/>
                  </a:lnTo>
                  <a:lnTo>
                    <a:pt x="193" y="416"/>
                  </a:lnTo>
                  <a:lnTo>
                    <a:pt x="177" y="435"/>
                  </a:lnTo>
                  <a:lnTo>
                    <a:pt x="164" y="456"/>
                  </a:lnTo>
                  <a:lnTo>
                    <a:pt x="158" y="467"/>
                  </a:lnTo>
                  <a:lnTo>
                    <a:pt x="154" y="479"/>
                  </a:lnTo>
                  <a:lnTo>
                    <a:pt x="152" y="492"/>
                  </a:lnTo>
                  <a:lnTo>
                    <a:pt x="150" y="505"/>
                  </a:lnTo>
                  <a:lnTo>
                    <a:pt x="150" y="517"/>
                  </a:lnTo>
                  <a:lnTo>
                    <a:pt x="152" y="528"/>
                  </a:lnTo>
                  <a:lnTo>
                    <a:pt x="154" y="539"/>
                  </a:lnTo>
                  <a:lnTo>
                    <a:pt x="157" y="549"/>
                  </a:lnTo>
                  <a:lnTo>
                    <a:pt x="164" y="571"/>
                  </a:lnTo>
                  <a:lnTo>
                    <a:pt x="172" y="592"/>
                  </a:lnTo>
                  <a:lnTo>
                    <a:pt x="180" y="612"/>
                  </a:lnTo>
                  <a:lnTo>
                    <a:pt x="186" y="631"/>
                  </a:lnTo>
                  <a:lnTo>
                    <a:pt x="189" y="640"/>
                  </a:lnTo>
                  <a:lnTo>
                    <a:pt x="190" y="649"/>
                  </a:lnTo>
                  <a:lnTo>
                    <a:pt x="192" y="659"/>
                  </a:lnTo>
                  <a:lnTo>
                    <a:pt x="193" y="668"/>
                  </a:lnTo>
                  <a:lnTo>
                    <a:pt x="192" y="679"/>
                  </a:lnTo>
                  <a:lnTo>
                    <a:pt x="190" y="689"/>
                  </a:lnTo>
                  <a:lnTo>
                    <a:pt x="188" y="698"/>
                  </a:lnTo>
                  <a:lnTo>
                    <a:pt x="184" y="708"/>
                  </a:lnTo>
                  <a:lnTo>
                    <a:pt x="180" y="717"/>
                  </a:lnTo>
                  <a:lnTo>
                    <a:pt x="174" y="725"/>
                  </a:lnTo>
                  <a:lnTo>
                    <a:pt x="169" y="732"/>
                  </a:lnTo>
                  <a:lnTo>
                    <a:pt x="162" y="740"/>
                  </a:lnTo>
                  <a:lnTo>
                    <a:pt x="148" y="753"/>
                  </a:lnTo>
                  <a:lnTo>
                    <a:pt x="132" y="765"/>
                  </a:lnTo>
                  <a:lnTo>
                    <a:pt x="114" y="776"/>
                  </a:lnTo>
                  <a:lnTo>
                    <a:pt x="96" y="786"/>
                  </a:lnTo>
                  <a:lnTo>
                    <a:pt x="78" y="797"/>
                  </a:lnTo>
                  <a:lnTo>
                    <a:pt x="61" y="809"/>
                  </a:lnTo>
                  <a:lnTo>
                    <a:pt x="45" y="820"/>
                  </a:lnTo>
                  <a:lnTo>
                    <a:pt x="30" y="832"/>
                  </a:lnTo>
                  <a:lnTo>
                    <a:pt x="24" y="838"/>
                  </a:lnTo>
                  <a:lnTo>
                    <a:pt x="17" y="846"/>
                  </a:lnTo>
                  <a:lnTo>
                    <a:pt x="12" y="853"/>
                  </a:lnTo>
                  <a:lnTo>
                    <a:pt x="8" y="861"/>
                  </a:lnTo>
                  <a:lnTo>
                    <a:pt x="5" y="869"/>
                  </a:lnTo>
                  <a:lnTo>
                    <a:pt x="2" y="877"/>
                  </a:lnTo>
                  <a:lnTo>
                    <a:pt x="0" y="886"/>
                  </a:lnTo>
                  <a:lnTo>
                    <a:pt x="0" y="897"/>
                  </a:lnTo>
                  <a:lnTo>
                    <a:pt x="1" y="901"/>
                  </a:lnTo>
                  <a:lnTo>
                    <a:pt x="2" y="905"/>
                  </a:lnTo>
                  <a:lnTo>
                    <a:pt x="5" y="908"/>
                  </a:lnTo>
                  <a:lnTo>
                    <a:pt x="9" y="910"/>
                  </a:lnTo>
                  <a:lnTo>
                    <a:pt x="14" y="914"/>
                  </a:lnTo>
                  <a:lnTo>
                    <a:pt x="18" y="914"/>
                  </a:lnTo>
                  <a:lnTo>
                    <a:pt x="18" y="938"/>
                  </a:lnTo>
                  <a:lnTo>
                    <a:pt x="13" y="952"/>
                  </a:lnTo>
                  <a:lnTo>
                    <a:pt x="9" y="964"/>
                  </a:lnTo>
                  <a:lnTo>
                    <a:pt x="6" y="974"/>
                  </a:lnTo>
                  <a:lnTo>
                    <a:pt x="6" y="988"/>
                  </a:lnTo>
                  <a:lnTo>
                    <a:pt x="6" y="990"/>
                  </a:lnTo>
                  <a:lnTo>
                    <a:pt x="8" y="994"/>
                  </a:lnTo>
                  <a:lnTo>
                    <a:pt x="10" y="997"/>
                  </a:lnTo>
                  <a:lnTo>
                    <a:pt x="13" y="1001"/>
                  </a:lnTo>
                  <a:lnTo>
                    <a:pt x="22" y="1006"/>
                  </a:lnTo>
                  <a:lnTo>
                    <a:pt x="33" y="1012"/>
                  </a:lnTo>
                  <a:lnTo>
                    <a:pt x="45" y="1017"/>
                  </a:lnTo>
                  <a:lnTo>
                    <a:pt x="57" y="1020"/>
                  </a:lnTo>
                  <a:lnTo>
                    <a:pt x="68" y="1022"/>
                  </a:lnTo>
                  <a:lnTo>
                    <a:pt x="78" y="1024"/>
                  </a:lnTo>
                  <a:lnTo>
                    <a:pt x="82" y="1022"/>
                  </a:lnTo>
                  <a:lnTo>
                    <a:pt x="86" y="1022"/>
                  </a:lnTo>
                  <a:lnTo>
                    <a:pt x="90" y="1020"/>
                  </a:lnTo>
                  <a:lnTo>
                    <a:pt x="94" y="1017"/>
                  </a:lnTo>
                  <a:lnTo>
                    <a:pt x="102" y="1012"/>
                  </a:lnTo>
                  <a:lnTo>
                    <a:pt x="109" y="1004"/>
                  </a:lnTo>
                  <a:lnTo>
                    <a:pt x="122" y="988"/>
                  </a:lnTo>
                  <a:lnTo>
                    <a:pt x="132" y="976"/>
                  </a:lnTo>
                  <a:lnTo>
                    <a:pt x="138" y="950"/>
                  </a:lnTo>
                  <a:lnTo>
                    <a:pt x="186" y="950"/>
                  </a:lnTo>
                  <a:lnTo>
                    <a:pt x="198" y="957"/>
                  </a:lnTo>
                  <a:lnTo>
                    <a:pt x="210" y="960"/>
                  </a:lnTo>
                  <a:lnTo>
                    <a:pt x="222" y="962"/>
                  </a:lnTo>
                  <a:lnTo>
                    <a:pt x="234" y="962"/>
                  </a:lnTo>
                  <a:lnTo>
                    <a:pt x="246" y="960"/>
                  </a:lnTo>
                  <a:lnTo>
                    <a:pt x="258" y="957"/>
                  </a:lnTo>
                  <a:lnTo>
                    <a:pt x="270" y="953"/>
                  </a:lnTo>
                  <a:lnTo>
                    <a:pt x="282" y="948"/>
                  </a:lnTo>
                  <a:lnTo>
                    <a:pt x="293" y="941"/>
                  </a:lnTo>
                  <a:lnTo>
                    <a:pt x="302" y="934"/>
                  </a:lnTo>
                  <a:lnTo>
                    <a:pt x="312" y="926"/>
                  </a:lnTo>
                  <a:lnTo>
                    <a:pt x="320" y="918"/>
                  </a:lnTo>
                  <a:lnTo>
                    <a:pt x="326" y="909"/>
                  </a:lnTo>
                  <a:lnTo>
                    <a:pt x="332" y="901"/>
                  </a:lnTo>
                  <a:lnTo>
                    <a:pt x="334" y="893"/>
                  </a:lnTo>
                  <a:lnTo>
                    <a:pt x="337" y="885"/>
                  </a:lnTo>
                  <a:lnTo>
                    <a:pt x="336" y="866"/>
                  </a:lnTo>
                  <a:lnTo>
                    <a:pt x="336" y="850"/>
                  </a:lnTo>
                  <a:lnTo>
                    <a:pt x="336" y="842"/>
                  </a:lnTo>
                  <a:lnTo>
                    <a:pt x="337" y="836"/>
                  </a:lnTo>
                  <a:lnTo>
                    <a:pt x="340" y="829"/>
                  </a:lnTo>
                  <a:lnTo>
                    <a:pt x="344" y="825"/>
                  </a:lnTo>
                  <a:lnTo>
                    <a:pt x="350" y="821"/>
                  </a:lnTo>
                  <a:lnTo>
                    <a:pt x="357" y="820"/>
                  </a:lnTo>
                  <a:lnTo>
                    <a:pt x="364" y="820"/>
                  </a:lnTo>
                  <a:lnTo>
                    <a:pt x="370" y="820"/>
                  </a:lnTo>
                  <a:lnTo>
                    <a:pt x="386" y="822"/>
                  </a:lnTo>
                  <a:lnTo>
                    <a:pt x="404" y="825"/>
                  </a:lnTo>
                  <a:lnTo>
                    <a:pt x="404" y="806"/>
                  </a:lnTo>
                  <a:lnTo>
                    <a:pt x="408" y="790"/>
                  </a:lnTo>
                  <a:lnTo>
                    <a:pt x="412" y="776"/>
                  </a:lnTo>
                  <a:lnTo>
                    <a:pt x="418" y="762"/>
                  </a:lnTo>
                  <a:lnTo>
                    <a:pt x="425" y="750"/>
                  </a:lnTo>
                  <a:lnTo>
                    <a:pt x="434" y="741"/>
                  </a:lnTo>
                  <a:lnTo>
                    <a:pt x="444" y="730"/>
                  </a:lnTo>
                  <a:lnTo>
                    <a:pt x="453" y="722"/>
                  </a:lnTo>
                  <a:lnTo>
                    <a:pt x="474" y="706"/>
                  </a:lnTo>
                  <a:lnTo>
                    <a:pt x="494" y="691"/>
                  </a:lnTo>
                  <a:lnTo>
                    <a:pt x="505" y="683"/>
                  </a:lnTo>
                  <a:lnTo>
                    <a:pt x="514" y="675"/>
                  </a:lnTo>
                  <a:lnTo>
                    <a:pt x="522" y="665"/>
                  </a:lnTo>
                  <a:lnTo>
                    <a:pt x="530" y="656"/>
                  </a:lnTo>
                  <a:lnTo>
                    <a:pt x="537" y="647"/>
                  </a:lnTo>
                  <a:lnTo>
                    <a:pt x="541" y="639"/>
                  </a:lnTo>
                  <a:lnTo>
                    <a:pt x="542" y="631"/>
                  </a:lnTo>
                  <a:lnTo>
                    <a:pt x="544" y="621"/>
                  </a:lnTo>
                  <a:lnTo>
                    <a:pt x="544" y="612"/>
                  </a:lnTo>
                  <a:lnTo>
                    <a:pt x="544" y="601"/>
                  </a:lnTo>
                  <a:lnTo>
                    <a:pt x="545" y="591"/>
                  </a:lnTo>
                  <a:lnTo>
                    <a:pt x="548" y="577"/>
                  </a:lnTo>
                  <a:lnTo>
                    <a:pt x="552" y="571"/>
                  </a:lnTo>
                  <a:lnTo>
                    <a:pt x="558" y="565"/>
                  </a:lnTo>
                  <a:lnTo>
                    <a:pt x="566" y="559"/>
                  </a:lnTo>
                  <a:lnTo>
                    <a:pt x="574" y="552"/>
                  </a:lnTo>
                  <a:lnTo>
                    <a:pt x="582" y="545"/>
                  </a:lnTo>
                  <a:lnTo>
                    <a:pt x="589" y="537"/>
                  </a:lnTo>
                  <a:lnTo>
                    <a:pt x="591" y="533"/>
                  </a:lnTo>
                  <a:lnTo>
                    <a:pt x="594" y="528"/>
                  </a:lnTo>
                  <a:lnTo>
                    <a:pt x="595" y="523"/>
                  </a:lnTo>
                  <a:lnTo>
                    <a:pt x="595" y="517"/>
                  </a:lnTo>
                  <a:lnTo>
                    <a:pt x="594" y="509"/>
                  </a:lnTo>
                  <a:lnTo>
                    <a:pt x="591" y="501"/>
                  </a:lnTo>
                  <a:lnTo>
                    <a:pt x="589" y="495"/>
                  </a:lnTo>
                  <a:lnTo>
                    <a:pt x="584" y="488"/>
                  </a:lnTo>
                  <a:lnTo>
                    <a:pt x="580" y="480"/>
                  </a:lnTo>
                  <a:lnTo>
                    <a:pt x="576" y="473"/>
                  </a:lnTo>
                  <a:lnTo>
                    <a:pt x="573" y="465"/>
                  </a:lnTo>
                  <a:lnTo>
                    <a:pt x="572" y="457"/>
                  </a:lnTo>
                  <a:lnTo>
                    <a:pt x="565" y="449"/>
                  </a:lnTo>
                  <a:lnTo>
                    <a:pt x="557" y="440"/>
                  </a:lnTo>
                  <a:lnTo>
                    <a:pt x="552" y="432"/>
                  </a:lnTo>
                  <a:lnTo>
                    <a:pt x="545" y="421"/>
                  </a:lnTo>
                  <a:lnTo>
                    <a:pt x="536" y="401"/>
                  </a:lnTo>
                  <a:lnTo>
                    <a:pt x="528" y="380"/>
                  </a:lnTo>
                  <a:lnTo>
                    <a:pt x="513" y="335"/>
                  </a:lnTo>
                  <a:lnTo>
                    <a:pt x="502" y="288"/>
                  </a:lnTo>
                  <a:lnTo>
                    <a:pt x="496" y="264"/>
                  </a:lnTo>
                  <a:lnTo>
                    <a:pt x="489" y="241"/>
                  </a:lnTo>
                  <a:lnTo>
                    <a:pt x="481" y="220"/>
                  </a:lnTo>
                  <a:lnTo>
                    <a:pt x="472" y="199"/>
                  </a:lnTo>
                  <a:lnTo>
                    <a:pt x="465" y="189"/>
                  </a:lnTo>
                  <a:lnTo>
                    <a:pt x="460" y="180"/>
                  </a:lnTo>
                  <a:lnTo>
                    <a:pt x="453" y="171"/>
                  </a:lnTo>
                  <a:lnTo>
                    <a:pt x="446" y="161"/>
                  </a:lnTo>
                  <a:lnTo>
                    <a:pt x="438" y="153"/>
                  </a:lnTo>
                  <a:lnTo>
                    <a:pt x="429" y="145"/>
                  </a:lnTo>
                  <a:lnTo>
                    <a:pt x="420" y="139"/>
                  </a:lnTo>
                  <a:lnTo>
                    <a:pt x="409" y="132"/>
                  </a:lnTo>
                  <a:lnTo>
                    <a:pt x="393" y="117"/>
                  </a:lnTo>
                  <a:lnTo>
                    <a:pt x="377" y="104"/>
                  </a:lnTo>
                  <a:lnTo>
                    <a:pt x="369" y="99"/>
                  </a:lnTo>
                  <a:lnTo>
                    <a:pt x="360" y="94"/>
                  </a:lnTo>
                  <a:lnTo>
                    <a:pt x="349" y="91"/>
                  </a:lnTo>
                  <a:lnTo>
                    <a:pt x="337" y="90"/>
                  </a:lnTo>
                  <a:lnTo>
                    <a:pt x="316" y="92"/>
                  </a:lnTo>
                  <a:lnTo>
                    <a:pt x="297" y="96"/>
                  </a:lnTo>
                  <a:lnTo>
                    <a:pt x="288" y="99"/>
                  </a:lnTo>
                  <a:lnTo>
                    <a:pt x="277" y="100"/>
                  </a:lnTo>
                  <a:lnTo>
                    <a:pt x="265" y="102"/>
                  </a:lnTo>
                  <a:lnTo>
                    <a:pt x="253" y="102"/>
                  </a:lnTo>
                  <a:lnTo>
                    <a:pt x="246" y="102"/>
                  </a:lnTo>
                  <a:lnTo>
                    <a:pt x="240" y="99"/>
                  </a:lnTo>
                  <a:lnTo>
                    <a:pt x="232" y="95"/>
                  </a:lnTo>
                  <a:lnTo>
                    <a:pt x="224" y="90"/>
                  </a:lnTo>
                  <a:lnTo>
                    <a:pt x="208" y="76"/>
                  </a:lnTo>
                  <a:lnTo>
                    <a:pt x="190" y="60"/>
                  </a:lnTo>
                  <a:lnTo>
                    <a:pt x="174" y="43"/>
                  </a:lnTo>
                  <a:lnTo>
                    <a:pt x="162" y="26"/>
                  </a:lnTo>
                  <a:lnTo>
                    <a:pt x="157" y="18"/>
                  </a:lnTo>
                  <a:lnTo>
                    <a:pt x="153" y="11"/>
                  </a:lnTo>
                  <a:lnTo>
                    <a:pt x="152" y="4"/>
                  </a:lnTo>
                  <a:lnTo>
                    <a:pt x="150" y="0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accent1">
                  <a:lumMod val="20000"/>
                  <a:lumOff val="8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95" b="0" i="0" u="none" strike="noStrike" kern="1200" cap="none" spc="0" normalizeH="0" baseline="0" noProof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8" name="Freeform 117"/>
            <p:cNvSpPr>
              <a:spLocks/>
            </p:cNvSpPr>
            <p:nvPr/>
          </p:nvSpPr>
          <p:spPr bwMode="auto">
            <a:xfrm>
              <a:off x="4959134" y="2399511"/>
              <a:ext cx="38909" cy="46927"/>
            </a:xfrm>
            <a:custGeom>
              <a:avLst/>
              <a:gdLst>
                <a:gd name="T0" fmla="*/ 277 w 543"/>
                <a:gd name="T1" fmla="*/ 647 h 650"/>
                <a:gd name="T2" fmla="*/ 311 w 543"/>
                <a:gd name="T3" fmla="*/ 643 h 650"/>
                <a:gd name="T4" fmla="*/ 340 w 543"/>
                <a:gd name="T5" fmla="*/ 631 h 650"/>
                <a:gd name="T6" fmla="*/ 393 w 543"/>
                <a:gd name="T7" fmla="*/ 595 h 650"/>
                <a:gd name="T8" fmla="*/ 393 w 543"/>
                <a:gd name="T9" fmla="*/ 578 h 650"/>
                <a:gd name="T10" fmla="*/ 375 w 543"/>
                <a:gd name="T11" fmla="*/ 561 h 650"/>
                <a:gd name="T12" fmla="*/ 368 w 543"/>
                <a:gd name="T13" fmla="*/ 529 h 650"/>
                <a:gd name="T14" fmla="*/ 373 w 543"/>
                <a:gd name="T15" fmla="*/ 509 h 650"/>
                <a:gd name="T16" fmla="*/ 388 w 543"/>
                <a:gd name="T17" fmla="*/ 494 h 650"/>
                <a:gd name="T18" fmla="*/ 431 w 543"/>
                <a:gd name="T19" fmla="*/ 475 h 650"/>
                <a:gd name="T20" fmla="*/ 467 w 543"/>
                <a:gd name="T21" fmla="*/ 443 h 650"/>
                <a:gd name="T22" fmla="*/ 483 w 543"/>
                <a:gd name="T23" fmla="*/ 382 h 650"/>
                <a:gd name="T24" fmla="*/ 499 w 543"/>
                <a:gd name="T25" fmla="*/ 305 h 650"/>
                <a:gd name="T26" fmla="*/ 515 w 543"/>
                <a:gd name="T27" fmla="*/ 209 h 650"/>
                <a:gd name="T28" fmla="*/ 531 w 543"/>
                <a:gd name="T29" fmla="*/ 146 h 650"/>
                <a:gd name="T30" fmla="*/ 521 w 543"/>
                <a:gd name="T31" fmla="*/ 108 h 650"/>
                <a:gd name="T32" fmla="*/ 443 w 543"/>
                <a:gd name="T33" fmla="*/ 50 h 650"/>
                <a:gd name="T34" fmla="*/ 376 w 543"/>
                <a:gd name="T35" fmla="*/ 9 h 650"/>
                <a:gd name="T36" fmla="*/ 344 w 543"/>
                <a:gd name="T37" fmla="*/ 0 h 650"/>
                <a:gd name="T38" fmla="*/ 324 w 543"/>
                <a:gd name="T39" fmla="*/ 4 h 650"/>
                <a:gd name="T40" fmla="*/ 308 w 543"/>
                <a:gd name="T41" fmla="*/ 16 h 650"/>
                <a:gd name="T42" fmla="*/ 292 w 543"/>
                <a:gd name="T43" fmla="*/ 40 h 650"/>
                <a:gd name="T44" fmla="*/ 273 w 543"/>
                <a:gd name="T45" fmla="*/ 86 h 650"/>
                <a:gd name="T46" fmla="*/ 255 w 543"/>
                <a:gd name="T47" fmla="*/ 134 h 650"/>
                <a:gd name="T48" fmla="*/ 237 w 543"/>
                <a:gd name="T49" fmla="*/ 158 h 650"/>
                <a:gd name="T50" fmla="*/ 220 w 543"/>
                <a:gd name="T51" fmla="*/ 170 h 650"/>
                <a:gd name="T52" fmla="*/ 199 w 543"/>
                <a:gd name="T53" fmla="*/ 174 h 650"/>
                <a:gd name="T54" fmla="*/ 181 w 543"/>
                <a:gd name="T55" fmla="*/ 166 h 650"/>
                <a:gd name="T56" fmla="*/ 171 w 543"/>
                <a:gd name="T57" fmla="*/ 154 h 650"/>
                <a:gd name="T58" fmla="*/ 147 w 543"/>
                <a:gd name="T59" fmla="*/ 153 h 650"/>
                <a:gd name="T60" fmla="*/ 115 w 543"/>
                <a:gd name="T61" fmla="*/ 168 h 650"/>
                <a:gd name="T62" fmla="*/ 105 w 543"/>
                <a:gd name="T63" fmla="*/ 184 h 650"/>
                <a:gd name="T64" fmla="*/ 100 w 543"/>
                <a:gd name="T65" fmla="*/ 224 h 650"/>
                <a:gd name="T66" fmla="*/ 95 w 543"/>
                <a:gd name="T67" fmla="*/ 269 h 650"/>
                <a:gd name="T68" fmla="*/ 84 w 543"/>
                <a:gd name="T69" fmla="*/ 298 h 650"/>
                <a:gd name="T70" fmla="*/ 60 w 543"/>
                <a:gd name="T71" fmla="*/ 321 h 650"/>
                <a:gd name="T72" fmla="*/ 33 w 543"/>
                <a:gd name="T73" fmla="*/ 342 h 650"/>
                <a:gd name="T74" fmla="*/ 19 w 543"/>
                <a:gd name="T75" fmla="*/ 364 h 650"/>
                <a:gd name="T76" fmla="*/ 12 w 543"/>
                <a:gd name="T77" fmla="*/ 397 h 650"/>
                <a:gd name="T78" fmla="*/ 15 w 543"/>
                <a:gd name="T79" fmla="*/ 449 h 650"/>
                <a:gd name="T80" fmla="*/ 0 w 543"/>
                <a:gd name="T81" fmla="*/ 487 h 650"/>
                <a:gd name="T82" fmla="*/ 5 w 543"/>
                <a:gd name="T83" fmla="*/ 507 h 650"/>
                <a:gd name="T84" fmla="*/ 17 w 543"/>
                <a:gd name="T85" fmla="*/ 523 h 650"/>
                <a:gd name="T86" fmla="*/ 40 w 543"/>
                <a:gd name="T87" fmla="*/ 535 h 650"/>
                <a:gd name="T88" fmla="*/ 79 w 543"/>
                <a:gd name="T89" fmla="*/ 542 h 650"/>
                <a:gd name="T90" fmla="*/ 139 w 543"/>
                <a:gd name="T91" fmla="*/ 549 h 650"/>
                <a:gd name="T92" fmla="*/ 163 w 543"/>
                <a:gd name="T93" fmla="*/ 546 h 650"/>
                <a:gd name="T94" fmla="*/ 171 w 543"/>
                <a:gd name="T95" fmla="*/ 530 h 650"/>
                <a:gd name="T96" fmla="*/ 163 w 543"/>
                <a:gd name="T97" fmla="*/ 505 h 650"/>
                <a:gd name="T98" fmla="*/ 171 w 543"/>
                <a:gd name="T99" fmla="*/ 494 h 650"/>
                <a:gd name="T100" fmla="*/ 199 w 543"/>
                <a:gd name="T101" fmla="*/ 481 h 650"/>
                <a:gd name="T102" fmla="*/ 223 w 543"/>
                <a:gd name="T103" fmla="*/ 530 h 650"/>
                <a:gd name="T104" fmla="*/ 207 w 543"/>
                <a:gd name="T105" fmla="*/ 555 h 650"/>
                <a:gd name="T106" fmla="*/ 259 w 543"/>
                <a:gd name="T107" fmla="*/ 571 h 650"/>
                <a:gd name="T108" fmla="*/ 256 w 543"/>
                <a:gd name="T109" fmla="*/ 586 h 650"/>
                <a:gd name="T110" fmla="*/ 241 w 543"/>
                <a:gd name="T111" fmla="*/ 605 h 650"/>
                <a:gd name="T112" fmla="*/ 215 w 543"/>
                <a:gd name="T113" fmla="*/ 617 h 650"/>
                <a:gd name="T114" fmla="*/ 213 w 543"/>
                <a:gd name="T115" fmla="*/ 647 h 650"/>
                <a:gd name="T116" fmla="*/ 228 w 543"/>
                <a:gd name="T117" fmla="*/ 650 h 650"/>
                <a:gd name="T118" fmla="*/ 253 w 543"/>
                <a:gd name="T119" fmla="*/ 643 h 65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543"/>
                <a:gd name="T181" fmla="*/ 0 h 650"/>
                <a:gd name="T182" fmla="*/ 543 w 543"/>
                <a:gd name="T183" fmla="*/ 650 h 65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543" h="650">
                  <a:moveTo>
                    <a:pt x="253" y="643"/>
                  </a:moveTo>
                  <a:lnTo>
                    <a:pt x="265" y="646"/>
                  </a:lnTo>
                  <a:lnTo>
                    <a:pt x="277" y="647"/>
                  </a:lnTo>
                  <a:lnTo>
                    <a:pt x="288" y="647"/>
                  </a:lnTo>
                  <a:lnTo>
                    <a:pt x="300" y="646"/>
                  </a:lnTo>
                  <a:lnTo>
                    <a:pt x="311" y="643"/>
                  </a:lnTo>
                  <a:lnTo>
                    <a:pt x="321" y="641"/>
                  </a:lnTo>
                  <a:lnTo>
                    <a:pt x="331" y="637"/>
                  </a:lnTo>
                  <a:lnTo>
                    <a:pt x="340" y="631"/>
                  </a:lnTo>
                  <a:lnTo>
                    <a:pt x="359" y="621"/>
                  </a:lnTo>
                  <a:lnTo>
                    <a:pt x="377" y="609"/>
                  </a:lnTo>
                  <a:lnTo>
                    <a:pt x="393" y="595"/>
                  </a:lnTo>
                  <a:lnTo>
                    <a:pt x="409" y="583"/>
                  </a:lnTo>
                  <a:lnTo>
                    <a:pt x="401" y="581"/>
                  </a:lnTo>
                  <a:lnTo>
                    <a:pt x="393" y="578"/>
                  </a:lnTo>
                  <a:lnTo>
                    <a:pt x="385" y="573"/>
                  </a:lnTo>
                  <a:lnTo>
                    <a:pt x="380" y="567"/>
                  </a:lnTo>
                  <a:lnTo>
                    <a:pt x="375" y="561"/>
                  </a:lnTo>
                  <a:lnTo>
                    <a:pt x="371" y="553"/>
                  </a:lnTo>
                  <a:lnTo>
                    <a:pt x="368" y="542"/>
                  </a:lnTo>
                  <a:lnTo>
                    <a:pt x="368" y="529"/>
                  </a:lnTo>
                  <a:lnTo>
                    <a:pt x="368" y="522"/>
                  </a:lnTo>
                  <a:lnTo>
                    <a:pt x="371" y="515"/>
                  </a:lnTo>
                  <a:lnTo>
                    <a:pt x="373" y="509"/>
                  </a:lnTo>
                  <a:lnTo>
                    <a:pt x="377" y="503"/>
                  </a:lnTo>
                  <a:lnTo>
                    <a:pt x="383" y="499"/>
                  </a:lnTo>
                  <a:lnTo>
                    <a:pt x="388" y="494"/>
                  </a:lnTo>
                  <a:lnTo>
                    <a:pt x="395" y="491"/>
                  </a:lnTo>
                  <a:lnTo>
                    <a:pt x="401" y="487"/>
                  </a:lnTo>
                  <a:lnTo>
                    <a:pt x="431" y="475"/>
                  </a:lnTo>
                  <a:lnTo>
                    <a:pt x="457" y="463"/>
                  </a:lnTo>
                  <a:lnTo>
                    <a:pt x="463" y="454"/>
                  </a:lnTo>
                  <a:lnTo>
                    <a:pt x="467" y="443"/>
                  </a:lnTo>
                  <a:lnTo>
                    <a:pt x="471" y="429"/>
                  </a:lnTo>
                  <a:lnTo>
                    <a:pt x="475" y="414"/>
                  </a:lnTo>
                  <a:lnTo>
                    <a:pt x="483" y="382"/>
                  </a:lnTo>
                  <a:lnTo>
                    <a:pt x="488" y="354"/>
                  </a:lnTo>
                  <a:lnTo>
                    <a:pt x="495" y="332"/>
                  </a:lnTo>
                  <a:lnTo>
                    <a:pt x="499" y="305"/>
                  </a:lnTo>
                  <a:lnTo>
                    <a:pt x="504" y="274"/>
                  </a:lnTo>
                  <a:lnTo>
                    <a:pt x="508" y="242"/>
                  </a:lnTo>
                  <a:lnTo>
                    <a:pt x="515" y="209"/>
                  </a:lnTo>
                  <a:lnTo>
                    <a:pt x="521" y="177"/>
                  </a:lnTo>
                  <a:lnTo>
                    <a:pt x="525" y="161"/>
                  </a:lnTo>
                  <a:lnTo>
                    <a:pt x="531" y="146"/>
                  </a:lnTo>
                  <a:lnTo>
                    <a:pt x="536" y="133"/>
                  </a:lnTo>
                  <a:lnTo>
                    <a:pt x="543" y="120"/>
                  </a:lnTo>
                  <a:lnTo>
                    <a:pt x="521" y="108"/>
                  </a:lnTo>
                  <a:lnTo>
                    <a:pt x="497" y="92"/>
                  </a:lnTo>
                  <a:lnTo>
                    <a:pt x="471" y="72"/>
                  </a:lnTo>
                  <a:lnTo>
                    <a:pt x="443" y="50"/>
                  </a:lnTo>
                  <a:lnTo>
                    <a:pt x="415" y="32"/>
                  </a:lnTo>
                  <a:lnTo>
                    <a:pt x="388" y="14"/>
                  </a:lnTo>
                  <a:lnTo>
                    <a:pt x="376" y="9"/>
                  </a:lnTo>
                  <a:lnTo>
                    <a:pt x="364" y="4"/>
                  </a:lnTo>
                  <a:lnTo>
                    <a:pt x="353" y="1"/>
                  </a:lnTo>
                  <a:lnTo>
                    <a:pt x="344" y="0"/>
                  </a:lnTo>
                  <a:lnTo>
                    <a:pt x="336" y="0"/>
                  </a:lnTo>
                  <a:lnTo>
                    <a:pt x="329" y="1"/>
                  </a:lnTo>
                  <a:lnTo>
                    <a:pt x="324" y="4"/>
                  </a:lnTo>
                  <a:lnTo>
                    <a:pt x="319" y="8"/>
                  </a:lnTo>
                  <a:lnTo>
                    <a:pt x="313" y="10"/>
                  </a:lnTo>
                  <a:lnTo>
                    <a:pt x="308" y="16"/>
                  </a:lnTo>
                  <a:lnTo>
                    <a:pt x="304" y="21"/>
                  </a:lnTo>
                  <a:lnTo>
                    <a:pt x="300" y="26"/>
                  </a:lnTo>
                  <a:lnTo>
                    <a:pt x="292" y="40"/>
                  </a:lnTo>
                  <a:lnTo>
                    <a:pt x="285" y="54"/>
                  </a:lnTo>
                  <a:lnTo>
                    <a:pt x="280" y="70"/>
                  </a:lnTo>
                  <a:lnTo>
                    <a:pt x="273" y="86"/>
                  </a:lnTo>
                  <a:lnTo>
                    <a:pt x="268" y="104"/>
                  </a:lnTo>
                  <a:lnTo>
                    <a:pt x="261" y="118"/>
                  </a:lnTo>
                  <a:lnTo>
                    <a:pt x="255" y="134"/>
                  </a:lnTo>
                  <a:lnTo>
                    <a:pt x="247" y="146"/>
                  </a:lnTo>
                  <a:lnTo>
                    <a:pt x="241" y="153"/>
                  </a:lnTo>
                  <a:lnTo>
                    <a:pt x="237" y="158"/>
                  </a:lnTo>
                  <a:lnTo>
                    <a:pt x="232" y="162"/>
                  </a:lnTo>
                  <a:lnTo>
                    <a:pt x="227" y="166"/>
                  </a:lnTo>
                  <a:lnTo>
                    <a:pt x="220" y="170"/>
                  </a:lnTo>
                  <a:lnTo>
                    <a:pt x="213" y="172"/>
                  </a:lnTo>
                  <a:lnTo>
                    <a:pt x="207" y="174"/>
                  </a:lnTo>
                  <a:lnTo>
                    <a:pt x="199" y="174"/>
                  </a:lnTo>
                  <a:lnTo>
                    <a:pt x="191" y="173"/>
                  </a:lnTo>
                  <a:lnTo>
                    <a:pt x="185" y="170"/>
                  </a:lnTo>
                  <a:lnTo>
                    <a:pt x="181" y="166"/>
                  </a:lnTo>
                  <a:lnTo>
                    <a:pt x="177" y="162"/>
                  </a:lnTo>
                  <a:lnTo>
                    <a:pt x="175" y="158"/>
                  </a:lnTo>
                  <a:lnTo>
                    <a:pt x="171" y="154"/>
                  </a:lnTo>
                  <a:lnTo>
                    <a:pt x="164" y="152"/>
                  </a:lnTo>
                  <a:lnTo>
                    <a:pt x="157" y="150"/>
                  </a:lnTo>
                  <a:lnTo>
                    <a:pt x="147" y="153"/>
                  </a:lnTo>
                  <a:lnTo>
                    <a:pt x="131" y="160"/>
                  </a:lnTo>
                  <a:lnTo>
                    <a:pt x="123" y="164"/>
                  </a:lnTo>
                  <a:lnTo>
                    <a:pt x="115" y="168"/>
                  </a:lnTo>
                  <a:lnTo>
                    <a:pt x="111" y="172"/>
                  </a:lnTo>
                  <a:lnTo>
                    <a:pt x="108" y="174"/>
                  </a:lnTo>
                  <a:lnTo>
                    <a:pt x="105" y="184"/>
                  </a:lnTo>
                  <a:lnTo>
                    <a:pt x="103" y="196"/>
                  </a:lnTo>
                  <a:lnTo>
                    <a:pt x="101" y="209"/>
                  </a:lnTo>
                  <a:lnTo>
                    <a:pt x="100" y="224"/>
                  </a:lnTo>
                  <a:lnTo>
                    <a:pt x="99" y="238"/>
                  </a:lnTo>
                  <a:lnTo>
                    <a:pt x="97" y="254"/>
                  </a:lnTo>
                  <a:lnTo>
                    <a:pt x="95" y="269"/>
                  </a:lnTo>
                  <a:lnTo>
                    <a:pt x="91" y="282"/>
                  </a:lnTo>
                  <a:lnTo>
                    <a:pt x="88" y="292"/>
                  </a:lnTo>
                  <a:lnTo>
                    <a:pt x="84" y="298"/>
                  </a:lnTo>
                  <a:lnTo>
                    <a:pt x="79" y="305"/>
                  </a:lnTo>
                  <a:lnTo>
                    <a:pt x="73" y="310"/>
                  </a:lnTo>
                  <a:lnTo>
                    <a:pt x="60" y="321"/>
                  </a:lnTo>
                  <a:lnTo>
                    <a:pt x="47" y="330"/>
                  </a:lnTo>
                  <a:lnTo>
                    <a:pt x="40" y="336"/>
                  </a:lnTo>
                  <a:lnTo>
                    <a:pt x="33" y="342"/>
                  </a:lnTo>
                  <a:lnTo>
                    <a:pt x="28" y="348"/>
                  </a:lnTo>
                  <a:lnTo>
                    <a:pt x="23" y="356"/>
                  </a:lnTo>
                  <a:lnTo>
                    <a:pt x="19" y="364"/>
                  </a:lnTo>
                  <a:lnTo>
                    <a:pt x="15" y="373"/>
                  </a:lnTo>
                  <a:lnTo>
                    <a:pt x="13" y="385"/>
                  </a:lnTo>
                  <a:lnTo>
                    <a:pt x="12" y="397"/>
                  </a:lnTo>
                  <a:lnTo>
                    <a:pt x="13" y="414"/>
                  </a:lnTo>
                  <a:lnTo>
                    <a:pt x="15" y="430"/>
                  </a:lnTo>
                  <a:lnTo>
                    <a:pt x="15" y="449"/>
                  </a:lnTo>
                  <a:lnTo>
                    <a:pt x="12" y="469"/>
                  </a:lnTo>
                  <a:lnTo>
                    <a:pt x="7" y="478"/>
                  </a:lnTo>
                  <a:lnTo>
                    <a:pt x="0" y="487"/>
                  </a:lnTo>
                  <a:lnTo>
                    <a:pt x="1" y="495"/>
                  </a:lnTo>
                  <a:lnTo>
                    <a:pt x="3" y="502"/>
                  </a:lnTo>
                  <a:lnTo>
                    <a:pt x="5" y="507"/>
                  </a:lnTo>
                  <a:lnTo>
                    <a:pt x="8" y="514"/>
                  </a:lnTo>
                  <a:lnTo>
                    <a:pt x="12" y="518"/>
                  </a:lnTo>
                  <a:lnTo>
                    <a:pt x="17" y="523"/>
                  </a:lnTo>
                  <a:lnTo>
                    <a:pt x="23" y="527"/>
                  </a:lnTo>
                  <a:lnTo>
                    <a:pt x="28" y="530"/>
                  </a:lnTo>
                  <a:lnTo>
                    <a:pt x="40" y="535"/>
                  </a:lnTo>
                  <a:lnTo>
                    <a:pt x="53" y="539"/>
                  </a:lnTo>
                  <a:lnTo>
                    <a:pt x="67" y="541"/>
                  </a:lnTo>
                  <a:lnTo>
                    <a:pt x="79" y="542"/>
                  </a:lnTo>
                  <a:lnTo>
                    <a:pt x="101" y="543"/>
                  </a:lnTo>
                  <a:lnTo>
                    <a:pt x="127" y="549"/>
                  </a:lnTo>
                  <a:lnTo>
                    <a:pt x="139" y="549"/>
                  </a:lnTo>
                  <a:lnTo>
                    <a:pt x="151" y="549"/>
                  </a:lnTo>
                  <a:lnTo>
                    <a:pt x="157" y="549"/>
                  </a:lnTo>
                  <a:lnTo>
                    <a:pt x="163" y="546"/>
                  </a:lnTo>
                  <a:lnTo>
                    <a:pt x="169" y="545"/>
                  </a:lnTo>
                  <a:lnTo>
                    <a:pt x="175" y="542"/>
                  </a:lnTo>
                  <a:lnTo>
                    <a:pt x="171" y="530"/>
                  </a:lnTo>
                  <a:lnTo>
                    <a:pt x="167" y="523"/>
                  </a:lnTo>
                  <a:lnTo>
                    <a:pt x="164" y="515"/>
                  </a:lnTo>
                  <a:lnTo>
                    <a:pt x="163" y="505"/>
                  </a:lnTo>
                  <a:lnTo>
                    <a:pt x="164" y="501"/>
                  </a:lnTo>
                  <a:lnTo>
                    <a:pt x="167" y="497"/>
                  </a:lnTo>
                  <a:lnTo>
                    <a:pt x="171" y="494"/>
                  </a:lnTo>
                  <a:lnTo>
                    <a:pt x="176" y="491"/>
                  </a:lnTo>
                  <a:lnTo>
                    <a:pt x="188" y="486"/>
                  </a:lnTo>
                  <a:lnTo>
                    <a:pt x="199" y="481"/>
                  </a:lnTo>
                  <a:lnTo>
                    <a:pt x="235" y="481"/>
                  </a:lnTo>
                  <a:lnTo>
                    <a:pt x="235" y="517"/>
                  </a:lnTo>
                  <a:lnTo>
                    <a:pt x="223" y="530"/>
                  </a:lnTo>
                  <a:lnTo>
                    <a:pt x="213" y="542"/>
                  </a:lnTo>
                  <a:lnTo>
                    <a:pt x="209" y="549"/>
                  </a:lnTo>
                  <a:lnTo>
                    <a:pt x="207" y="555"/>
                  </a:lnTo>
                  <a:lnTo>
                    <a:pt x="205" y="563"/>
                  </a:lnTo>
                  <a:lnTo>
                    <a:pt x="205" y="571"/>
                  </a:lnTo>
                  <a:lnTo>
                    <a:pt x="259" y="571"/>
                  </a:lnTo>
                  <a:lnTo>
                    <a:pt x="259" y="577"/>
                  </a:lnTo>
                  <a:lnTo>
                    <a:pt x="257" y="582"/>
                  </a:lnTo>
                  <a:lnTo>
                    <a:pt x="256" y="586"/>
                  </a:lnTo>
                  <a:lnTo>
                    <a:pt x="255" y="591"/>
                  </a:lnTo>
                  <a:lnTo>
                    <a:pt x="248" y="598"/>
                  </a:lnTo>
                  <a:lnTo>
                    <a:pt x="241" y="605"/>
                  </a:lnTo>
                  <a:lnTo>
                    <a:pt x="233" y="610"/>
                  </a:lnTo>
                  <a:lnTo>
                    <a:pt x="224" y="614"/>
                  </a:lnTo>
                  <a:lnTo>
                    <a:pt x="215" y="617"/>
                  </a:lnTo>
                  <a:lnTo>
                    <a:pt x="205" y="619"/>
                  </a:lnTo>
                  <a:lnTo>
                    <a:pt x="205" y="643"/>
                  </a:lnTo>
                  <a:lnTo>
                    <a:pt x="213" y="647"/>
                  </a:lnTo>
                  <a:lnTo>
                    <a:pt x="219" y="650"/>
                  </a:lnTo>
                  <a:lnTo>
                    <a:pt x="224" y="650"/>
                  </a:lnTo>
                  <a:lnTo>
                    <a:pt x="228" y="650"/>
                  </a:lnTo>
                  <a:lnTo>
                    <a:pt x="236" y="649"/>
                  </a:lnTo>
                  <a:lnTo>
                    <a:pt x="247" y="643"/>
                  </a:lnTo>
                  <a:lnTo>
                    <a:pt x="253" y="643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accent1">
                  <a:lumMod val="20000"/>
                  <a:lumOff val="8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95" b="0" i="0" u="none" strike="noStrike" kern="1200" cap="none" spc="0" normalizeH="0" baseline="0" noProof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9" name="Freeform 126"/>
            <p:cNvSpPr>
              <a:spLocks/>
            </p:cNvSpPr>
            <p:nvPr/>
          </p:nvSpPr>
          <p:spPr bwMode="auto">
            <a:xfrm>
              <a:off x="5755479" y="2507514"/>
              <a:ext cx="44805" cy="39381"/>
            </a:xfrm>
            <a:custGeom>
              <a:avLst/>
              <a:gdLst>
                <a:gd name="T0" fmla="*/ 600 w 620"/>
                <a:gd name="T1" fmla="*/ 61 h 546"/>
                <a:gd name="T2" fmla="*/ 584 w 620"/>
                <a:gd name="T3" fmla="*/ 55 h 546"/>
                <a:gd name="T4" fmla="*/ 554 w 620"/>
                <a:gd name="T5" fmla="*/ 77 h 546"/>
                <a:gd name="T6" fmla="*/ 516 w 620"/>
                <a:gd name="T7" fmla="*/ 140 h 546"/>
                <a:gd name="T8" fmla="*/ 464 w 620"/>
                <a:gd name="T9" fmla="*/ 254 h 546"/>
                <a:gd name="T10" fmla="*/ 410 w 620"/>
                <a:gd name="T11" fmla="*/ 360 h 546"/>
                <a:gd name="T12" fmla="*/ 352 w 620"/>
                <a:gd name="T13" fmla="*/ 440 h 546"/>
                <a:gd name="T14" fmla="*/ 285 w 620"/>
                <a:gd name="T15" fmla="*/ 502 h 546"/>
                <a:gd name="T16" fmla="*/ 240 w 620"/>
                <a:gd name="T17" fmla="*/ 530 h 546"/>
                <a:gd name="T18" fmla="*/ 208 w 620"/>
                <a:gd name="T19" fmla="*/ 542 h 546"/>
                <a:gd name="T20" fmla="*/ 179 w 620"/>
                <a:gd name="T21" fmla="*/ 546 h 546"/>
                <a:gd name="T22" fmla="*/ 153 w 620"/>
                <a:gd name="T23" fmla="*/ 540 h 546"/>
                <a:gd name="T24" fmla="*/ 132 w 620"/>
                <a:gd name="T25" fmla="*/ 524 h 546"/>
                <a:gd name="T26" fmla="*/ 84 w 620"/>
                <a:gd name="T27" fmla="*/ 432 h 546"/>
                <a:gd name="T28" fmla="*/ 55 w 620"/>
                <a:gd name="T29" fmla="*/ 372 h 546"/>
                <a:gd name="T30" fmla="*/ 35 w 620"/>
                <a:gd name="T31" fmla="*/ 357 h 546"/>
                <a:gd name="T32" fmla="*/ 0 w 620"/>
                <a:gd name="T33" fmla="*/ 349 h 546"/>
                <a:gd name="T34" fmla="*/ 20 w 620"/>
                <a:gd name="T35" fmla="*/ 318 h 546"/>
                <a:gd name="T36" fmla="*/ 28 w 620"/>
                <a:gd name="T37" fmla="*/ 289 h 546"/>
                <a:gd name="T38" fmla="*/ 29 w 620"/>
                <a:gd name="T39" fmla="*/ 254 h 546"/>
                <a:gd name="T40" fmla="*/ 29 w 620"/>
                <a:gd name="T41" fmla="*/ 234 h 546"/>
                <a:gd name="T42" fmla="*/ 32 w 620"/>
                <a:gd name="T43" fmla="*/ 216 h 546"/>
                <a:gd name="T44" fmla="*/ 45 w 620"/>
                <a:gd name="T45" fmla="*/ 198 h 546"/>
                <a:gd name="T46" fmla="*/ 60 w 620"/>
                <a:gd name="T47" fmla="*/ 181 h 546"/>
                <a:gd name="T48" fmla="*/ 65 w 620"/>
                <a:gd name="T49" fmla="*/ 162 h 546"/>
                <a:gd name="T50" fmla="*/ 96 w 620"/>
                <a:gd name="T51" fmla="*/ 166 h 546"/>
                <a:gd name="T52" fmla="*/ 117 w 620"/>
                <a:gd name="T53" fmla="*/ 156 h 546"/>
                <a:gd name="T54" fmla="*/ 127 w 620"/>
                <a:gd name="T55" fmla="*/ 120 h 546"/>
                <a:gd name="T56" fmla="*/ 127 w 620"/>
                <a:gd name="T57" fmla="*/ 93 h 546"/>
                <a:gd name="T58" fmla="*/ 133 w 620"/>
                <a:gd name="T59" fmla="*/ 77 h 546"/>
                <a:gd name="T60" fmla="*/ 148 w 620"/>
                <a:gd name="T61" fmla="*/ 73 h 546"/>
                <a:gd name="T62" fmla="*/ 184 w 620"/>
                <a:gd name="T63" fmla="*/ 80 h 546"/>
                <a:gd name="T64" fmla="*/ 212 w 620"/>
                <a:gd name="T65" fmla="*/ 80 h 546"/>
                <a:gd name="T66" fmla="*/ 253 w 620"/>
                <a:gd name="T67" fmla="*/ 55 h 546"/>
                <a:gd name="T68" fmla="*/ 328 w 620"/>
                <a:gd name="T69" fmla="*/ 65 h 546"/>
                <a:gd name="T70" fmla="*/ 400 w 620"/>
                <a:gd name="T71" fmla="*/ 84 h 546"/>
                <a:gd name="T72" fmla="*/ 438 w 620"/>
                <a:gd name="T73" fmla="*/ 89 h 546"/>
                <a:gd name="T74" fmla="*/ 469 w 620"/>
                <a:gd name="T75" fmla="*/ 89 h 546"/>
                <a:gd name="T76" fmla="*/ 485 w 620"/>
                <a:gd name="T77" fmla="*/ 81 h 546"/>
                <a:gd name="T78" fmla="*/ 494 w 620"/>
                <a:gd name="T79" fmla="*/ 69 h 546"/>
                <a:gd name="T80" fmla="*/ 508 w 620"/>
                <a:gd name="T81" fmla="*/ 13 h 546"/>
                <a:gd name="T82" fmla="*/ 518 w 620"/>
                <a:gd name="T83" fmla="*/ 5 h 546"/>
                <a:gd name="T84" fmla="*/ 570 w 620"/>
                <a:gd name="T85" fmla="*/ 1 h 546"/>
                <a:gd name="T86" fmla="*/ 618 w 620"/>
                <a:gd name="T87" fmla="*/ 27 h 546"/>
                <a:gd name="T88" fmla="*/ 617 w 620"/>
                <a:gd name="T89" fmla="*/ 61 h 546"/>
                <a:gd name="T90" fmla="*/ 614 w 620"/>
                <a:gd name="T91" fmla="*/ 79 h 54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620"/>
                <a:gd name="T139" fmla="*/ 0 h 546"/>
                <a:gd name="T140" fmla="*/ 620 w 620"/>
                <a:gd name="T141" fmla="*/ 546 h 54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620" h="546">
                  <a:moveTo>
                    <a:pt x="614" y="79"/>
                  </a:moveTo>
                  <a:lnTo>
                    <a:pt x="608" y="69"/>
                  </a:lnTo>
                  <a:lnTo>
                    <a:pt x="600" y="61"/>
                  </a:lnTo>
                  <a:lnTo>
                    <a:pt x="596" y="59"/>
                  </a:lnTo>
                  <a:lnTo>
                    <a:pt x="590" y="56"/>
                  </a:lnTo>
                  <a:lnTo>
                    <a:pt x="584" y="55"/>
                  </a:lnTo>
                  <a:lnTo>
                    <a:pt x="577" y="55"/>
                  </a:lnTo>
                  <a:lnTo>
                    <a:pt x="565" y="65"/>
                  </a:lnTo>
                  <a:lnTo>
                    <a:pt x="554" y="77"/>
                  </a:lnTo>
                  <a:lnTo>
                    <a:pt x="544" y="92"/>
                  </a:lnTo>
                  <a:lnTo>
                    <a:pt x="534" y="106"/>
                  </a:lnTo>
                  <a:lnTo>
                    <a:pt x="516" y="140"/>
                  </a:lnTo>
                  <a:lnTo>
                    <a:pt x="498" y="177"/>
                  </a:lnTo>
                  <a:lnTo>
                    <a:pt x="481" y="216"/>
                  </a:lnTo>
                  <a:lnTo>
                    <a:pt x="464" y="254"/>
                  </a:lnTo>
                  <a:lnTo>
                    <a:pt x="446" y="293"/>
                  </a:lnTo>
                  <a:lnTo>
                    <a:pt x="428" y="330"/>
                  </a:lnTo>
                  <a:lnTo>
                    <a:pt x="410" y="360"/>
                  </a:lnTo>
                  <a:lnTo>
                    <a:pt x="392" y="388"/>
                  </a:lnTo>
                  <a:lnTo>
                    <a:pt x="372" y="414"/>
                  </a:lnTo>
                  <a:lnTo>
                    <a:pt x="352" y="440"/>
                  </a:lnTo>
                  <a:lnTo>
                    <a:pt x="329" y="462"/>
                  </a:lnTo>
                  <a:lnTo>
                    <a:pt x="308" y="484"/>
                  </a:lnTo>
                  <a:lnTo>
                    <a:pt x="285" y="502"/>
                  </a:lnTo>
                  <a:lnTo>
                    <a:pt x="262" y="517"/>
                  </a:lnTo>
                  <a:lnTo>
                    <a:pt x="252" y="524"/>
                  </a:lnTo>
                  <a:lnTo>
                    <a:pt x="240" y="530"/>
                  </a:lnTo>
                  <a:lnTo>
                    <a:pt x="229" y="536"/>
                  </a:lnTo>
                  <a:lnTo>
                    <a:pt x="219" y="540"/>
                  </a:lnTo>
                  <a:lnTo>
                    <a:pt x="208" y="542"/>
                  </a:lnTo>
                  <a:lnTo>
                    <a:pt x="199" y="545"/>
                  </a:lnTo>
                  <a:lnTo>
                    <a:pt x="188" y="546"/>
                  </a:lnTo>
                  <a:lnTo>
                    <a:pt x="179" y="546"/>
                  </a:lnTo>
                  <a:lnTo>
                    <a:pt x="171" y="545"/>
                  </a:lnTo>
                  <a:lnTo>
                    <a:pt x="161" y="544"/>
                  </a:lnTo>
                  <a:lnTo>
                    <a:pt x="153" y="540"/>
                  </a:lnTo>
                  <a:lnTo>
                    <a:pt x="145" y="536"/>
                  </a:lnTo>
                  <a:lnTo>
                    <a:pt x="139" y="530"/>
                  </a:lnTo>
                  <a:lnTo>
                    <a:pt x="132" y="524"/>
                  </a:lnTo>
                  <a:lnTo>
                    <a:pt x="125" y="516"/>
                  </a:lnTo>
                  <a:lnTo>
                    <a:pt x="120" y="505"/>
                  </a:lnTo>
                  <a:lnTo>
                    <a:pt x="84" y="432"/>
                  </a:lnTo>
                  <a:lnTo>
                    <a:pt x="64" y="386"/>
                  </a:lnTo>
                  <a:lnTo>
                    <a:pt x="60" y="378"/>
                  </a:lnTo>
                  <a:lnTo>
                    <a:pt x="55" y="372"/>
                  </a:lnTo>
                  <a:lnTo>
                    <a:pt x="49" y="366"/>
                  </a:lnTo>
                  <a:lnTo>
                    <a:pt x="43" y="361"/>
                  </a:lnTo>
                  <a:lnTo>
                    <a:pt x="35" y="357"/>
                  </a:lnTo>
                  <a:lnTo>
                    <a:pt x="24" y="354"/>
                  </a:lnTo>
                  <a:lnTo>
                    <a:pt x="13" y="352"/>
                  </a:lnTo>
                  <a:lnTo>
                    <a:pt x="0" y="349"/>
                  </a:lnTo>
                  <a:lnTo>
                    <a:pt x="8" y="338"/>
                  </a:lnTo>
                  <a:lnTo>
                    <a:pt x="15" y="328"/>
                  </a:lnTo>
                  <a:lnTo>
                    <a:pt x="20" y="318"/>
                  </a:lnTo>
                  <a:lnTo>
                    <a:pt x="24" y="309"/>
                  </a:lnTo>
                  <a:lnTo>
                    <a:pt x="27" y="300"/>
                  </a:lnTo>
                  <a:lnTo>
                    <a:pt x="28" y="289"/>
                  </a:lnTo>
                  <a:lnTo>
                    <a:pt x="29" y="277"/>
                  </a:lnTo>
                  <a:lnTo>
                    <a:pt x="29" y="265"/>
                  </a:lnTo>
                  <a:lnTo>
                    <a:pt x="29" y="254"/>
                  </a:lnTo>
                  <a:lnTo>
                    <a:pt x="29" y="249"/>
                  </a:lnTo>
                  <a:lnTo>
                    <a:pt x="29" y="244"/>
                  </a:lnTo>
                  <a:lnTo>
                    <a:pt x="29" y="234"/>
                  </a:lnTo>
                  <a:lnTo>
                    <a:pt x="31" y="228"/>
                  </a:lnTo>
                  <a:lnTo>
                    <a:pt x="31" y="221"/>
                  </a:lnTo>
                  <a:lnTo>
                    <a:pt x="32" y="216"/>
                  </a:lnTo>
                  <a:lnTo>
                    <a:pt x="35" y="212"/>
                  </a:lnTo>
                  <a:lnTo>
                    <a:pt x="40" y="204"/>
                  </a:lnTo>
                  <a:lnTo>
                    <a:pt x="45" y="198"/>
                  </a:lnTo>
                  <a:lnTo>
                    <a:pt x="52" y="193"/>
                  </a:lnTo>
                  <a:lnTo>
                    <a:pt x="57" y="185"/>
                  </a:lnTo>
                  <a:lnTo>
                    <a:pt x="60" y="181"/>
                  </a:lnTo>
                  <a:lnTo>
                    <a:pt x="63" y="176"/>
                  </a:lnTo>
                  <a:lnTo>
                    <a:pt x="64" y="169"/>
                  </a:lnTo>
                  <a:lnTo>
                    <a:pt x="65" y="162"/>
                  </a:lnTo>
                  <a:lnTo>
                    <a:pt x="84" y="168"/>
                  </a:lnTo>
                  <a:lnTo>
                    <a:pt x="91" y="168"/>
                  </a:lnTo>
                  <a:lnTo>
                    <a:pt x="96" y="166"/>
                  </a:lnTo>
                  <a:lnTo>
                    <a:pt x="103" y="164"/>
                  </a:lnTo>
                  <a:lnTo>
                    <a:pt x="108" y="161"/>
                  </a:lnTo>
                  <a:lnTo>
                    <a:pt x="117" y="156"/>
                  </a:lnTo>
                  <a:lnTo>
                    <a:pt x="127" y="150"/>
                  </a:lnTo>
                  <a:lnTo>
                    <a:pt x="127" y="133"/>
                  </a:lnTo>
                  <a:lnTo>
                    <a:pt x="127" y="120"/>
                  </a:lnTo>
                  <a:lnTo>
                    <a:pt x="127" y="109"/>
                  </a:lnTo>
                  <a:lnTo>
                    <a:pt x="127" y="102"/>
                  </a:lnTo>
                  <a:lnTo>
                    <a:pt x="127" y="93"/>
                  </a:lnTo>
                  <a:lnTo>
                    <a:pt x="128" y="87"/>
                  </a:lnTo>
                  <a:lnTo>
                    <a:pt x="131" y="81"/>
                  </a:lnTo>
                  <a:lnTo>
                    <a:pt x="133" y="77"/>
                  </a:lnTo>
                  <a:lnTo>
                    <a:pt x="137" y="75"/>
                  </a:lnTo>
                  <a:lnTo>
                    <a:pt x="143" y="75"/>
                  </a:lnTo>
                  <a:lnTo>
                    <a:pt x="148" y="73"/>
                  </a:lnTo>
                  <a:lnTo>
                    <a:pt x="155" y="75"/>
                  </a:lnTo>
                  <a:lnTo>
                    <a:pt x="168" y="77"/>
                  </a:lnTo>
                  <a:lnTo>
                    <a:pt x="184" y="80"/>
                  </a:lnTo>
                  <a:lnTo>
                    <a:pt x="193" y="80"/>
                  </a:lnTo>
                  <a:lnTo>
                    <a:pt x="203" y="80"/>
                  </a:lnTo>
                  <a:lnTo>
                    <a:pt x="212" y="80"/>
                  </a:lnTo>
                  <a:lnTo>
                    <a:pt x="223" y="79"/>
                  </a:lnTo>
                  <a:lnTo>
                    <a:pt x="237" y="67"/>
                  </a:lnTo>
                  <a:lnTo>
                    <a:pt x="253" y="55"/>
                  </a:lnTo>
                  <a:lnTo>
                    <a:pt x="278" y="56"/>
                  </a:lnTo>
                  <a:lnTo>
                    <a:pt x="304" y="60"/>
                  </a:lnTo>
                  <a:lnTo>
                    <a:pt x="328" y="65"/>
                  </a:lnTo>
                  <a:lnTo>
                    <a:pt x="352" y="72"/>
                  </a:lnTo>
                  <a:lnTo>
                    <a:pt x="376" y="79"/>
                  </a:lnTo>
                  <a:lnTo>
                    <a:pt x="400" y="84"/>
                  </a:lnTo>
                  <a:lnTo>
                    <a:pt x="412" y="87"/>
                  </a:lnTo>
                  <a:lnTo>
                    <a:pt x="425" y="89"/>
                  </a:lnTo>
                  <a:lnTo>
                    <a:pt x="438" y="89"/>
                  </a:lnTo>
                  <a:lnTo>
                    <a:pt x="452" y="91"/>
                  </a:lnTo>
                  <a:lnTo>
                    <a:pt x="461" y="89"/>
                  </a:lnTo>
                  <a:lnTo>
                    <a:pt x="469" y="89"/>
                  </a:lnTo>
                  <a:lnTo>
                    <a:pt x="476" y="87"/>
                  </a:lnTo>
                  <a:lnTo>
                    <a:pt x="481" y="85"/>
                  </a:lnTo>
                  <a:lnTo>
                    <a:pt x="485" y="81"/>
                  </a:lnTo>
                  <a:lnTo>
                    <a:pt x="489" y="79"/>
                  </a:lnTo>
                  <a:lnTo>
                    <a:pt x="492" y="75"/>
                  </a:lnTo>
                  <a:lnTo>
                    <a:pt x="494" y="69"/>
                  </a:lnTo>
                  <a:lnTo>
                    <a:pt x="500" y="47"/>
                  </a:lnTo>
                  <a:lnTo>
                    <a:pt x="505" y="17"/>
                  </a:lnTo>
                  <a:lnTo>
                    <a:pt x="508" y="13"/>
                  </a:lnTo>
                  <a:lnTo>
                    <a:pt x="510" y="11"/>
                  </a:lnTo>
                  <a:lnTo>
                    <a:pt x="513" y="8"/>
                  </a:lnTo>
                  <a:lnTo>
                    <a:pt x="518" y="5"/>
                  </a:lnTo>
                  <a:lnTo>
                    <a:pt x="529" y="3"/>
                  </a:lnTo>
                  <a:lnTo>
                    <a:pt x="541" y="3"/>
                  </a:lnTo>
                  <a:lnTo>
                    <a:pt x="570" y="1"/>
                  </a:lnTo>
                  <a:lnTo>
                    <a:pt x="596" y="0"/>
                  </a:lnTo>
                  <a:lnTo>
                    <a:pt x="620" y="0"/>
                  </a:lnTo>
                  <a:lnTo>
                    <a:pt x="618" y="27"/>
                  </a:lnTo>
                  <a:lnTo>
                    <a:pt x="617" y="45"/>
                  </a:lnTo>
                  <a:lnTo>
                    <a:pt x="617" y="53"/>
                  </a:lnTo>
                  <a:lnTo>
                    <a:pt x="617" y="61"/>
                  </a:lnTo>
                  <a:lnTo>
                    <a:pt x="618" y="69"/>
                  </a:lnTo>
                  <a:lnTo>
                    <a:pt x="620" y="79"/>
                  </a:lnTo>
                  <a:lnTo>
                    <a:pt x="614" y="79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accent1">
                  <a:lumMod val="20000"/>
                  <a:lumOff val="8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95" b="0" i="0" u="none" strike="noStrike" kern="1200" cap="none" spc="0" normalizeH="0" baseline="0" noProof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0" name="Freeform 26"/>
            <p:cNvSpPr>
              <a:spLocks/>
            </p:cNvSpPr>
            <p:nvPr/>
          </p:nvSpPr>
          <p:spPr bwMode="auto">
            <a:xfrm rot="3600000">
              <a:off x="4665219" y="2432781"/>
              <a:ext cx="67152" cy="41791"/>
            </a:xfrm>
            <a:custGeom>
              <a:avLst/>
              <a:gdLst/>
              <a:ahLst/>
              <a:cxnLst>
                <a:cxn ang="0">
                  <a:pos x="60" y="6"/>
                </a:cxn>
                <a:cxn ang="0">
                  <a:pos x="67" y="10"/>
                </a:cxn>
                <a:cxn ang="0">
                  <a:pos x="76" y="11"/>
                </a:cxn>
                <a:cxn ang="0">
                  <a:pos x="77" y="16"/>
                </a:cxn>
                <a:cxn ang="0">
                  <a:pos x="79" y="14"/>
                </a:cxn>
                <a:cxn ang="0">
                  <a:pos x="87" y="16"/>
                </a:cxn>
                <a:cxn ang="0">
                  <a:pos x="95" y="18"/>
                </a:cxn>
                <a:cxn ang="0">
                  <a:pos x="91" y="14"/>
                </a:cxn>
                <a:cxn ang="0">
                  <a:pos x="96" y="20"/>
                </a:cxn>
                <a:cxn ang="0">
                  <a:pos x="98" y="23"/>
                </a:cxn>
                <a:cxn ang="0">
                  <a:pos x="101" y="25"/>
                </a:cxn>
                <a:cxn ang="0">
                  <a:pos x="104" y="23"/>
                </a:cxn>
                <a:cxn ang="0">
                  <a:pos x="104" y="29"/>
                </a:cxn>
                <a:cxn ang="0">
                  <a:pos x="116" y="36"/>
                </a:cxn>
                <a:cxn ang="0">
                  <a:pos x="119" y="41"/>
                </a:cxn>
                <a:cxn ang="0">
                  <a:pos x="119" y="45"/>
                </a:cxn>
                <a:cxn ang="0">
                  <a:pos x="126" y="53"/>
                </a:cxn>
                <a:cxn ang="0">
                  <a:pos x="139" y="55"/>
                </a:cxn>
                <a:cxn ang="0">
                  <a:pos x="119" y="36"/>
                </a:cxn>
                <a:cxn ang="0">
                  <a:pos x="108" y="17"/>
                </a:cxn>
                <a:cxn ang="0">
                  <a:pos x="101" y="7"/>
                </a:cxn>
                <a:cxn ang="0">
                  <a:pos x="105" y="5"/>
                </a:cxn>
                <a:cxn ang="0">
                  <a:pos x="106" y="4"/>
                </a:cxn>
                <a:cxn ang="0">
                  <a:pos x="115" y="28"/>
                </a:cxn>
                <a:cxn ang="0">
                  <a:pos x="134" y="52"/>
                </a:cxn>
                <a:cxn ang="0">
                  <a:pos x="153" y="42"/>
                </a:cxn>
                <a:cxn ang="0">
                  <a:pos x="172" y="41"/>
                </a:cxn>
                <a:cxn ang="0">
                  <a:pos x="188" y="46"/>
                </a:cxn>
                <a:cxn ang="0">
                  <a:pos x="181" y="61"/>
                </a:cxn>
                <a:cxn ang="0">
                  <a:pos x="173" y="70"/>
                </a:cxn>
                <a:cxn ang="0">
                  <a:pos x="160" y="71"/>
                </a:cxn>
                <a:cxn ang="0">
                  <a:pos x="149" y="67"/>
                </a:cxn>
                <a:cxn ang="0">
                  <a:pos x="136" y="71"/>
                </a:cxn>
                <a:cxn ang="0">
                  <a:pos x="124" y="86"/>
                </a:cxn>
                <a:cxn ang="0">
                  <a:pos x="110" y="86"/>
                </a:cxn>
                <a:cxn ang="0">
                  <a:pos x="93" y="97"/>
                </a:cxn>
                <a:cxn ang="0">
                  <a:pos x="76" y="115"/>
                </a:cxn>
                <a:cxn ang="0">
                  <a:pos x="58" y="111"/>
                </a:cxn>
                <a:cxn ang="0">
                  <a:pos x="47" y="103"/>
                </a:cxn>
                <a:cxn ang="0">
                  <a:pos x="56" y="85"/>
                </a:cxn>
                <a:cxn ang="0">
                  <a:pos x="45" y="64"/>
                </a:cxn>
                <a:cxn ang="0">
                  <a:pos x="30" y="59"/>
                </a:cxn>
                <a:cxn ang="0">
                  <a:pos x="9" y="58"/>
                </a:cxn>
                <a:cxn ang="0">
                  <a:pos x="18" y="43"/>
                </a:cxn>
                <a:cxn ang="0">
                  <a:pos x="34" y="28"/>
                </a:cxn>
                <a:cxn ang="0">
                  <a:pos x="45" y="25"/>
                </a:cxn>
                <a:cxn ang="0">
                  <a:pos x="52" y="22"/>
                </a:cxn>
                <a:cxn ang="0">
                  <a:pos x="58" y="20"/>
                </a:cxn>
                <a:cxn ang="0">
                  <a:pos x="59" y="16"/>
                </a:cxn>
                <a:cxn ang="0">
                  <a:pos x="55" y="11"/>
                </a:cxn>
                <a:cxn ang="0">
                  <a:pos x="54" y="7"/>
                </a:cxn>
                <a:cxn ang="0">
                  <a:pos x="54" y="1"/>
                </a:cxn>
                <a:cxn ang="0">
                  <a:pos x="59" y="2"/>
                </a:cxn>
              </a:cxnLst>
              <a:rect l="0" t="0" r="r" b="b"/>
              <a:pathLst>
                <a:path w="188" h="117">
                  <a:moveTo>
                    <a:pt x="59" y="2"/>
                  </a:moveTo>
                  <a:cubicBezTo>
                    <a:pt x="59" y="5"/>
                    <a:pt x="60" y="6"/>
                    <a:pt x="60" y="6"/>
                  </a:cubicBezTo>
                  <a:cubicBezTo>
                    <a:pt x="62" y="4"/>
                    <a:pt x="65" y="8"/>
                    <a:pt x="65" y="8"/>
                  </a:cubicBezTo>
                  <a:cubicBezTo>
                    <a:pt x="65" y="12"/>
                    <a:pt x="67" y="10"/>
                    <a:pt x="67" y="10"/>
                  </a:cubicBezTo>
                  <a:cubicBezTo>
                    <a:pt x="67" y="6"/>
                    <a:pt x="70" y="8"/>
                    <a:pt x="70" y="8"/>
                  </a:cubicBezTo>
                  <a:cubicBezTo>
                    <a:pt x="74" y="6"/>
                    <a:pt x="76" y="11"/>
                    <a:pt x="76" y="11"/>
                  </a:cubicBezTo>
                  <a:lnTo>
                    <a:pt x="76" y="11"/>
                  </a:lnTo>
                  <a:lnTo>
                    <a:pt x="77" y="16"/>
                  </a:lnTo>
                  <a:lnTo>
                    <a:pt x="77" y="16"/>
                  </a:lnTo>
                  <a:cubicBezTo>
                    <a:pt x="78" y="13"/>
                    <a:pt x="79" y="14"/>
                    <a:pt x="79" y="14"/>
                  </a:cubicBezTo>
                  <a:cubicBezTo>
                    <a:pt x="80" y="12"/>
                    <a:pt x="83" y="12"/>
                    <a:pt x="83" y="12"/>
                  </a:cubicBezTo>
                  <a:cubicBezTo>
                    <a:pt x="86" y="12"/>
                    <a:pt x="87" y="16"/>
                    <a:pt x="87" y="16"/>
                  </a:cubicBezTo>
                  <a:cubicBezTo>
                    <a:pt x="87" y="21"/>
                    <a:pt x="91" y="21"/>
                    <a:pt x="91" y="21"/>
                  </a:cubicBezTo>
                  <a:cubicBezTo>
                    <a:pt x="93" y="21"/>
                    <a:pt x="95" y="18"/>
                    <a:pt x="95" y="18"/>
                  </a:cubicBezTo>
                  <a:cubicBezTo>
                    <a:pt x="95" y="16"/>
                    <a:pt x="92" y="15"/>
                    <a:pt x="92" y="15"/>
                  </a:cubicBezTo>
                  <a:cubicBezTo>
                    <a:pt x="91" y="15"/>
                    <a:pt x="91" y="15"/>
                    <a:pt x="91" y="14"/>
                  </a:cubicBezTo>
                  <a:cubicBezTo>
                    <a:pt x="93" y="11"/>
                    <a:pt x="97" y="14"/>
                    <a:pt x="97" y="14"/>
                  </a:cubicBezTo>
                  <a:cubicBezTo>
                    <a:pt x="98" y="19"/>
                    <a:pt x="96" y="20"/>
                    <a:pt x="96" y="20"/>
                  </a:cubicBezTo>
                  <a:cubicBezTo>
                    <a:pt x="93" y="24"/>
                    <a:pt x="93" y="26"/>
                    <a:pt x="93" y="26"/>
                  </a:cubicBezTo>
                  <a:cubicBezTo>
                    <a:pt x="96" y="27"/>
                    <a:pt x="98" y="23"/>
                    <a:pt x="98" y="23"/>
                  </a:cubicBezTo>
                  <a:cubicBezTo>
                    <a:pt x="100" y="18"/>
                    <a:pt x="102" y="18"/>
                    <a:pt x="102" y="18"/>
                  </a:cubicBezTo>
                  <a:cubicBezTo>
                    <a:pt x="101" y="22"/>
                    <a:pt x="101" y="25"/>
                    <a:pt x="101" y="25"/>
                  </a:cubicBezTo>
                  <a:lnTo>
                    <a:pt x="101" y="25"/>
                  </a:lnTo>
                  <a:lnTo>
                    <a:pt x="104" y="23"/>
                  </a:lnTo>
                  <a:lnTo>
                    <a:pt x="104" y="23"/>
                  </a:lnTo>
                  <a:cubicBezTo>
                    <a:pt x="105" y="24"/>
                    <a:pt x="104" y="29"/>
                    <a:pt x="104" y="29"/>
                  </a:cubicBezTo>
                  <a:cubicBezTo>
                    <a:pt x="110" y="29"/>
                    <a:pt x="111" y="32"/>
                    <a:pt x="111" y="32"/>
                  </a:cubicBezTo>
                  <a:cubicBezTo>
                    <a:pt x="115" y="32"/>
                    <a:pt x="116" y="36"/>
                    <a:pt x="116" y="36"/>
                  </a:cubicBezTo>
                  <a:cubicBezTo>
                    <a:pt x="119" y="38"/>
                    <a:pt x="119" y="41"/>
                    <a:pt x="119" y="41"/>
                  </a:cubicBezTo>
                  <a:lnTo>
                    <a:pt x="119" y="41"/>
                  </a:lnTo>
                  <a:lnTo>
                    <a:pt x="119" y="45"/>
                  </a:lnTo>
                  <a:lnTo>
                    <a:pt x="119" y="45"/>
                  </a:lnTo>
                  <a:cubicBezTo>
                    <a:pt x="118" y="49"/>
                    <a:pt x="120" y="51"/>
                    <a:pt x="120" y="51"/>
                  </a:cubicBezTo>
                  <a:cubicBezTo>
                    <a:pt x="124" y="51"/>
                    <a:pt x="126" y="53"/>
                    <a:pt x="126" y="53"/>
                  </a:cubicBezTo>
                  <a:cubicBezTo>
                    <a:pt x="131" y="55"/>
                    <a:pt x="136" y="58"/>
                    <a:pt x="136" y="58"/>
                  </a:cubicBezTo>
                  <a:cubicBezTo>
                    <a:pt x="136" y="56"/>
                    <a:pt x="139" y="55"/>
                    <a:pt x="139" y="55"/>
                  </a:cubicBezTo>
                  <a:cubicBezTo>
                    <a:pt x="134" y="56"/>
                    <a:pt x="130" y="50"/>
                    <a:pt x="130" y="50"/>
                  </a:cubicBezTo>
                  <a:cubicBezTo>
                    <a:pt x="125" y="44"/>
                    <a:pt x="119" y="36"/>
                    <a:pt x="119" y="36"/>
                  </a:cubicBezTo>
                  <a:cubicBezTo>
                    <a:pt x="114" y="29"/>
                    <a:pt x="111" y="23"/>
                    <a:pt x="111" y="23"/>
                  </a:cubicBezTo>
                  <a:cubicBezTo>
                    <a:pt x="106" y="26"/>
                    <a:pt x="108" y="17"/>
                    <a:pt x="108" y="17"/>
                  </a:cubicBezTo>
                  <a:cubicBezTo>
                    <a:pt x="105" y="16"/>
                    <a:pt x="107" y="11"/>
                    <a:pt x="107" y="11"/>
                  </a:cubicBezTo>
                  <a:cubicBezTo>
                    <a:pt x="103" y="11"/>
                    <a:pt x="101" y="7"/>
                    <a:pt x="101" y="7"/>
                  </a:cubicBezTo>
                  <a:cubicBezTo>
                    <a:pt x="100" y="5"/>
                    <a:pt x="105" y="5"/>
                    <a:pt x="105" y="5"/>
                  </a:cubicBezTo>
                  <a:lnTo>
                    <a:pt x="105" y="5"/>
                  </a:lnTo>
                  <a:lnTo>
                    <a:pt x="106" y="4"/>
                  </a:lnTo>
                  <a:lnTo>
                    <a:pt x="106" y="4"/>
                  </a:lnTo>
                  <a:cubicBezTo>
                    <a:pt x="106" y="9"/>
                    <a:pt x="109" y="12"/>
                    <a:pt x="109" y="12"/>
                  </a:cubicBezTo>
                  <a:cubicBezTo>
                    <a:pt x="109" y="18"/>
                    <a:pt x="115" y="28"/>
                    <a:pt x="115" y="28"/>
                  </a:cubicBezTo>
                  <a:cubicBezTo>
                    <a:pt x="117" y="30"/>
                    <a:pt x="123" y="40"/>
                    <a:pt x="123" y="40"/>
                  </a:cubicBezTo>
                  <a:cubicBezTo>
                    <a:pt x="128" y="46"/>
                    <a:pt x="134" y="52"/>
                    <a:pt x="134" y="52"/>
                  </a:cubicBezTo>
                  <a:cubicBezTo>
                    <a:pt x="137" y="56"/>
                    <a:pt x="147" y="51"/>
                    <a:pt x="147" y="51"/>
                  </a:cubicBezTo>
                  <a:cubicBezTo>
                    <a:pt x="150" y="50"/>
                    <a:pt x="153" y="42"/>
                    <a:pt x="153" y="42"/>
                  </a:cubicBezTo>
                  <a:cubicBezTo>
                    <a:pt x="158" y="51"/>
                    <a:pt x="163" y="46"/>
                    <a:pt x="163" y="46"/>
                  </a:cubicBezTo>
                  <a:cubicBezTo>
                    <a:pt x="165" y="40"/>
                    <a:pt x="172" y="41"/>
                    <a:pt x="172" y="41"/>
                  </a:cubicBezTo>
                  <a:cubicBezTo>
                    <a:pt x="178" y="40"/>
                    <a:pt x="183" y="42"/>
                    <a:pt x="183" y="42"/>
                  </a:cubicBezTo>
                  <a:cubicBezTo>
                    <a:pt x="188" y="42"/>
                    <a:pt x="188" y="46"/>
                    <a:pt x="188" y="46"/>
                  </a:cubicBezTo>
                  <a:cubicBezTo>
                    <a:pt x="188" y="50"/>
                    <a:pt x="181" y="53"/>
                    <a:pt x="181" y="53"/>
                  </a:cubicBezTo>
                  <a:cubicBezTo>
                    <a:pt x="179" y="55"/>
                    <a:pt x="181" y="61"/>
                    <a:pt x="181" y="61"/>
                  </a:cubicBezTo>
                  <a:cubicBezTo>
                    <a:pt x="186" y="66"/>
                    <a:pt x="178" y="67"/>
                    <a:pt x="178" y="67"/>
                  </a:cubicBezTo>
                  <a:cubicBezTo>
                    <a:pt x="174" y="66"/>
                    <a:pt x="173" y="70"/>
                    <a:pt x="173" y="70"/>
                  </a:cubicBezTo>
                  <a:cubicBezTo>
                    <a:pt x="171" y="71"/>
                    <a:pt x="164" y="68"/>
                    <a:pt x="164" y="68"/>
                  </a:cubicBezTo>
                  <a:cubicBezTo>
                    <a:pt x="163" y="72"/>
                    <a:pt x="160" y="71"/>
                    <a:pt x="160" y="71"/>
                  </a:cubicBezTo>
                  <a:cubicBezTo>
                    <a:pt x="157" y="74"/>
                    <a:pt x="153" y="70"/>
                    <a:pt x="153" y="70"/>
                  </a:cubicBezTo>
                  <a:cubicBezTo>
                    <a:pt x="152" y="67"/>
                    <a:pt x="149" y="67"/>
                    <a:pt x="149" y="67"/>
                  </a:cubicBezTo>
                  <a:cubicBezTo>
                    <a:pt x="146" y="62"/>
                    <a:pt x="139" y="65"/>
                    <a:pt x="139" y="65"/>
                  </a:cubicBezTo>
                  <a:cubicBezTo>
                    <a:pt x="136" y="69"/>
                    <a:pt x="136" y="71"/>
                    <a:pt x="136" y="71"/>
                  </a:cubicBezTo>
                  <a:cubicBezTo>
                    <a:pt x="134" y="75"/>
                    <a:pt x="130" y="77"/>
                    <a:pt x="130" y="77"/>
                  </a:cubicBezTo>
                  <a:cubicBezTo>
                    <a:pt x="124" y="79"/>
                    <a:pt x="124" y="86"/>
                    <a:pt x="124" y="86"/>
                  </a:cubicBezTo>
                  <a:cubicBezTo>
                    <a:pt x="122" y="89"/>
                    <a:pt x="118" y="83"/>
                    <a:pt x="118" y="83"/>
                  </a:cubicBezTo>
                  <a:cubicBezTo>
                    <a:pt x="114" y="87"/>
                    <a:pt x="110" y="86"/>
                    <a:pt x="110" y="86"/>
                  </a:cubicBezTo>
                  <a:cubicBezTo>
                    <a:pt x="105" y="86"/>
                    <a:pt x="103" y="90"/>
                    <a:pt x="103" y="90"/>
                  </a:cubicBezTo>
                  <a:cubicBezTo>
                    <a:pt x="99" y="88"/>
                    <a:pt x="93" y="97"/>
                    <a:pt x="93" y="97"/>
                  </a:cubicBezTo>
                  <a:cubicBezTo>
                    <a:pt x="90" y="99"/>
                    <a:pt x="93" y="105"/>
                    <a:pt x="87" y="105"/>
                  </a:cubicBezTo>
                  <a:cubicBezTo>
                    <a:pt x="84" y="109"/>
                    <a:pt x="80" y="113"/>
                    <a:pt x="76" y="115"/>
                  </a:cubicBezTo>
                  <a:cubicBezTo>
                    <a:pt x="68" y="117"/>
                    <a:pt x="62" y="115"/>
                    <a:pt x="62" y="115"/>
                  </a:cubicBezTo>
                  <a:cubicBezTo>
                    <a:pt x="60" y="112"/>
                    <a:pt x="58" y="111"/>
                    <a:pt x="58" y="111"/>
                  </a:cubicBezTo>
                  <a:cubicBezTo>
                    <a:pt x="57" y="108"/>
                    <a:pt x="52" y="109"/>
                    <a:pt x="52" y="109"/>
                  </a:cubicBezTo>
                  <a:cubicBezTo>
                    <a:pt x="48" y="108"/>
                    <a:pt x="47" y="103"/>
                    <a:pt x="47" y="103"/>
                  </a:cubicBezTo>
                  <a:cubicBezTo>
                    <a:pt x="47" y="101"/>
                    <a:pt x="50" y="102"/>
                    <a:pt x="54" y="99"/>
                  </a:cubicBezTo>
                  <a:cubicBezTo>
                    <a:pt x="54" y="95"/>
                    <a:pt x="49" y="93"/>
                    <a:pt x="56" y="85"/>
                  </a:cubicBezTo>
                  <a:cubicBezTo>
                    <a:pt x="58" y="79"/>
                    <a:pt x="54" y="71"/>
                    <a:pt x="54" y="71"/>
                  </a:cubicBezTo>
                  <a:cubicBezTo>
                    <a:pt x="51" y="66"/>
                    <a:pt x="45" y="64"/>
                    <a:pt x="45" y="64"/>
                  </a:cubicBezTo>
                  <a:cubicBezTo>
                    <a:pt x="39" y="70"/>
                    <a:pt x="36" y="66"/>
                    <a:pt x="36" y="66"/>
                  </a:cubicBezTo>
                  <a:cubicBezTo>
                    <a:pt x="36" y="64"/>
                    <a:pt x="30" y="59"/>
                    <a:pt x="30" y="59"/>
                  </a:cubicBezTo>
                  <a:cubicBezTo>
                    <a:pt x="22" y="53"/>
                    <a:pt x="19" y="56"/>
                    <a:pt x="19" y="56"/>
                  </a:cubicBezTo>
                  <a:cubicBezTo>
                    <a:pt x="16" y="55"/>
                    <a:pt x="13" y="60"/>
                    <a:pt x="9" y="58"/>
                  </a:cubicBezTo>
                  <a:cubicBezTo>
                    <a:pt x="0" y="53"/>
                    <a:pt x="9" y="48"/>
                    <a:pt x="9" y="48"/>
                  </a:cubicBezTo>
                  <a:cubicBezTo>
                    <a:pt x="10" y="46"/>
                    <a:pt x="18" y="43"/>
                    <a:pt x="18" y="43"/>
                  </a:cubicBezTo>
                  <a:cubicBezTo>
                    <a:pt x="20" y="38"/>
                    <a:pt x="27" y="35"/>
                    <a:pt x="27" y="35"/>
                  </a:cubicBezTo>
                  <a:cubicBezTo>
                    <a:pt x="30" y="31"/>
                    <a:pt x="34" y="28"/>
                    <a:pt x="34" y="28"/>
                  </a:cubicBezTo>
                  <a:cubicBezTo>
                    <a:pt x="42" y="29"/>
                    <a:pt x="45" y="25"/>
                    <a:pt x="45" y="25"/>
                  </a:cubicBezTo>
                  <a:lnTo>
                    <a:pt x="45" y="25"/>
                  </a:lnTo>
                  <a:lnTo>
                    <a:pt x="52" y="22"/>
                  </a:lnTo>
                  <a:lnTo>
                    <a:pt x="52" y="22"/>
                  </a:lnTo>
                  <a:cubicBezTo>
                    <a:pt x="59" y="24"/>
                    <a:pt x="58" y="20"/>
                    <a:pt x="58" y="20"/>
                  </a:cubicBezTo>
                  <a:lnTo>
                    <a:pt x="58" y="20"/>
                  </a:lnTo>
                  <a:lnTo>
                    <a:pt x="59" y="16"/>
                  </a:lnTo>
                  <a:lnTo>
                    <a:pt x="59" y="16"/>
                  </a:lnTo>
                  <a:cubicBezTo>
                    <a:pt x="52" y="21"/>
                    <a:pt x="55" y="11"/>
                    <a:pt x="55" y="11"/>
                  </a:cubicBezTo>
                  <a:lnTo>
                    <a:pt x="55" y="11"/>
                  </a:lnTo>
                  <a:lnTo>
                    <a:pt x="54" y="7"/>
                  </a:lnTo>
                  <a:lnTo>
                    <a:pt x="54" y="7"/>
                  </a:lnTo>
                  <a:cubicBezTo>
                    <a:pt x="54" y="6"/>
                    <a:pt x="53" y="5"/>
                    <a:pt x="53" y="5"/>
                  </a:cubicBezTo>
                  <a:cubicBezTo>
                    <a:pt x="54" y="3"/>
                    <a:pt x="54" y="1"/>
                    <a:pt x="54" y="1"/>
                  </a:cubicBezTo>
                  <a:cubicBezTo>
                    <a:pt x="56" y="0"/>
                    <a:pt x="59" y="2"/>
                    <a:pt x="59" y="2"/>
                  </a:cubicBezTo>
                  <a:lnTo>
                    <a:pt x="59" y="2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accent1">
                  <a:lumMod val="20000"/>
                  <a:lumOff val="8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95" b="0" i="0" u="none" strike="noStrike" kern="1200" cap="none" spc="0" normalizeH="0" baseline="0" noProof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1" name="Oval 21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 rot="3600000">
              <a:off x="4687453" y="2450179"/>
              <a:ext cx="2820" cy="2820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accent1">
                  <a:lumMod val="20000"/>
                  <a:lumOff val="8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95" b="0" i="0" u="none" strike="noStrike" kern="1200" cap="none" spc="0" normalizeH="0" baseline="0" noProof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2" name="Freeform 123"/>
            <p:cNvSpPr>
              <a:spLocks/>
            </p:cNvSpPr>
            <p:nvPr/>
          </p:nvSpPr>
          <p:spPr bwMode="auto">
            <a:xfrm>
              <a:off x="5010070" y="2206615"/>
              <a:ext cx="148092" cy="91968"/>
            </a:xfrm>
            <a:custGeom>
              <a:avLst/>
              <a:gdLst>
                <a:gd name="T0" fmla="*/ 1928 w 2054"/>
                <a:gd name="T1" fmla="*/ 1084 h 1275"/>
                <a:gd name="T2" fmla="*/ 1764 w 2054"/>
                <a:gd name="T3" fmla="*/ 1198 h 1275"/>
                <a:gd name="T4" fmla="*/ 1624 w 2054"/>
                <a:gd name="T5" fmla="*/ 1272 h 1275"/>
                <a:gd name="T6" fmla="*/ 1381 w 2054"/>
                <a:gd name="T7" fmla="*/ 1195 h 1275"/>
                <a:gd name="T8" fmla="*/ 907 w 2054"/>
                <a:gd name="T9" fmla="*/ 946 h 1275"/>
                <a:gd name="T10" fmla="*/ 799 w 2054"/>
                <a:gd name="T11" fmla="*/ 832 h 1275"/>
                <a:gd name="T12" fmla="*/ 744 w 2054"/>
                <a:gd name="T13" fmla="*/ 818 h 1275"/>
                <a:gd name="T14" fmla="*/ 627 w 2054"/>
                <a:gd name="T15" fmla="*/ 850 h 1275"/>
                <a:gd name="T16" fmla="*/ 392 w 2054"/>
                <a:gd name="T17" fmla="*/ 856 h 1275"/>
                <a:gd name="T18" fmla="*/ 323 w 2054"/>
                <a:gd name="T19" fmla="*/ 827 h 1275"/>
                <a:gd name="T20" fmla="*/ 256 w 2054"/>
                <a:gd name="T21" fmla="*/ 819 h 1275"/>
                <a:gd name="T22" fmla="*/ 186 w 2054"/>
                <a:gd name="T23" fmla="*/ 828 h 1275"/>
                <a:gd name="T24" fmla="*/ 139 w 2054"/>
                <a:gd name="T25" fmla="*/ 738 h 1275"/>
                <a:gd name="T26" fmla="*/ 48 w 2054"/>
                <a:gd name="T27" fmla="*/ 614 h 1275"/>
                <a:gd name="T28" fmla="*/ 0 w 2054"/>
                <a:gd name="T29" fmla="*/ 485 h 1275"/>
                <a:gd name="T30" fmla="*/ 74 w 2054"/>
                <a:gd name="T31" fmla="*/ 451 h 1275"/>
                <a:gd name="T32" fmla="*/ 112 w 2054"/>
                <a:gd name="T33" fmla="*/ 397 h 1275"/>
                <a:gd name="T34" fmla="*/ 83 w 2054"/>
                <a:gd name="T35" fmla="*/ 337 h 1275"/>
                <a:gd name="T36" fmla="*/ 80 w 2054"/>
                <a:gd name="T37" fmla="*/ 285 h 1275"/>
                <a:gd name="T38" fmla="*/ 171 w 2054"/>
                <a:gd name="T39" fmla="*/ 213 h 1275"/>
                <a:gd name="T40" fmla="*/ 271 w 2054"/>
                <a:gd name="T41" fmla="*/ 118 h 1275"/>
                <a:gd name="T42" fmla="*/ 272 w 2054"/>
                <a:gd name="T43" fmla="*/ 2 h 1275"/>
                <a:gd name="T44" fmla="*/ 360 w 2054"/>
                <a:gd name="T45" fmla="*/ 94 h 1275"/>
                <a:gd name="T46" fmla="*/ 430 w 2054"/>
                <a:gd name="T47" fmla="*/ 186 h 1275"/>
                <a:gd name="T48" fmla="*/ 434 w 2054"/>
                <a:gd name="T49" fmla="*/ 311 h 1275"/>
                <a:gd name="T50" fmla="*/ 408 w 2054"/>
                <a:gd name="T51" fmla="*/ 347 h 1275"/>
                <a:gd name="T52" fmla="*/ 322 w 2054"/>
                <a:gd name="T53" fmla="*/ 327 h 1275"/>
                <a:gd name="T54" fmla="*/ 224 w 2054"/>
                <a:gd name="T55" fmla="*/ 331 h 1275"/>
                <a:gd name="T56" fmla="*/ 206 w 2054"/>
                <a:gd name="T57" fmla="*/ 417 h 1275"/>
                <a:gd name="T58" fmla="*/ 243 w 2054"/>
                <a:gd name="T59" fmla="*/ 562 h 1275"/>
                <a:gd name="T60" fmla="*/ 314 w 2054"/>
                <a:gd name="T61" fmla="*/ 610 h 1275"/>
                <a:gd name="T62" fmla="*/ 432 w 2054"/>
                <a:gd name="T63" fmla="*/ 494 h 1275"/>
                <a:gd name="T64" fmla="*/ 500 w 2054"/>
                <a:gd name="T65" fmla="*/ 470 h 1275"/>
                <a:gd name="T66" fmla="*/ 662 w 2054"/>
                <a:gd name="T67" fmla="*/ 485 h 1275"/>
                <a:gd name="T68" fmla="*/ 893 w 2054"/>
                <a:gd name="T69" fmla="*/ 510 h 1275"/>
                <a:gd name="T70" fmla="*/ 943 w 2054"/>
                <a:gd name="T71" fmla="*/ 537 h 1275"/>
                <a:gd name="T72" fmla="*/ 1028 w 2054"/>
                <a:gd name="T73" fmla="*/ 473 h 1275"/>
                <a:gd name="T74" fmla="*/ 1149 w 2054"/>
                <a:gd name="T75" fmla="*/ 486 h 1275"/>
                <a:gd name="T76" fmla="*/ 1125 w 2054"/>
                <a:gd name="T77" fmla="*/ 506 h 1275"/>
                <a:gd name="T78" fmla="*/ 1036 w 2054"/>
                <a:gd name="T79" fmla="*/ 570 h 1275"/>
                <a:gd name="T80" fmla="*/ 971 w 2054"/>
                <a:gd name="T81" fmla="*/ 601 h 1275"/>
                <a:gd name="T82" fmla="*/ 1033 w 2054"/>
                <a:gd name="T83" fmla="*/ 642 h 1275"/>
                <a:gd name="T84" fmla="*/ 1091 w 2054"/>
                <a:gd name="T85" fmla="*/ 681 h 1275"/>
                <a:gd name="T86" fmla="*/ 1147 w 2054"/>
                <a:gd name="T87" fmla="*/ 677 h 1275"/>
                <a:gd name="T88" fmla="*/ 1279 w 2054"/>
                <a:gd name="T89" fmla="*/ 689 h 1275"/>
                <a:gd name="T90" fmla="*/ 1397 w 2054"/>
                <a:gd name="T91" fmla="*/ 713 h 1275"/>
                <a:gd name="T92" fmla="*/ 1544 w 2054"/>
                <a:gd name="T93" fmla="*/ 713 h 1275"/>
                <a:gd name="T94" fmla="*/ 1508 w 2054"/>
                <a:gd name="T95" fmla="*/ 775 h 1275"/>
                <a:gd name="T96" fmla="*/ 1476 w 2054"/>
                <a:gd name="T97" fmla="*/ 843 h 1275"/>
                <a:gd name="T98" fmla="*/ 1490 w 2054"/>
                <a:gd name="T99" fmla="*/ 886 h 1275"/>
                <a:gd name="T100" fmla="*/ 1537 w 2054"/>
                <a:gd name="T101" fmla="*/ 872 h 1275"/>
                <a:gd name="T102" fmla="*/ 1556 w 2054"/>
                <a:gd name="T103" fmla="*/ 800 h 1275"/>
                <a:gd name="T104" fmla="*/ 1590 w 2054"/>
                <a:gd name="T105" fmla="*/ 783 h 1275"/>
                <a:gd name="T106" fmla="*/ 1672 w 2054"/>
                <a:gd name="T107" fmla="*/ 790 h 1275"/>
                <a:gd name="T108" fmla="*/ 1674 w 2054"/>
                <a:gd name="T109" fmla="*/ 695 h 1275"/>
                <a:gd name="T110" fmla="*/ 1668 w 2054"/>
                <a:gd name="T111" fmla="*/ 617 h 1275"/>
                <a:gd name="T112" fmla="*/ 1716 w 2054"/>
                <a:gd name="T113" fmla="*/ 569 h 1275"/>
                <a:gd name="T114" fmla="*/ 1804 w 2054"/>
                <a:gd name="T115" fmla="*/ 609 h 1275"/>
                <a:gd name="T116" fmla="*/ 2005 w 2054"/>
                <a:gd name="T117" fmla="*/ 739 h 1275"/>
                <a:gd name="T118" fmla="*/ 2046 w 2054"/>
                <a:gd name="T119" fmla="*/ 828 h 1275"/>
                <a:gd name="T120" fmla="*/ 1990 w 2054"/>
                <a:gd name="T121" fmla="*/ 898 h 1275"/>
                <a:gd name="T122" fmla="*/ 2004 w 2054"/>
                <a:gd name="T123" fmla="*/ 955 h 1275"/>
                <a:gd name="T124" fmla="*/ 2036 w 2054"/>
                <a:gd name="T125" fmla="*/ 1032 h 1275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054"/>
                <a:gd name="T190" fmla="*/ 0 h 1275"/>
                <a:gd name="T191" fmla="*/ 2054 w 2054"/>
                <a:gd name="T192" fmla="*/ 1275 h 1275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054" h="1275">
                  <a:moveTo>
                    <a:pt x="2030" y="1063"/>
                  </a:moveTo>
                  <a:lnTo>
                    <a:pt x="2012" y="1064"/>
                  </a:lnTo>
                  <a:lnTo>
                    <a:pt x="1993" y="1066"/>
                  </a:lnTo>
                  <a:lnTo>
                    <a:pt x="1976" y="1068"/>
                  </a:lnTo>
                  <a:lnTo>
                    <a:pt x="1958" y="1074"/>
                  </a:lnTo>
                  <a:lnTo>
                    <a:pt x="1942" y="1079"/>
                  </a:lnTo>
                  <a:lnTo>
                    <a:pt x="1928" y="1084"/>
                  </a:lnTo>
                  <a:lnTo>
                    <a:pt x="1912" y="1091"/>
                  </a:lnTo>
                  <a:lnTo>
                    <a:pt x="1897" y="1099"/>
                  </a:lnTo>
                  <a:lnTo>
                    <a:pt x="1869" y="1116"/>
                  </a:lnTo>
                  <a:lnTo>
                    <a:pt x="1842" y="1136"/>
                  </a:lnTo>
                  <a:lnTo>
                    <a:pt x="1816" y="1156"/>
                  </a:lnTo>
                  <a:lnTo>
                    <a:pt x="1790" y="1178"/>
                  </a:lnTo>
                  <a:lnTo>
                    <a:pt x="1764" y="1198"/>
                  </a:lnTo>
                  <a:lnTo>
                    <a:pt x="1738" y="1218"/>
                  </a:lnTo>
                  <a:lnTo>
                    <a:pt x="1712" y="1235"/>
                  </a:lnTo>
                  <a:lnTo>
                    <a:pt x="1684" y="1251"/>
                  </a:lnTo>
                  <a:lnTo>
                    <a:pt x="1669" y="1258"/>
                  </a:lnTo>
                  <a:lnTo>
                    <a:pt x="1654" y="1263"/>
                  </a:lnTo>
                  <a:lnTo>
                    <a:pt x="1640" y="1268"/>
                  </a:lnTo>
                  <a:lnTo>
                    <a:pt x="1624" y="1272"/>
                  </a:lnTo>
                  <a:lnTo>
                    <a:pt x="1606" y="1274"/>
                  </a:lnTo>
                  <a:lnTo>
                    <a:pt x="1590" y="1275"/>
                  </a:lnTo>
                  <a:lnTo>
                    <a:pt x="1573" y="1275"/>
                  </a:lnTo>
                  <a:lnTo>
                    <a:pt x="1554" y="1274"/>
                  </a:lnTo>
                  <a:lnTo>
                    <a:pt x="1524" y="1260"/>
                  </a:lnTo>
                  <a:lnTo>
                    <a:pt x="1464" y="1234"/>
                  </a:lnTo>
                  <a:lnTo>
                    <a:pt x="1381" y="1195"/>
                  </a:lnTo>
                  <a:lnTo>
                    <a:pt x="1287" y="1150"/>
                  </a:lnTo>
                  <a:lnTo>
                    <a:pt x="1187" y="1100"/>
                  </a:lnTo>
                  <a:lnTo>
                    <a:pt x="1089" y="1051"/>
                  </a:lnTo>
                  <a:lnTo>
                    <a:pt x="1003" y="1006"/>
                  </a:lnTo>
                  <a:lnTo>
                    <a:pt x="935" y="967"/>
                  </a:lnTo>
                  <a:lnTo>
                    <a:pt x="920" y="956"/>
                  </a:lnTo>
                  <a:lnTo>
                    <a:pt x="907" y="946"/>
                  </a:lnTo>
                  <a:lnTo>
                    <a:pt x="893" y="932"/>
                  </a:lnTo>
                  <a:lnTo>
                    <a:pt x="881" y="919"/>
                  </a:lnTo>
                  <a:lnTo>
                    <a:pt x="857" y="892"/>
                  </a:lnTo>
                  <a:lnTo>
                    <a:pt x="833" y="864"/>
                  </a:lnTo>
                  <a:lnTo>
                    <a:pt x="823" y="852"/>
                  </a:lnTo>
                  <a:lnTo>
                    <a:pt x="811" y="842"/>
                  </a:lnTo>
                  <a:lnTo>
                    <a:pt x="799" y="832"/>
                  </a:lnTo>
                  <a:lnTo>
                    <a:pt x="785" y="826"/>
                  </a:lnTo>
                  <a:lnTo>
                    <a:pt x="779" y="823"/>
                  </a:lnTo>
                  <a:lnTo>
                    <a:pt x="773" y="820"/>
                  </a:lnTo>
                  <a:lnTo>
                    <a:pt x="765" y="819"/>
                  </a:lnTo>
                  <a:lnTo>
                    <a:pt x="759" y="818"/>
                  </a:lnTo>
                  <a:lnTo>
                    <a:pt x="752" y="818"/>
                  </a:lnTo>
                  <a:lnTo>
                    <a:pt x="744" y="818"/>
                  </a:lnTo>
                  <a:lnTo>
                    <a:pt x="737" y="820"/>
                  </a:lnTo>
                  <a:lnTo>
                    <a:pt x="729" y="822"/>
                  </a:lnTo>
                  <a:lnTo>
                    <a:pt x="712" y="828"/>
                  </a:lnTo>
                  <a:lnTo>
                    <a:pt x="695" y="834"/>
                  </a:lnTo>
                  <a:lnTo>
                    <a:pt x="679" y="839"/>
                  </a:lnTo>
                  <a:lnTo>
                    <a:pt x="662" y="843"/>
                  </a:lnTo>
                  <a:lnTo>
                    <a:pt x="627" y="850"/>
                  </a:lnTo>
                  <a:lnTo>
                    <a:pt x="591" y="854"/>
                  </a:lnTo>
                  <a:lnTo>
                    <a:pt x="554" y="856"/>
                  </a:lnTo>
                  <a:lnTo>
                    <a:pt x="516" y="858"/>
                  </a:lnTo>
                  <a:lnTo>
                    <a:pt x="476" y="858"/>
                  </a:lnTo>
                  <a:lnTo>
                    <a:pt x="435" y="858"/>
                  </a:lnTo>
                  <a:lnTo>
                    <a:pt x="412" y="858"/>
                  </a:lnTo>
                  <a:lnTo>
                    <a:pt x="392" y="856"/>
                  </a:lnTo>
                  <a:lnTo>
                    <a:pt x="374" y="854"/>
                  </a:lnTo>
                  <a:lnTo>
                    <a:pt x="358" y="850"/>
                  </a:lnTo>
                  <a:lnTo>
                    <a:pt x="350" y="846"/>
                  </a:lnTo>
                  <a:lnTo>
                    <a:pt x="343" y="843"/>
                  </a:lnTo>
                  <a:lnTo>
                    <a:pt x="336" y="838"/>
                  </a:lnTo>
                  <a:lnTo>
                    <a:pt x="330" y="832"/>
                  </a:lnTo>
                  <a:lnTo>
                    <a:pt x="323" y="827"/>
                  </a:lnTo>
                  <a:lnTo>
                    <a:pt x="318" y="820"/>
                  </a:lnTo>
                  <a:lnTo>
                    <a:pt x="312" y="812"/>
                  </a:lnTo>
                  <a:lnTo>
                    <a:pt x="308" y="804"/>
                  </a:lnTo>
                  <a:lnTo>
                    <a:pt x="295" y="806"/>
                  </a:lnTo>
                  <a:lnTo>
                    <a:pt x="282" y="808"/>
                  </a:lnTo>
                  <a:lnTo>
                    <a:pt x="270" y="814"/>
                  </a:lnTo>
                  <a:lnTo>
                    <a:pt x="256" y="819"/>
                  </a:lnTo>
                  <a:lnTo>
                    <a:pt x="244" y="824"/>
                  </a:lnTo>
                  <a:lnTo>
                    <a:pt x="231" y="830"/>
                  </a:lnTo>
                  <a:lnTo>
                    <a:pt x="219" y="832"/>
                  </a:lnTo>
                  <a:lnTo>
                    <a:pt x="206" y="834"/>
                  </a:lnTo>
                  <a:lnTo>
                    <a:pt x="198" y="834"/>
                  </a:lnTo>
                  <a:lnTo>
                    <a:pt x="191" y="831"/>
                  </a:lnTo>
                  <a:lnTo>
                    <a:pt x="186" y="828"/>
                  </a:lnTo>
                  <a:lnTo>
                    <a:pt x="180" y="824"/>
                  </a:lnTo>
                  <a:lnTo>
                    <a:pt x="175" y="819"/>
                  </a:lnTo>
                  <a:lnTo>
                    <a:pt x="171" y="814"/>
                  </a:lnTo>
                  <a:lnTo>
                    <a:pt x="167" y="807"/>
                  </a:lnTo>
                  <a:lnTo>
                    <a:pt x="163" y="799"/>
                  </a:lnTo>
                  <a:lnTo>
                    <a:pt x="151" y="769"/>
                  </a:lnTo>
                  <a:lnTo>
                    <a:pt x="139" y="738"/>
                  </a:lnTo>
                  <a:lnTo>
                    <a:pt x="132" y="722"/>
                  </a:lnTo>
                  <a:lnTo>
                    <a:pt x="123" y="707"/>
                  </a:lnTo>
                  <a:lnTo>
                    <a:pt x="114" y="693"/>
                  </a:lnTo>
                  <a:lnTo>
                    <a:pt x="103" y="679"/>
                  </a:lnTo>
                  <a:lnTo>
                    <a:pt x="82" y="653"/>
                  </a:lnTo>
                  <a:lnTo>
                    <a:pt x="59" y="627"/>
                  </a:lnTo>
                  <a:lnTo>
                    <a:pt x="48" y="614"/>
                  </a:lnTo>
                  <a:lnTo>
                    <a:pt x="38" y="599"/>
                  </a:lnTo>
                  <a:lnTo>
                    <a:pt x="28" y="585"/>
                  </a:lnTo>
                  <a:lnTo>
                    <a:pt x="20" y="567"/>
                  </a:lnTo>
                  <a:lnTo>
                    <a:pt x="12" y="550"/>
                  </a:lnTo>
                  <a:lnTo>
                    <a:pt x="7" y="530"/>
                  </a:lnTo>
                  <a:lnTo>
                    <a:pt x="3" y="509"/>
                  </a:lnTo>
                  <a:lnTo>
                    <a:pt x="0" y="485"/>
                  </a:lnTo>
                  <a:lnTo>
                    <a:pt x="15" y="474"/>
                  </a:lnTo>
                  <a:lnTo>
                    <a:pt x="28" y="467"/>
                  </a:lnTo>
                  <a:lnTo>
                    <a:pt x="38" y="463"/>
                  </a:lnTo>
                  <a:lnTo>
                    <a:pt x="47" y="462"/>
                  </a:lnTo>
                  <a:lnTo>
                    <a:pt x="58" y="462"/>
                  </a:lnTo>
                  <a:lnTo>
                    <a:pt x="60" y="461"/>
                  </a:lnTo>
                  <a:lnTo>
                    <a:pt x="74" y="451"/>
                  </a:lnTo>
                  <a:lnTo>
                    <a:pt x="84" y="443"/>
                  </a:lnTo>
                  <a:lnTo>
                    <a:pt x="94" y="434"/>
                  </a:lnTo>
                  <a:lnTo>
                    <a:pt x="100" y="426"/>
                  </a:lnTo>
                  <a:lnTo>
                    <a:pt x="106" y="418"/>
                  </a:lnTo>
                  <a:lnTo>
                    <a:pt x="110" y="411"/>
                  </a:lnTo>
                  <a:lnTo>
                    <a:pt x="111" y="405"/>
                  </a:lnTo>
                  <a:lnTo>
                    <a:pt x="112" y="397"/>
                  </a:lnTo>
                  <a:lnTo>
                    <a:pt x="112" y="391"/>
                  </a:lnTo>
                  <a:lnTo>
                    <a:pt x="111" y="385"/>
                  </a:lnTo>
                  <a:lnTo>
                    <a:pt x="108" y="378"/>
                  </a:lnTo>
                  <a:lnTo>
                    <a:pt x="106" y="373"/>
                  </a:lnTo>
                  <a:lnTo>
                    <a:pt x="99" y="361"/>
                  </a:lnTo>
                  <a:lnTo>
                    <a:pt x="91" y="349"/>
                  </a:lnTo>
                  <a:lnTo>
                    <a:pt x="83" y="337"/>
                  </a:lnTo>
                  <a:lnTo>
                    <a:pt x="78" y="325"/>
                  </a:lnTo>
                  <a:lnTo>
                    <a:pt x="75" y="319"/>
                  </a:lnTo>
                  <a:lnTo>
                    <a:pt x="74" y="313"/>
                  </a:lnTo>
                  <a:lnTo>
                    <a:pt x="74" y="306"/>
                  </a:lnTo>
                  <a:lnTo>
                    <a:pt x="75" y="299"/>
                  </a:lnTo>
                  <a:lnTo>
                    <a:pt x="76" y="293"/>
                  </a:lnTo>
                  <a:lnTo>
                    <a:pt x="80" y="285"/>
                  </a:lnTo>
                  <a:lnTo>
                    <a:pt x="86" y="277"/>
                  </a:lnTo>
                  <a:lnTo>
                    <a:pt x="92" y="269"/>
                  </a:lnTo>
                  <a:lnTo>
                    <a:pt x="100" y="261"/>
                  </a:lnTo>
                  <a:lnTo>
                    <a:pt x="111" y="251"/>
                  </a:lnTo>
                  <a:lnTo>
                    <a:pt x="124" y="242"/>
                  </a:lnTo>
                  <a:lnTo>
                    <a:pt x="139" y="233"/>
                  </a:lnTo>
                  <a:lnTo>
                    <a:pt x="171" y="213"/>
                  </a:lnTo>
                  <a:lnTo>
                    <a:pt x="196" y="195"/>
                  </a:lnTo>
                  <a:lnTo>
                    <a:pt x="218" y="180"/>
                  </a:lnTo>
                  <a:lnTo>
                    <a:pt x="235" y="166"/>
                  </a:lnTo>
                  <a:lnTo>
                    <a:pt x="248" y="153"/>
                  </a:lnTo>
                  <a:lnTo>
                    <a:pt x="259" y="141"/>
                  </a:lnTo>
                  <a:lnTo>
                    <a:pt x="266" y="130"/>
                  </a:lnTo>
                  <a:lnTo>
                    <a:pt x="271" y="118"/>
                  </a:lnTo>
                  <a:lnTo>
                    <a:pt x="274" y="108"/>
                  </a:lnTo>
                  <a:lnTo>
                    <a:pt x="275" y="97"/>
                  </a:lnTo>
                  <a:lnTo>
                    <a:pt x="275" y="85"/>
                  </a:lnTo>
                  <a:lnTo>
                    <a:pt x="274" y="72"/>
                  </a:lnTo>
                  <a:lnTo>
                    <a:pt x="272" y="44"/>
                  </a:lnTo>
                  <a:lnTo>
                    <a:pt x="272" y="9"/>
                  </a:lnTo>
                  <a:lnTo>
                    <a:pt x="272" y="2"/>
                  </a:lnTo>
                  <a:lnTo>
                    <a:pt x="275" y="0"/>
                  </a:lnTo>
                  <a:lnTo>
                    <a:pt x="278" y="0"/>
                  </a:lnTo>
                  <a:lnTo>
                    <a:pt x="283" y="4"/>
                  </a:lnTo>
                  <a:lnTo>
                    <a:pt x="296" y="17"/>
                  </a:lnTo>
                  <a:lnTo>
                    <a:pt x="315" y="40"/>
                  </a:lnTo>
                  <a:lnTo>
                    <a:pt x="336" y="66"/>
                  </a:lnTo>
                  <a:lnTo>
                    <a:pt x="360" y="94"/>
                  </a:lnTo>
                  <a:lnTo>
                    <a:pt x="374" y="108"/>
                  </a:lnTo>
                  <a:lnTo>
                    <a:pt x="387" y="121"/>
                  </a:lnTo>
                  <a:lnTo>
                    <a:pt x="402" y="132"/>
                  </a:lnTo>
                  <a:lnTo>
                    <a:pt x="416" y="142"/>
                  </a:lnTo>
                  <a:lnTo>
                    <a:pt x="420" y="154"/>
                  </a:lnTo>
                  <a:lnTo>
                    <a:pt x="426" y="169"/>
                  </a:lnTo>
                  <a:lnTo>
                    <a:pt x="430" y="186"/>
                  </a:lnTo>
                  <a:lnTo>
                    <a:pt x="432" y="203"/>
                  </a:lnTo>
                  <a:lnTo>
                    <a:pt x="435" y="222"/>
                  </a:lnTo>
                  <a:lnTo>
                    <a:pt x="438" y="241"/>
                  </a:lnTo>
                  <a:lnTo>
                    <a:pt x="438" y="259"/>
                  </a:lnTo>
                  <a:lnTo>
                    <a:pt x="438" y="278"/>
                  </a:lnTo>
                  <a:lnTo>
                    <a:pt x="436" y="295"/>
                  </a:lnTo>
                  <a:lnTo>
                    <a:pt x="434" y="311"/>
                  </a:lnTo>
                  <a:lnTo>
                    <a:pt x="431" y="318"/>
                  </a:lnTo>
                  <a:lnTo>
                    <a:pt x="428" y="325"/>
                  </a:lnTo>
                  <a:lnTo>
                    <a:pt x="426" y="330"/>
                  </a:lnTo>
                  <a:lnTo>
                    <a:pt x="422" y="335"/>
                  </a:lnTo>
                  <a:lnTo>
                    <a:pt x="418" y="341"/>
                  </a:lnTo>
                  <a:lnTo>
                    <a:pt x="414" y="343"/>
                  </a:lnTo>
                  <a:lnTo>
                    <a:pt x="408" y="347"/>
                  </a:lnTo>
                  <a:lnTo>
                    <a:pt x="403" y="349"/>
                  </a:lnTo>
                  <a:lnTo>
                    <a:pt x="396" y="350"/>
                  </a:lnTo>
                  <a:lnTo>
                    <a:pt x="390" y="350"/>
                  </a:lnTo>
                  <a:lnTo>
                    <a:pt x="382" y="349"/>
                  </a:lnTo>
                  <a:lnTo>
                    <a:pt x="374" y="346"/>
                  </a:lnTo>
                  <a:lnTo>
                    <a:pt x="346" y="335"/>
                  </a:lnTo>
                  <a:lnTo>
                    <a:pt x="322" y="327"/>
                  </a:lnTo>
                  <a:lnTo>
                    <a:pt x="300" y="322"/>
                  </a:lnTo>
                  <a:lnTo>
                    <a:pt x="283" y="319"/>
                  </a:lnTo>
                  <a:lnTo>
                    <a:pt x="268" y="318"/>
                  </a:lnTo>
                  <a:lnTo>
                    <a:pt x="256" y="318"/>
                  </a:lnTo>
                  <a:lnTo>
                    <a:pt x="246" y="319"/>
                  </a:lnTo>
                  <a:lnTo>
                    <a:pt x="238" y="323"/>
                  </a:lnTo>
                  <a:lnTo>
                    <a:pt x="224" y="331"/>
                  </a:lnTo>
                  <a:lnTo>
                    <a:pt x="214" y="342"/>
                  </a:lnTo>
                  <a:lnTo>
                    <a:pt x="208" y="347"/>
                  </a:lnTo>
                  <a:lnTo>
                    <a:pt x="203" y="351"/>
                  </a:lnTo>
                  <a:lnTo>
                    <a:pt x="195" y="355"/>
                  </a:lnTo>
                  <a:lnTo>
                    <a:pt x="187" y="358"/>
                  </a:lnTo>
                  <a:lnTo>
                    <a:pt x="194" y="375"/>
                  </a:lnTo>
                  <a:lnTo>
                    <a:pt x="206" y="417"/>
                  </a:lnTo>
                  <a:lnTo>
                    <a:pt x="212" y="443"/>
                  </a:lnTo>
                  <a:lnTo>
                    <a:pt x="215" y="473"/>
                  </a:lnTo>
                  <a:lnTo>
                    <a:pt x="216" y="489"/>
                  </a:lnTo>
                  <a:lnTo>
                    <a:pt x="215" y="503"/>
                  </a:lnTo>
                  <a:lnTo>
                    <a:pt x="214" y="518"/>
                  </a:lnTo>
                  <a:lnTo>
                    <a:pt x="211" y="533"/>
                  </a:lnTo>
                  <a:lnTo>
                    <a:pt x="243" y="562"/>
                  </a:lnTo>
                  <a:lnTo>
                    <a:pt x="274" y="594"/>
                  </a:lnTo>
                  <a:lnTo>
                    <a:pt x="280" y="599"/>
                  </a:lnTo>
                  <a:lnTo>
                    <a:pt x="287" y="605"/>
                  </a:lnTo>
                  <a:lnTo>
                    <a:pt x="295" y="609"/>
                  </a:lnTo>
                  <a:lnTo>
                    <a:pt x="302" y="611"/>
                  </a:lnTo>
                  <a:lnTo>
                    <a:pt x="308" y="611"/>
                  </a:lnTo>
                  <a:lnTo>
                    <a:pt x="314" y="610"/>
                  </a:lnTo>
                  <a:lnTo>
                    <a:pt x="320" y="606"/>
                  </a:lnTo>
                  <a:lnTo>
                    <a:pt x="326" y="599"/>
                  </a:lnTo>
                  <a:lnTo>
                    <a:pt x="352" y="566"/>
                  </a:lnTo>
                  <a:lnTo>
                    <a:pt x="378" y="539"/>
                  </a:lnTo>
                  <a:lnTo>
                    <a:pt x="400" y="518"/>
                  </a:lnTo>
                  <a:lnTo>
                    <a:pt x="422" y="501"/>
                  </a:lnTo>
                  <a:lnTo>
                    <a:pt x="432" y="494"/>
                  </a:lnTo>
                  <a:lnTo>
                    <a:pt x="443" y="487"/>
                  </a:lnTo>
                  <a:lnTo>
                    <a:pt x="452" y="482"/>
                  </a:lnTo>
                  <a:lnTo>
                    <a:pt x="462" y="478"/>
                  </a:lnTo>
                  <a:lnTo>
                    <a:pt x="472" y="475"/>
                  </a:lnTo>
                  <a:lnTo>
                    <a:pt x="482" y="473"/>
                  </a:lnTo>
                  <a:lnTo>
                    <a:pt x="491" y="471"/>
                  </a:lnTo>
                  <a:lnTo>
                    <a:pt x="500" y="470"/>
                  </a:lnTo>
                  <a:lnTo>
                    <a:pt x="520" y="470"/>
                  </a:lnTo>
                  <a:lnTo>
                    <a:pt x="540" y="470"/>
                  </a:lnTo>
                  <a:lnTo>
                    <a:pt x="562" y="473"/>
                  </a:lnTo>
                  <a:lnTo>
                    <a:pt x="583" y="475"/>
                  </a:lnTo>
                  <a:lnTo>
                    <a:pt x="607" y="479"/>
                  </a:lnTo>
                  <a:lnTo>
                    <a:pt x="634" y="482"/>
                  </a:lnTo>
                  <a:lnTo>
                    <a:pt x="662" y="485"/>
                  </a:lnTo>
                  <a:lnTo>
                    <a:pt x="694" y="485"/>
                  </a:lnTo>
                  <a:lnTo>
                    <a:pt x="737" y="485"/>
                  </a:lnTo>
                  <a:lnTo>
                    <a:pt x="791" y="481"/>
                  </a:lnTo>
                  <a:lnTo>
                    <a:pt x="843" y="478"/>
                  </a:lnTo>
                  <a:lnTo>
                    <a:pt x="880" y="473"/>
                  </a:lnTo>
                  <a:lnTo>
                    <a:pt x="887" y="494"/>
                  </a:lnTo>
                  <a:lnTo>
                    <a:pt x="893" y="510"/>
                  </a:lnTo>
                  <a:lnTo>
                    <a:pt x="900" y="523"/>
                  </a:lnTo>
                  <a:lnTo>
                    <a:pt x="908" y="533"/>
                  </a:lnTo>
                  <a:lnTo>
                    <a:pt x="915" y="538"/>
                  </a:lnTo>
                  <a:lnTo>
                    <a:pt x="921" y="542"/>
                  </a:lnTo>
                  <a:lnTo>
                    <a:pt x="929" y="542"/>
                  </a:lnTo>
                  <a:lnTo>
                    <a:pt x="936" y="541"/>
                  </a:lnTo>
                  <a:lnTo>
                    <a:pt x="943" y="537"/>
                  </a:lnTo>
                  <a:lnTo>
                    <a:pt x="949" y="531"/>
                  </a:lnTo>
                  <a:lnTo>
                    <a:pt x="955" y="523"/>
                  </a:lnTo>
                  <a:lnTo>
                    <a:pt x="961" y="515"/>
                  </a:lnTo>
                  <a:lnTo>
                    <a:pt x="972" y="495"/>
                  </a:lnTo>
                  <a:lnTo>
                    <a:pt x="983" y="473"/>
                  </a:lnTo>
                  <a:lnTo>
                    <a:pt x="1005" y="473"/>
                  </a:lnTo>
                  <a:lnTo>
                    <a:pt x="1028" y="473"/>
                  </a:lnTo>
                  <a:lnTo>
                    <a:pt x="1052" y="473"/>
                  </a:lnTo>
                  <a:lnTo>
                    <a:pt x="1079" y="473"/>
                  </a:lnTo>
                  <a:lnTo>
                    <a:pt x="1109" y="477"/>
                  </a:lnTo>
                  <a:lnTo>
                    <a:pt x="1132" y="479"/>
                  </a:lnTo>
                  <a:lnTo>
                    <a:pt x="1140" y="482"/>
                  </a:lnTo>
                  <a:lnTo>
                    <a:pt x="1145" y="483"/>
                  </a:lnTo>
                  <a:lnTo>
                    <a:pt x="1149" y="486"/>
                  </a:lnTo>
                  <a:lnTo>
                    <a:pt x="1152" y="487"/>
                  </a:lnTo>
                  <a:lnTo>
                    <a:pt x="1152" y="489"/>
                  </a:lnTo>
                  <a:lnTo>
                    <a:pt x="1152" y="491"/>
                  </a:lnTo>
                  <a:lnTo>
                    <a:pt x="1149" y="494"/>
                  </a:lnTo>
                  <a:lnTo>
                    <a:pt x="1147" y="495"/>
                  </a:lnTo>
                  <a:lnTo>
                    <a:pt x="1137" y="501"/>
                  </a:lnTo>
                  <a:lnTo>
                    <a:pt x="1125" y="506"/>
                  </a:lnTo>
                  <a:lnTo>
                    <a:pt x="1095" y="518"/>
                  </a:lnTo>
                  <a:lnTo>
                    <a:pt x="1065" y="534"/>
                  </a:lnTo>
                  <a:lnTo>
                    <a:pt x="1052" y="543"/>
                  </a:lnTo>
                  <a:lnTo>
                    <a:pt x="1043" y="553"/>
                  </a:lnTo>
                  <a:lnTo>
                    <a:pt x="1039" y="558"/>
                  </a:lnTo>
                  <a:lnTo>
                    <a:pt x="1037" y="563"/>
                  </a:lnTo>
                  <a:lnTo>
                    <a:pt x="1036" y="570"/>
                  </a:lnTo>
                  <a:lnTo>
                    <a:pt x="1036" y="575"/>
                  </a:lnTo>
                  <a:lnTo>
                    <a:pt x="1017" y="579"/>
                  </a:lnTo>
                  <a:lnTo>
                    <a:pt x="1001" y="583"/>
                  </a:lnTo>
                  <a:lnTo>
                    <a:pt x="988" y="587"/>
                  </a:lnTo>
                  <a:lnTo>
                    <a:pt x="979" y="591"/>
                  </a:lnTo>
                  <a:lnTo>
                    <a:pt x="973" y="595"/>
                  </a:lnTo>
                  <a:lnTo>
                    <a:pt x="971" y="601"/>
                  </a:lnTo>
                  <a:lnTo>
                    <a:pt x="971" y="605"/>
                  </a:lnTo>
                  <a:lnTo>
                    <a:pt x="972" y="610"/>
                  </a:lnTo>
                  <a:lnTo>
                    <a:pt x="977" y="615"/>
                  </a:lnTo>
                  <a:lnTo>
                    <a:pt x="984" y="621"/>
                  </a:lnTo>
                  <a:lnTo>
                    <a:pt x="993" y="626"/>
                  </a:lnTo>
                  <a:lnTo>
                    <a:pt x="1005" y="631"/>
                  </a:lnTo>
                  <a:lnTo>
                    <a:pt x="1033" y="642"/>
                  </a:lnTo>
                  <a:lnTo>
                    <a:pt x="1067" y="654"/>
                  </a:lnTo>
                  <a:lnTo>
                    <a:pt x="1072" y="657"/>
                  </a:lnTo>
                  <a:lnTo>
                    <a:pt x="1077" y="661"/>
                  </a:lnTo>
                  <a:lnTo>
                    <a:pt x="1081" y="665"/>
                  </a:lnTo>
                  <a:lnTo>
                    <a:pt x="1085" y="670"/>
                  </a:lnTo>
                  <a:lnTo>
                    <a:pt x="1088" y="675"/>
                  </a:lnTo>
                  <a:lnTo>
                    <a:pt x="1091" y="681"/>
                  </a:lnTo>
                  <a:lnTo>
                    <a:pt x="1095" y="685"/>
                  </a:lnTo>
                  <a:lnTo>
                    <a:pt x="1100" y="687"/>
                  </a:lnTo>
                  <a:lnTo>
                    <a:pt x="1105" y="690"/>
                  </a:lnTo>
                  <a:lnTo>
                    <a:pt x="1112" y="690"/>
                  </a:lnTo>
                  <a:lnTo>
                    <a:pt x="1121" y="687"/>
                  </a:lnTo>
                  <a:lnTo>
                    <a:pt x="1132" y="683"/>
                  </a:lnTo>
                  <a:lnTo>
                    <a:pt x="1147" y="677"/>
                  </a:lnTo>
                  <a:lnTo>
                    <a:pt x="1163" y="666"/>
                  </a:lnTo>
                  <a:lnTo>
                    <a:pt x="1183" y="653"/>
                  </a:lnTo>
                  <a:lnTo>
                    <a:pt x="1205" y="635"/>
                  </a:lnTo>
                  <a:lnTo>
                    <a:pt x="1225" y="651"/>
                  </a:lnTo>
                  <a:lnTo>
                    <a:pt x="1244" y="666"/>
                  </a:lnTo>
                  <a:lnTo>
                    <a:pt x="1263" y="678"/>
                  </a:lnTo>
                  <a:lnTo>
                    <a:pt x="1279" y="689"/>
                  </a:lnTo>
                  <a:lnTo>
                    <a:pt x="1295" y="697"/>
                  </a:lnTo>
                  <a:lnTo>
                    <a:pt x="1311" y="703"/>
                  </a:lnTo>
                  <a:lnTo>
                    <a:pt x="1327" y="709"/>
                  </a:lnTo>
                  <a:lnTo>
                    <a:pt x="1343" y="711"/>
                  </a:lnTo>
                  <a:lnTo>
                    <a:pt x="1360" y="714"/>
                  </a:lnTo>
                  <a:lnTo>
                    <a:pt x="1379" y="714"/>
                  </a:lnTo>
                  <a:lnTo>
                    <a:pt x="1397" y="713"/>
                  </a:lnTo>
                  <a:lnTo>
                    <a:pt x="1420" y="710"/>
                  </a:lnTo>
                  <a:lnTo>
                    <a:pt x="1443" y="705"/>
                  </a:lnTo>
                  <a:lnTo>
                    <a:pt x="1469" y="699"/>
                  </a:lnTo>
                  <a:lnTo>
                    <a:pt x="1498" y="693"/>
                  </a:lnTo>
                  <a:lnTo>
                    <a:pt x="1530" y="683"/>
                  </a:lnTo>
                  <a:lnTo>
                    <a:pt x="1538" y="699"/>
                  </a:lnTo>
                  <a:lnTo>
                    <a:pt x="1544" y="713"/>
                  </a:lnTo>
                  <a:lnTo>
                    <a:pt x="1545" y="725"/>
                  </a:lnTo>
                  <a:lnTo>
                    <a:pt x="1545" y="735"/>
                  </a:lnTo>
                  <a:lnTo>
                    <a:pt x="1541" y="743"/>
                  </a:lnTo>
                  <a:lnTo>
                    <a:pt x="1537" y="751"/>
                  </a:lnTo>
                  <a:lnTo>
                    <a:pt x="1530" y="758"/>
                  </a:lnTo>
                  <a:lnTo>
                    <a:pt x="1524" y="765"/>
                  </a:lnTo>
                  <a:lnTo>
                    <a:pt x="1508" y="775"/>
                  </a:lnTo>
                  <a:lnTo>
                    <a:pt x="1492" y="788"/>
                  </a:lnTo>
                  <a:lnTo>
                    <a:pt x="1485" y="795"/>
                  </a:lnTo>
                  <a:lnTo>
                    <a:pt x="1481" y="803"/>
                  </a:lnTo>
                  <a:lnTo>
                    <a:pt x="1477" y="811"/>
                  </a:lnTo>
                  <a:lnTo>
                    <a:pt x="1476" y="822"/>
                  </a:lnTo>
                  <a:lnTo>
                    <a:pt x="1476" y="834"/>
                  </a:lnTo>
                  <a:lnTo>
                    <a:pt x="1476" y="843"/>
                  </a:lnTo>
                  <a:lnTo>
                    <a:pt x="1476" y="852"/>
                  </a:lnTo>
                  <a:lnTo>
                    <a:pt x="1477" y="860"/>
                  </a:lnTo>
                  <a:lnTo>
                    <a:pt x="1478" y="867"/>
                  </a:lnTo>
                  <a:lnTo>
                    <a:pt x="1481" y="874"/>
                  </a:lnTo>
                  <a:lnTo>
                    <a:pt x="1484" y="879"/>
                  </a:lnTo>
                  <a:lnTo>
                    <a:pt x="1486" y="883"/>
                  </a:lnTo>
                  <a:lnTo>
                    <a:pt x="1490" y="886"/>
                  </a:lnTo>
                  <a:lnTo>
                    <a:pt x="1493" y="888"/>
                  </a:lnTo>
                  <a:lnTo>
                    <a:pt x="1497" y="890"/>
                  </a:lnTo>
                  <a:lnTo>
                    <a:pt x="1502" y="891"/>
                  </a:lnTo>
                  <a:lnTo>
                    <a:pt x="1510" y="890"/>
                  </a:lnTo>
                  <a:lnTo>
                    <a:pt x="1520" y="886"/>
                  </a:lnTo>
                  <a:lnTo>
                    <a:pt x="1529" y="880"/>
                  </a:lnTo>
                  <a:lnTo>
                    <a:pt x="1537" y="872"/>
                  </a:lnTo>
                  <a:lnTo>
                    <a:pt x="1544" y="862"/>
                  </a:lnTo>
                  <a:lnTo>
                    <a:pt x="1550" y="850"/>
                  </a:lnTo>
                  <a:lnTo>
                    <a:pt x="1554" y="836"/>
                  </a:lnTo>
                  <a:lnTo>
                    <a:pt x="1557" y="823"/>
                  </a:lnTo>
                  <a:lnTo>
                    <a:pt x="1557" y="815"/>
                  </a:lnTo>
                  <a:lnTo>
                    <a:pt x="1557" y="807"/>
                  </a:lnTo>
                  <a:lnTo>
                    <a:pt x="1556" y="800"/>
                  </a:lnTo>
                  <a:lnTo>
                    <a:pt x="1554" y="792"/>
                  </a:lnTo>
                  <a:lnTo>
                    <a:pt x="1557" y="788"/>
                  </a:lnTo>
                  <a:lnTo>
                    <a:pt x="1561" y="786"/>
                  </a:lnTo>
                  <a:lnTo>
                    <a:pt x="1565" y="783"/>
                  </a:lnTo>
                  <a:lnTo>
                    <a:pt x="1569" y="782"/>
                  </a:lnTo>
                  <a:lnTo>
                    <a:pt x="1580" y="782"/>
                  </a:lnTo>
                  <a:lnTo>
                    <a:pt x="1590" y="783"/>
                  </a:lnTo>
                  <a:lnTo>
                    <a:pt x="1616" y="791"/>
                  </a:lnTo>
                  <a:lnTo>
                    <a:pt x="1640" y="798"/>
                  </a:lnTo>
                  <a:lnTo>
                    <a:pt x="1650" y="799"/>
                  </a:lnTo>
                  <a:lnTo>
                    <a:pt x="1661" y="798"/>
                  </a:lnTo>
                  <a:lnTo>
                    <a:pt x="1665" y="796"/>
                  </a:lnTo>
                  <a:lnTo>
                    <a:pt x="1669" y="794"/>
                  </a:lnTo>
                  <a:lnTo>
                    <a:pt x="1672" y="790"/>
                  </a:lnTo>
                  <a:lnTo>
                    <a:pt x="1676" y="786"/>
                  </a:lnTo>
                  <a:lnTo>
                    <a:pt x="1678" y="779"/>
                  </a:lnTo>
                  <a:lnTo>
                    <a:pt x="1680" y="772"/>
                  </a:lnTo>
                  <a:lnTo>
                    <a:pt x="1681" y="763"/>
                  </a:lnTo>
                  <a:lnTo>
                    <a:pt x="1681" y="754"/>
                  </a:lnTo>
                  <a:lnTo>
                    <a:pt x="1680" y="729"/>
                  </a:lnTo>
                  <a:lnTo>
                    <a:pt x="1674" y="695"/>
                  </a:lnTo>
                  <a:lnTo>
                    <a:pt x="1677" y="689"/>
                  </a:lnTo>
                  <a:lnTo>
                    <a:pt x="1678" y="682"/>
                  </a:lnTo>
                  <a:lnTo>
                    <a:pt x="1678" y="674"/>
                  </a:lnTo>
                  <a:lnTo>
                    <a:pt x="1678" y="665"/>
                  </a:lnTo>
                  <a:lnTo>
                    <a:pt x="1674" y="649"/>
                  </a:lnTo>
                  <a:lnTo>
                    <a:pt x="1670" y="631"/>
                  </a:lnTo>
                  <a:lnTo>
                    <a:pt x="1668" y="617"/>
                  </a:lnTo>
                  <a:lnTo>
                    <a:pt x="1668" y="602"/>
                  </a:lnTo>
                  <a:lnTo>
                    <a:pt x="1668" y="595"/>
                  </a:lnTo>
                  <a:lnTo>
                    <a:pt x="1670" y="590"/>
                  </a:lnTo>
                  <a:lnTo>
                    <a:pt x="1674" y="585"/>
                  </a:lnTo>
                  <a:lnTo>
                    <a:pt x="1681" y="582"/>
                  </a:lnTo>
                  <a:lnTo>
                    <a:pt x="1700" y="574"/>
                  </a:lnTo>
                  <a:lnTo>
                    <a:pt x="1716" y="569"/>
                  </a:lnTo>
                  <a:lnTo>
                    <a:pt x="1729" y="565"/>
                  </a:lnTo>
                  <a:lnTo>
                    <a:pt x="1740" y="563"/>
                  </a:lnTo>
                  <a:lnTo>
                    <a:pt x="1754" y="563"/>
                  </a:lnTo>
                  <a:lnTo>
                    <a:pt x="1758" y="563"/>
                  </a:lnTo>
                  <a:lnTo>
                    <a:pt x="1773" y="579"/>
                  </a:lnTo>
                  <a:lnTo>
                    <a:pt x="1788" y="594"/>
                  </a:lnTo>
                  <a:lnTo>
                    <a:pt x="1804" y="609"/>
                  </a:lnTo>
                  <a:lnTo>
                    <a:pt x="1822" y="622"/>
                  </a:lnTo>
                  <a:lnTo>
                    <a:pt x="1860" y="646"/>
                  </a:lnTo>
                  <a:lnTo>
                    <a:pt x="1900" y="669"/>
                  </a:lnTo>
                  <a:lnTo>
                    <a:pt x="1938" y="690"/>
                  </a:lnTo>
                  <a:lnTo>
                    <a:pt x="1974" y="713"/>
                  </a:lnTo>
                  <a:lnTo>
                    <a:pt x="1990" y="726"/>
                  </a:lnTo>
                  <a:lnTo>
                    <a:pt x="2005" y="739"/>
                  </a:lnTo>
                  <a:lnTo>
                    <a:pt x="2018" y="753"/>
                  </a:lnTo>
                  <a:lnTo>
                    <a:pt x="2030" y="769"/>
                  </a:lnTo>
                  <a:lnTo>
                    <a:pt x="2036" y="779"/>
                  </a:lnTo>
                  <a:lnTo>
                    <a:pt x="2042" y="792"/>
                  </a:lnTo>
                  <a:lnTo>
                    <a:pt x="2049" y="806"/>
                  </a:lnTo>
                  <a:lnTo>
                    <a:pt x="2054" y="816"/>
                  </a:lnTo>
                  <a:lnTo>
                    <a:pt x="2046" y="828"/>
                  </a:lnTo>
                  <a:lnTo>
                    <a:pt x="2036" y="840"/>
                  </a:lnTo>
                  <a:lnTo>
                    <a:pt x="2025" y="851"/>
                  </a:lnTo>
                  <a:lnTo>
                    <a:pt x="2014" y="862"/>
                  </a:lnTo>
                  <a:lnTo>
                    <a:pt x="2004" y="872"/>
                  </a:lnTo>
                  <a:lnTo>
                    <a:pt x="1996" y="884"/>
                  </a:lnTo>
                  <a:lnTo>
                    <a:pt x="1993" y="891"/>
                  </a:lnTo>
                  <a:lnTo>
                    <a:pt x="1990" y="898"/>
                  </a:lnTo>
                  <a:lnTo>
                    <a:pt x="1989" y="904"/>
                  </a:lnTo>
                  <a:lnTo>
                    <a:pt x="1988" y="912"/>
                  </a:lnTo>
                  <a:lnTo>
                    <a:pt x="1989" y="920"/>
                  </a:lnTo>
                  <a:lnTo>
                    <a:pt x="1990" y="927"/>
                  </a:lnTo>
                  <a:lnTo>
                    <a:pt x="1993" y="935"/>
                  </a:lnTo>
                  <a:lnTo>
                    <a:pt x="1996" y="942"/>
                  </a:lnTo>
                  <a:lnTo>
                    <a:pt x="2004" y="955"/>
                  </a:lnTo>
                  <a:lnTo>
                    <a:pt x="2012" y="968"/>
                  </a:lnTo>
                  <a:lnTo>
                    <a:pt x="2021" y="982"/>
                  </a:lnTo>
                  <a:lnTo>
                    <a:pt x="2029" y="998"/>
                  </a:lnTo>
                  <a:lnTo>
                    <a:pt x="2032" y="1006"/>
                  </a:lnTo>
                  <a:lnTo>
                    <a:pt x="2034" y="1014"/>
                  </a:lnTo>
                  <a:lnTo>
                    <a:pt x="2036" y="1023"/>
                  </a:lnTo>
                  <a:lnTo>
                    <a:pt x="2036" y="1032"/>
                  </a:lnTo>
                  <a:lnTo>
                    <a:pt x="2036" y="1046"/>
                  </a:lnTo>
                  <a:lnTo>
                    <a:pt x="2032" y="1056"/>
                  </a:lnTo>
                  <a:lnTo>
                    <a:pt x="2029" y="1066"/>
                  </a:lnTo>
                  <a:lnTo>
                    <a:pt x="2024" y="1075"/>
                  </a:lnTo>
                  <a:lnTo>
                    <a:pt x="2030" y="1063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accent1">
                  <a:lumMod val="20000"/>
                  <a:lumOff val="8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95" b="0" i="0" u="none" strike="noStrike" kern="1200" cap="none" spc="0" normalizeH="0" baseline="0" noProof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3" name="Freeform 120"/>
            <p:cNvSpPr>
              <a:spLocks/>
            </p:cNvSpPr>
            <p:nvPr/>
          </p:nvSpPr>
          <p:spPr bwMode="auto">
            <a:xfrm>
              <a:off x="5071146" y="2320985"/>
              <a:ext cx="209167" cy="154458"/>
            </a:xfrm>
            <a:custGeom>
              <a:avLst/>
              <a:gdLst>
                <a:gd name="T0" fmla="*/ 1621 w 2904"/>
                <a:gd name="T1" fmla="*/ 2017 h 2144"/>
                <a:gd name="T2" fmla="*/ 1734 w 2904"/>
                <a:gd name="T3" fmla="*/ 1944 h 2144"/>
                <a:gd name="T4" fmla="*/ 1822 w 2904"/>
                <a:gd name="T5" fmla="*/ 1741 h 2144"/>
                <a:gd name="T6" fmla="*/ 1904 w 2904"/>
                <a:gd name="T7" fmla="*/ 1680 h 2144"/>
                <a:gd name="T8" fmla="*/ 2158 w 2904"/>
                <a:gd name="T9" fmla="*/ 1739 h 2144"/>
                <a:gd name="T10" fmla="*/ 2329 w 2904"/>
                <a:gd name="T11" fmla="*/ 1768 h 2144"/>
                <a:gd name="T12" fmla="*/ 2461 w 2904"/>
                <a:gd name="T13" fmla="*/ 1823 h 2144"/>
                <a:gd name="T14" fmla="*/ 2569 w 2904"/>
                <a:gd name="T15" fmla="*/ 1743 h 2144"/>
                <a:gd name="T16" fmla="*/ 2671 w 2904"/>
                <a:gd name="T17" fmla="*/ 1771 h 2144"/>
                <a:gd name="T18" fmla="*/ 2725 w 2904"/>
                <a:gd name="T19" fmla="*/ 1749 h 2144"/>
                <a:gd name="T20" fmla="*/ 2858 w 2904"/>
                <a:gd name="T21" fmla="*/ 1687 h 2144"/>
                <a:gd name="T22" fmla="*/ 2904 w 2904"/>
                <a:gd name="T23" fmla="*/ 1613 h 2144"/>
                <a:gd name="T24" fmla="*/ 2783 w 2904"/>
                <a:gd name="T25" fmla="*/ 1533 h 2144"/>
                <a:gd name="T26" fmla="*/ 2725 w 2904"/>
                <a:gd name="T27" fmla="*/ 1395 h 2144"/>
                <a:gd name="T28" fmla="*/ 2629 w 2904"/>
                <a:gd name="T29" fmla="*/ 1355 h 2144"/>
                <a:gd name="T30" fmla="*/ 2558 w 2904"/>
                <a:gd name="T31" fmla="*/ 1282 h 2144"/>
                <a:gd name="T32" fmla="*/ 2486 w 2904"/>
                <a:gd name="T33" fmla="*/ 1280 h 2144"/>
                <a:gd name="T34" fmla="*/ 2419 w 2904"/>
                <a:gd name="T35" fmla="*/ 1228 h 2144"/>
                <a:gd name="T36" fmla="*/ 2330 w 2904"/>
                <a:gd name="T37" fmla="*/ 1183 h 2144"/>
                <a:gd name="T38" fmla="*/ 2230 w 2904"/>
                <a:gd name="T39" fmla="*/ 1275 h 2144"/>
                <a:gd name="T40" fmla="*/ 2041 w 2904"/>
                <a:gd name="T41" fmla="*/ 1256 h 2144"/>
                <a:gd name="T42" fmla="*/ 1914 w 2904"/>
                <a:gd name="T43" fmla="*/ 1126 h 2144"/>
                <a:gd name="T44" fmla="*/ 1717 w 2904"/>
                <a:gd name="T45" fmla="*/ 1058 h 2144"/>
                <a:gd name="T46" fmla="*/ 1549 w 2904"/>
                <a:gd name="T47" fmla="*/ 963 h 2144"/>
                <a:gd name="T48" fmla="*/ 1373 w 2904"/>
                <a:gd name="T49" fmla="*/ 831 h 2144"/>
                <a:gd name="T50" fmla="*/ 1332 w 2904"/>
                <a:gd name="T51" fmla="*/ 697 h 2144"/>
                <a:gd name="T52" fmla="*/ 1225 w 2904"/>
                <a:gd name="T53" fmla="*/ 583 h 2144"/>
                <a:gd name="T54" fmla="*/ 1155 w 2904"/>
                <a:gd name="T55" fmla="*/ 597 h 2144"/>
                <a:gd name="T56" fmla="*/ 1087 w 2904"/>
                <a:gd name="T57" fmla="*/ 591 h 2144"/>
                <a:gd name="T58" fmla="*/ 993 w 2904"/>
                <a:gd name="T59" fmla="*/ 605 h 2144"/>
                <a:gd name="T60" fmla="*/ 943 w 2904"/>
                <a:gd name="T61" fmla="*/ 474 h 2144"/>
                <a:gd name="T62" fmla="*/ 885 w 2904"/>
                <a:gd name="T63" fmla="*/ 409 h 2144"/>
                <a:gd name="T64" fmla="*/ 664 w 2904"/>
                <a:gd name="T65" fmla="*/ 398 h 2144"/>
                <a:gd name="T66" fmla="*/ 611 w 2904"/>
                <a:gd name="T67" fmla="*/ 336 h 2144"/>
                <a:gd name="T68" fmla="*/ 575 w 2904"/>
                <a:gd name="T69" fmla="*/ 256 h 2144"/>
                <a:gd name="T70" fmla="*/ 633 w 2904"/>
                <a:gd name="T71" fmla="*/ 126 h 2144"/>
                <a:gd name="T72" fmla="*/ 590 w 2904"/>
                <a:gd name="T73" fmla="*/ 12 h 2144"/>
                <a:gd name="T74" fmla="*/ 442 w 2904"/>
                <a:gd name="T75" fmla="*/ 110 h 2144"/>
                <a:gd name="T76" fmla="*/ 379 w 2904"/>
                <a:gd name="T77" fmla="*/ 84 h 2144"/>
                <a:gd name="T78" fmla="*/ 275 w 2904"/>
                <a:gd name="T79" fmla="*/ 149 h 2144"/>
                <a:gd name="T80" fmla="*/ 224 w 2904"/>
                <a:gd name="T81" fmla="*/ 301 h 2144"/>
                <a:gd name="T82" fmla="*/ 91 w 2904"/>
                <a:gd name="T83" fmla="*/ 502 h 2144"/>
                <a:gd name="T84" fmla="*/ 7 w 2904"/>
                <a:gd name="T85" fmla="*/ 709 h 2144"/>
                <a:gd name="T86" fmla="*/ 31 w 2904"/>
                <a:gd name="T87" fmla="*/ 770 h 2144"/>
                <a:gd name="T88" fmla="*/ 163 w 2904"/>
                <a:gd name="T89" fmla="*/ 939 h 2144"/>
                <a:gd name="T90" fmla="*/ 252 w 2904"/>
                <a:gd name="T91" fmla="*/ 1087 h 2144"/>
                <a:gd name="T92" fmla="*/ 235 w 2904"/>
                <a:gd name="T93" fmla="*/ 1198 h 2144"/>
                <a:gd name="T94" fmla="*/ 254 w 2904"/>
                <a:gd name="T95" fmla="*/ 1446 h 2144"/>
                <a:gd name="T96" fmla="*/ 251 w 2904"/>
                <a:gd name="T97" fmla="*/ 1572 h 2144"/>
                <a:gd name="T98" fmla="*/ 368 w 2904"/>
                <a:gd name="T99" fmla="*/ 1656 h 2144"/>
                <a:gd name="T100" fmla="*/ 438 w 2904"/>
                <a:gd name="T101" fmla="*/ 1849 h 2144"/>
                <a:gd name="T102" fmla="*/ 519 w 2904"/>
                <a:gd name="T103" fmla="*/ 1837 h 2144"/>
                <a:gd name="T104" fmla="*/ 687 w 2904"/>
                <a:gd name="T105" fmla="*/ 1783 h 2144"/>
                <a:gd name="T106" fmla="*/ 772 w 2904"/>
                <a:gd name="T107" fmla="*/ 1736 h 2144"/>
                <a:gd name="T108" fmla="*/ 847 w 2904"/>
                <a:gd name="T109" fmla="*/ 1709 h 2144"/>
                <a:gd name="T110" fmla="*/ 888 w 2904"/>
                <a:gd name="T111" fmla="*/ 1648 h 2144"/>
                <a:gd name="T112" fmla="*/ 1007 w 2904"/>
                <a:gd name="T113" fmla="*/ 1699 h 2144"/>
                <a:gd name="T114" fmla="*/ 1144 w 2904"/>
                <a:gd name="T115" fmla="*/ 1755 h 2144"/>
                <a:gd name="T116" fmla="*/ 1224 w 2904"/>
                <a:gd name="T117" fmla="*/ 1907 h 2144"/>
                <a:gd name="T118" fmla="*/ 1345 w 2904"/>
                <a:gd name="T119" fmla="*/ 2079 h 2144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2904"/>
                <a:gd name="T181" fmla="*/ 0 h 2144"/>
                <a:gd name="T182" fmla="*/ 2904 w 2904"/>
                <a:gd name="T183" fmla="*/ 2144 h 2144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2904" h="2144">
                  <a:moveTo>
                    <a:pt x="1530" y="2144"/>
                  </a:moveTo>
                  <a:lnTo>
                    <a:pt x="1566" y="2144"/>
                  </a:lnTo>
                  <a:lnTo>
                    <a:pt x="1576" y="2125"/>
                  </a:lnTo>
                  <a:lnTo>
                    <a:pt x="1584" y="2108"/>
                  </a:lnTo>
                  <a:lnTo>
                    <a:pt x="1590" y="2092"/>
                  </a:lnTo>
                  <a:lnTo>
                    <a:pt x="1596" y="2076"/>
                  </a:lnTo>
                  <a:lnTo>
                    <a:pt x="1601" y="2060"/>
                  </a:lnTo>
                  <a:lnTo>
                    <a:pt x="1606" y="2045"/>
                  </a:lnTo>
                  <a:lnTo>
                    <a:pt x="1613" y="2031"/>
                  </a:lnTo>
                  <a:lnTo>
                    <a:pt x="1621" y="2017"/>
                  </a:lnTo>
                  <a:lnTo>
                    <a:pt x="1626" y="2007"/>
                  </a:lnTo>
                  <a:lnTo>
                    <a:pt x="1633" y="1997"/>
                  </a:lnTo>
                  <a:lnTo>
                    <a:pt x="1641" y="1991"/>
                  </a:lnTo>
                  <a:lnTo>
                    <a:pt x="1649" y="1985"/>
                  </a:lnTo>
                  <a:lnTo>
                    <a:pt x="1666" y="1976"/>
                  </a:lnTo>
                  <a:lnTo>
                    <a:pt x="1684" y="1969"/>
                  </a:lnTo>
                  <a:lnTo>
                    <a:pt x="1702" y="1963"/>
                  </a:lnTo>
                  <a:lnTo>
                    <a:pt x="1718" y="1955"/>
                  </a:lnTo>
                  <a:lnTo>
                    <a:pt x="1726" y="1949"/>
                  </a:lnTo>
                  <a:lnTo>
                    <a:pt x="1734" y="1944"/>
                  </a:lnTo>
                  <a:lnTo>
                    <a:pt x="1741" y="1936"/>
                  </a:lnTo>
                  <a:lnTo>
                    <a:pt x="1746" y="1927"/>
                  </a:lnTo>
                  <a:lnTo>
                    <a:pt x="1754" y="1913"/>
                  </a:lnTo>
                  <a:lnTo>
                    <a:pt x="1762" y="1899"/>
                  </a:lnTo>
                  <a:lnTo>
                    <a:pt x="1769" y="1881"/>
                  </a:lnTo>
                  <a:lnTo>
                    <a:pt x="1776" y="1863"/>
                  </a:lnTo>
                  <a:lnTo>
                    <a:pt x="1789" y="1821"/>
                  </a:lnTo>
                  <a:lnTo>
                    <a:pt x="1805" y="1780"/>
                  </a:lnTo>
                  <a:lnTo>
                    <a:pt x="1813" y="1760"/>
                  </a:lnTo>
                  <a:lnTo>
                    <a:pt x="1822" y="1741"/>
                  </a:lnTo>
                  <a:lnTo>
                    <a:pt x="1833" y="1725"/>
                  </a:lnTo>
                  <a:lnTo>
                    <a:pt x="1845" y="1709"/>
                  </a:lnTo>
                  <a:lnTo>
                    <a:pt x="1850" y="1703"/>
                  </a:lnTo>
                  <a:lnTo>
                    <a:pt x="1857" y="1697"/>
                  </a:lnTo>
                  <a:lnTo>
                    <a:pt x="1864" y="1692"/>
                  </a:lnTo>
                  <a:lnTo>
                    <a:pt x="1870" y="1688"/>
                  </a:lnTo>
                  <a:lnTo>
                    <a:pt x="1878" y="1684"/>
                  </a:lnTo>
                  <a:lnTo>
                    <a:pt x="1886" y="1681"/>
                  </a:lnTo>
                  <a:lnTo>
                    <a:pt x="1894" y="1680"/>
                  </a:lnTo>
                  <a:lnTo>
                    <a:pt x="1904" y="1680"/>
                  </a:lnTo>
                  <a:lnTo>
                    <a:pt x="1920" y="1680"/>
                  </a:lnTo>
                  <a:lnTo>
                    <a:pt x="1934" y="1684"/>
                  </a:lnTo>
                  <a:lnTo>
                    <a:pt x="1948" y="1688"/>
                  </a:lnTo>
                  <a:lnTo>
                    <a:pt x="1961" y="1692"/>
                  </a:lnTo>
                  <a:lnTo>
                    <a:pt x="1986" y="1703"/>
                  </a:lnTo>
                  <a:lnTo>
                    <a:pt x="2006" y="1709"/>
                  </a:lnTo>
                  <a:lnTo>
                    <a:pt x="2109" y="1709"/>
                  </a:lnTo>
                  <a:lnTo>
                    <a:pt x="2125" y="1721"/>
                  </a:lnTo>
                  <a:lnTo>
                    <a:pt x="2141" y="1732"/>
                  </a:lnTo>
                  <a:lnTo>
                    <a:pt x="2158" y="1739"/>
                  </a:lnTo>
                  <a:lnTo>
                    <a:pt x="2177" y="1744"/>
                  </a:lnTo>
                  <a:lnTo>
                    <a:pt x="2195" y="1748"/>
                  </a:lnTo>
                  <a:lnTo>
                    <a:pt x="2215" y="1751"/>
                  </a:lnTo>
                  <a:lnTo>
                    <a:pt x="2237" y="1752"/>
                  </a:lnTo>
                  <a:lnTo>
                    <a:pt x="2259" y="1752"/>
                  </a:lnTo>
                  <a:lnTo>
                    <a:pt x="2275" y="1752"/>
                  </a:lnTo>
                  <a:lnTo>
                    <a:pt x="2291" y="1755"/>
                  </a:lnTo>
                  <a:lnTo>
                    <a:pt x="2305" y="1759"/>
                  </a:lnTo>
                  <a:lnTo>
                    <a:pt x="2318" y="1763"/>
                  </a:lnTo>
                  <a:lnTo>
                    <a:pt x="2329" y="1768"/>
                  </a:lnTo>
                  <a:lnTo>
                    <a:pt x="2339" y="1775"/>
                  </a:lnTo>
                  <a:lnTo>
                    <a:pt x="2350" y="1781"/>
                  </a:lnTo>
                  <a:lnTo>
                    <a:pt x="2359" y="1788"/>
                  </a:lnTo>
                  <a:lnTo>
                    <a:pt x="2379" y="1801"/>
                  </a:lnTo>
                  <a:lnTo>
                    <a:pt x="2399" y="1813"/>
                  </a:lnTo>
                  <a:lnTo>
                    <a:pt x="2410" y="1817"/>
                  </a:lnTo>
                  <a:lnTo>
                    <a:pt x="2423" y="1821"/>
                  </a:lnTo>
                  <a:lnTo>
                    <a:pt x="2437" y="1823"/>
                  </a:lnTo>
                  <a:lnTo>
                    <a:pt x="2451" y="1824"/>
                  </a:lnTo>
                  <a:lnTo>
                    <a:pt x="2461" y="1823"/>
                  </a:lnTo>
                  <a:lnTo>
                    <a:pt x="2470" y="1820"/>
                  </a:lnTo>
                  <a:lnTo>
                    <a:pt x="2479" y="1816"/>
                  </a:lnTo>
                  <a:lnTo>
                    <a:pt x="2487" y="1811"/>
                  </a:lnTo>
                  <a:lnTo>
                    <a:pt x="2505" y="1796"/>
                  </a:lnTo>
                  <a:lnTo>
                    <a:pt x="2521" y="1779"/>
                  </a:lnTo>
                  <a:lnTo>
                    <a:pt x="2530" y="1771"/>
                  </a:lnTo>
                  <a:lnTo>
                    <a:pt x="2538" y="1763"/>
                  </a:lnTo>
                  <a:lnTo>
                    <a:pt x="2547" y="1755"/>
                  </a:lnTo>
                  <a:lnTo>
                    <a:pt x="2558" y="1748"/>
                  </a:lnTo>
                  <a:lnTo>
                    <a:pt x="2569" y="1743"/>
                  </a:lnTo>
                  <a:lnTo>
                    <a:pt x="2581" y="1737"/>
                  </a:lnTo>
                  <a:lnTo>
                    <a:pt x="2594" y="1735"/>
                  </a:lnTo>
                  <a:lnTo>
                    <a:pt x="2609" y="1733"/>
                  </a:lnTo>
                  <a:lnTo>
                    <a:pt x="2615" y="1735"/>
                  </a:lnTo>
                  <a:lnTo>
                    <a:pt x="2623" y="1736"/>
                  </a:lnTo>
                  <a:lnTo>
                    <a:pt x="2630" y="1739"/>
                  </a:lnTo>
                  <a:lnTo>
                    <a:pt x="2635" y="1743"/>
                  </a:lnTo>
                  <a:lnTo>
                    <a:pt x="2647" y="1751"/>
                  </a:lnTo>
                  <a:lnTo>
                    <a:pt x="2659" y="1761"/>
                  </a:lnTo>
                  <a:lnTo>
                    <a:pt x="2671" y="1771"/>
                  </a:lnTo>
                  <a:lnTo>
                    <a:pt x="2682" y="1780"/>
                  </a:lnTo>
                  <a:lnTo>
                    <a:pt x="2689" y="1783"/>
                  </a:lnTo>
                  <a:lnTo>
                    <a:pt x="2695" y="1785"/>
                  </a:lnTo>
                  <a:lnTo>
                    <a:pt x="2703" y="1788"/>
                  </a:lnTo>
                  <a:lnTo>
                    <a:pt x="2710" y="1788"/>
                  </a:lnTo>
                  <a:lnTo>
                    <a:pt x="2711" y="1779"/>
                  </a:lnTo>
                  <a:lnTo>
                    <a:pt x="2713" y="1771"/>
                  </a:lnTo>
                  <a:lnTo>
                    <a:pt x="2715" y="1763"/>
                  </a:lnTo>
                  <a:lnTo>
                    <a:pt x="2719" y="1756"/>
                  </a:lnTo>
                  <a:lnTo>
                    <a:pt x="2725" y="1749"/>
                  </a:lnTo>
                  <a:lnTo>
                    <a:pt x="2730" y="1744"/>
                  </a:lnTo>
                  <a:lnTo>
                    <a:pt x="2737" y="1739"/>
                  </a:lnTo>
                  <a:lnTo>
                    <a:pt x="2743" y="1735"/>
                  </a:lnTo>
                  <a:lnTo>
                    <a:pt x="2759" y="1725"/>
                  </a:lnTo>
                  <a:lnTo>
                    <a:pt x="2777" y="1719"/>
                  </a:lnTo>
                  <a:lnTo>
                    <a:pt x="2795" y="1712"/>
                  </a:lnTo>
                  <a:lnTo>
                    <a:pt x="2814" y="1705"/>
                  </a:lnTo>
                  <a:lnTo>
                    <a:pt x="2833" y="1699"/>
                  </a:lnTo>
                  <a:lnTo>
                    <a:pt x="2850" y="1692"/>
                  </a:lnTo>
                  <a:lnTo>
                    <a:pt x="2858" y="1687"/>
                  </a:lnTo>
                  <a:lnTo>
                    <a:pt x="2866" y="1683"/>
                  </a:lnTo>
                  <a:lnTo>
                    <a:pt x="2874" y="1677"/>
                  </a:lnTo>
                  <a:lnTo>
                    <a:pt x="2881" y="1672"/>
                  </a:lnTo>
                  <a:lnTo>
                    <a:pt x="2887" y="1665"/>
                  </a:lnTo>
                  <a:lnTo>
                    <a:pt x="2893" y="1659"/>
                  </a:lnTo>
                  <a:lnTo>
                    <a:pt x="2897" y="1652"/>
                  </a:lnTo>
                  <a:lnTo>
                    <a:pt x="2901" y="1643"/>
                  </a:lnTo>
                  <a:lnTo>
                    <a:pt x="2903" y="1635"/>
                  </a:lnTo>
                  <a:lnTo>
                    <a:pt x="2904" y="1624"/>
                  </a:lnTo>
                  <a:lnTo>
                    <a:pt x="2904" y="1613"/>
                  </a:lnTo>
                  <a:lnTo>
                    <a:pt x="2903" y="1601"/>
                  </a:lnTo>
                  <a:lnTo>
                    <a:pt x="2886" y="1600"/>
                  </a:lnTo>
                  <a:lnTo>
                    <a:pt x="2869" y="1597"/>
                  </a:lnTo>
                  <a:lnTo>
                    <a:pt x="2854" y="1593"/>
                  </a:lnTo>
                  <a:lnTo>
                    <a:pt x="2839" y="1587"/>
                  </a:lnTo>
                  <a:lnTo>
                    <a:pt x="2826" y="1579"/>
                  </a:lnTo>
                  <a:lnTo>
                    <a:pt x="2813" y="1569"/>
                  </a:lnTo>
                  <a:lnTo>
                    <a:pt x="2802" y="1559"/>
                  </a:lnTo>
                  <a:lnTo>
                    <a:pt x="2791" y="1547"/>
                  </a:lnTo>
                  <a:lnTo>
                    <a:pt x="2783" y="1533"/>
                  </a:lnTo>
                  <a:lnTo>
                    <a:pt x="2775" y="1519"/>
                  </a:lnTo>
                  <a:lnTo>
                    <a:pt x="2769" y="1503"/>
                  </a:lnTo>
                  <a:lnTo>
                    <a:pt x="2762" y="1487"/>
                  </a:lnTo>
                  <a:lnTo>
                    <a:pt x="2758" y="1470"/>
                  </a:lnTo>
                  <a:lnTo>
                    <a:pt x="2755" y="1452"/>
                  </a:lnTo>
                  <a:lnTo>
                    <a:pt x="2753" y="1434"/>
                  </a:lnTo>
                  <a:lnTo>
                    <a:pt x="2753" y="1415"/>
                  </a:lnTo>
                  <a:lnTo>
                    <a:pt x="2742" y="1410"/>
                  </a:lnTo>
                  <a:lnTo>
                    <a:pt x="2733" y="1403"/>
                  </a:lnTo>
                  <a:lnTo>
                    <a:pt x="2725" y="1395"/>
                  </a:lnTo>
                  <a:lnTo>
                    <a:pt x="2717" y="1388"/>
                  </a:lnTo>
                  <a:lnTo>
                    <a:pt x="2709" y="1380"/>
                  </a:lnTo>
                  <a:lnTo>
                    <a:pt x="2701" y="1372"/>
                  </a:lnTo>
                  <a:lnTo>
                    <a:pt x="2691" y="1366"/>
                  </a:lnTo>
                  <a:lnTo>
                    <a:pt x="2681" y="1360"/>
                  </a:lnTo>
                  <a:lnTo>
                    <a:pt x="2670" y="1358"/>
                  </a:lnTo>
                  <a:lnTo>
                    <a:pt x="2659" y="1356"/>
                  </a:lnTo>
                  <a:lnTo>
                    <a:pt x="2649" y="1356"/>
                  </a:lnTo>
                  <a:lnTo>
                    <a:pt x="2638" y="1356"/>
                  </a:lnTo>
                  <a:lnTo>
                    <a:pt x="2629" y="1355"/>
                  </a:lnTo>
                  <a:lnTo>
                    <a:pt x="2618" y="1354"/>
                  </a:lnTo>
                  <a:lnTo>
                    <a:pt x="2607" y="1350"/>
                  </a:lnTo>
                  <a:lnTo>
                    <a:pt x="2597" y="1343"/>
                  </a:lnTo>
                  <a:lnTo>
                    <a:pt x="2589" y="1335"/>
                  </a:lnTo>
                  <a:lnTo>
                    <a:pt x="2582" y="1326"/>
                  </a:lnTo>
                  <a:lnTo>
                    <a:pt x="2578" y="1316"/>
                  </a:lnTo>
                  <a:lnTo>
                    <a:pt x="2574" y="1307"/>
                  </a:lnTo>
                  <a:lnTo>
                    <a:pt x="2569" y="1296"/>
                  </a:lnTo>
                  <a:lnTo>
                    <a:pt x="2562" y="1287"/>
                  </a:lnTo>
                  <a:lnTo>
                    <a:pt x="2558" y="1282"/>
                  </a:lnTo>
                  <a:lnTo>
                    <a:pt x="2554" y="1278"/>
                  </a:lnTo>
                  <a:lnTo>
                    <a:pt x="2549" y="1274"/>
                  </a:lnTo>
                  <a:lnTo>
                    <a:pt x="2542" y="1270"/>
                  </a:lnTo>
                  <a:lnTo>
                    <a:pt x="2535" y="1268"/>
                  </a:lnTo>
                  <a:lnTo>
                    <a:pt x="2529" y="1268"/>
                  </a:lnTo>
                  <a:lnTo>
                    <a:pt x="2522" y="1268"/>
                  </a:lnTo>
                  <a:lnTo>
                    <a:pt x="2515" y="1270"/>
                  </a:lnTo>
                  <a:lnTo>
                    <a:pt x="2503" y="1274"/>
                  </a:lnTo>
                  <a:lnTo>
                    <a:pt x="2491" y="1279"/>
                  </a:lnTo>
                  <a:lnTo>
                    <a:pt x="2486" y="1280"/>
                  </a:lnTo>
                  <a:lnTo>
                    <a:pt x="2479" y="1282"/>
                  </a:lnTo>
                  <a:lnTo>
                    <a:pt x="2474" y="1282"/>
                  </a:lnTo>
                  <a:lnTo>
                    <a:pt x="2469" y="1282"/>
                  </a:lnTo>
                  <a:lnTo>
                    <a:pt x="2462" y="1279"/>
                  </a:lnTo>
                  <a:lnTo>
                    <a:pt x="2457" y="1276"/>
                  </a:lnTo>
                  <a:lnTo>
                    <a:pt x="2451" y="1271"/>
                  </a:lnTo>
                  <a:lnTo>
                    <a:pt x="2446" y="1264"/>
                  </a:lnTo>
                  <a:lnTo>
                    <a:pt x="2437" y="1255"/>
                  </a:lnTo>
                  <a:lnTo>
                    <a:pt x="2429" y="1243"/>
                  </a:lnTo>
                  <a:lnTo>
                    <a:pt x="2419" y="1228"/>
                  </a:lnTo>
                  <a:lnTo>
                    <a:pt x="2410" y="1212"/>
                  </a:lnTo>
                  <a:lnTo>
                    <a:pt x="2399" y="1198"/>
                  </a:lnTo>
                  <a:lnTo>
                    <a:pt x="2389" y="1186"/>
                  </a:lnTo>
                  <a:lnTo>
                    <a:pt x="2382" y="1180"/>
                  </a:lnTo>
                  <a:lnTo>
                    <a:pt x="2375" y="1176"/>
                  </a:lnTo>
                  <a:lnTo>
                    <a:pt x="2369" y="1175"/>
                  </a:lnTo>
                  <a:lnTo>
                    <a:pt x="2361" y="1174"/>
                  </a:lnTo>
                  <a:lnTo>
                    <a:pt x="2350" y="1175"/>
                  </a:lnTo>
                  <a:lnTo>
                    <a:pt x="2339" y="1178"/>
                  </a:lnTo>
                  <a:lnTo>
                    <a:pt x="2330" y="1183"/>
                  </a:lnTo>
                  <a:lnTo>
                    <a:pt x="2321" y="1190"/>
                  </a:lnTo>
                  <a:lnTo>
                    <a:pt x="2305" y="1206"/>
                  </a:lnTo>
                  <a:lnTo>
                    <a:pt x="2291" y="1226"/>
                  </a:lnTo>
                  <a:lnTo>
                    <a:pt x="2283" y="1235"/>
                  </a:lnTo>
                  <a:lnTo>
                    <a:pt x="2277" y="1244"/>
                  </a:lnTo>
                  <a:lnTo>
                    <a:pt x="2269" y="1252"/>
                  </a:lnTo>
                  <a:lnTo>
                    <a:pt x="2261" y="1260"/>
                  </a:lnTo>
                  <a:lnTo>
                    <a:pt x="2251" y="1267"/>
                  </a:lnTo>
                  <a:lnTo>
                    <a:pt x="2241" y="1272"/>
                  </a:lnTo>
                  <a:lnTo>
                    <a:pt x="2230" y="1275"/>
                  </a:lnTo>
                  <a:lnTo>
                    <a:pt x="2217" y="1276"/>
                  </a:lnTo>
                  <a:lnTo>
                    <a:pt x="2186" y="1275"/>
                  </a:lnTo>
                  <a:lnTo>
                    <a:pt x="2157" y="1270"/>
                  </a:lnTo>
                  <a:lnTo>
                    <a:pt x="2128" y="1266"/>
                  </a:lnTo>
                  <a:lnTo>
                    <a:pt x="2097" y="1264"/>
                  </a:lnTo>
                  <a:lnTo>
                    <a:pt x="2084" y="1264"/>
                  </a:lnTo>
                  <a:lnTo>
                    <a:pt x="2072" y="1263"/>
                  </a:lnTo>
                  <a:lnTo>
                    <a:pt x="2061" y="1262"/>
                  </a:lnTo>
                  <a:lnTo>
                    <a:pt x="2050" y="1259"/>
                  </a:lnTo>
                  <a:lnTo>
                    <a:pt x="2041" y="1256"/>
                  </a:lnTo>
                  <a:lnTo>
                    <a:pt x="2033" y="1252"/>
                  </a:lnTo>
                  <a:lnTo>
                    <a:pt x="2024" y="1248"/>
                  </a:lnTo>
                  <a:lnTo>
                    <a:pt x="2017" y="1244"/>
                  </a:lnTo>
                  <a:lnTo>
                    <a:pt x="2002" y="1235"/>
                  </a:lnTo>
                  <a:lnTo>
                    <a:pt x="1990" y="1223"/>
                  </a:lnTo>
                  <a:lnTo>
                    <a:pt x="1978" y="1211"/>
                  </a:lnTo>
                  <a:lnTo>
                    <a:pt x="1969" y="1198"/>
                  </a:lnTo>
                  <a:lnTo>
                    <a:pt x="1949" y="1168"/>
                  </a:lnTo>
                  <a:lnTo>
                    <a:pt x="1926" y="1140"/>
                  </a:lnTo>
                  <a:lnTo>
                    <a:pt x="1914" y="1126"/>
                  </a:lnTo>
                  <a:lnTo>
                    <a:pt x="1901" y="1112"/>
                  </a:lnTo>
                  <a:lnTo>
                    <a:pt x="1885" y="1100"/>
                  </a:lnTo>
                  <a:lnTo>
                    <a:pt x="1868" y="1090"/>
                  </a:lnTo>
                  <a:lnTo>
                    <a:pt x="1857" y="1086"/>
                  </a:lnTo>
                  <a:lnTo>
                    <a:pt x="1844" y="1082"/>
                  </a:lnTo>
                  <a:lnTo>
                    <a:pt x="1830" y="1078"/>
                  </a:lnTo>
                  <a:lnTo>
                    <a:pt x="1816" y="1075"/>
                  </a:lnTo>
                  <a:lnTo>
                    <a:pt x="1785" y="1070"/>
                  </a:lnTo>
                  <a:lnTo>
                    <a:pt x="1752" y="1064"/>
                  </a:lnTo>
                  <a:lnTo>
                    <a:pt x="1717" y="1058"/>
                  </a:lnTo>
                  <a:lnTo>
                    <a:pt x="1685" y="1051"/>
                  </a:lnTo>
                  <a:lnTo>
                    <a:pt x="1669" y="1046"/>
                  </a:lnTo>
                  <a:lnTo>
                    <a:pt x="1653" y="1042"/>
                  </a:lnTo>
                  <a:lnTo>
                    <a:pt x="1640" y="1035"/>
                  </a:lnTo>
                  <a:lnTo>
                    <a:pt x="1626" y="1030"/>
                  </a:lnTo>
                  <a:lnTo>
                    <a:pt x="1612" y="1020"/>
                  </a:lnTo>
                  <a:lnTo>
                    <a:pt x="1598" y="1010"/>
                  </a:lnTo>
                  <a:lnTo>
                    <a:pt x="1585" y="999"/>
                  </a:lnTo>
                  <a:lnTo>
                    <a:pt x="1573" y="988"/>
                  </a:lnTo>
                  <a:lnTo>
                    <a:pt x="1549" y="963"/>
                  </a:lnTo>
                  <a:lnTo>
                    <a:pt x="1524" y="933"/>
                  </a:lnTo>
                  <a:lnTo>
                    <a:pt x="1409" y="933"/>
                  </a:lnTo>
                  <a:lnTo>
                    <a:pt x="1402" y="926"/>
                  </a:lnTo>
                  <a:lnTo>
                    <a:pt x="1397" y="919"/>
                  </a:lnTo>
                  <a:lnTo>
                    <a:pt x="1392" y="911"/>
                  </a:lnTo>
                  <a:lnTo>
                    <a:pt x="1389" y="903"/>
                  </a:lnTo>
                  <a:lnTo>
                    <a:pt x="1384" y="886"/>
                  </a:lnTo>
                  <a:lnTo>
                    <a:pt x="1380" y="869"/>
                  </a:lnTo>
                  <a:lnTo>
                    <a:pt x="1377" y="850"/>
                  </a:lnTo>
                  <a:lnTo>
                    <a:pt x="1373" y="831"/>
                  </a:lnTo>
                  <a:lnTo>
                    <a:pt x="1371" y="822"/>
                  </a:lnTo>
                  <a:lnTo>
                    <a:pt x="1367" y="813"/>
                  </a:lnTo>
                  <a:lnTo>
                    <a:pt x="1361" y="803"/>
                  </a:lnTo>
                  <a:lnTo>
                    <a:pt x="1356" y="794"/>
                  </a:lnTo>
                  <a:lnTo>
                    <a:pt x="1347" y="775"/>
                  </a:lnTo>
                  <a:lnTo>
                    <a:pt x="1339" y="753"/>
                  </a:lnTo>
                  <a:lnTo>
                    <a:pt x="1333" y="733"/>
                  </a:lnTo>
                  <a:lnTo>
                    <a:pt x="1332" y="717"/>
                  </a:lnTo>
                  <a:lnTo>
                    <a:pt x="1332" y="707"/>
                  </a:lnTo>
                  <a:lnTo>
                    <a:pt x="1332" y="697"/>
                  </a:lnTo>
                  <a:lnTo>
                    <a:pt x="1332" y="685"/>
                  </a:lnTo>
                  <a:lnTo>
                    <a:pt x="1332" y="669"/>
                  </a:lnTo>
                  <a:lnTo>
                    <a:pt x="1331" y="663"/>
                  </a:lnTo>
                  <a:lnTo>
                    <a:pt x="1327" y="657"/>
                  </a:lnTo>
                  <a:lnTo>
                    <a:pt x="1321" y="650"/>
                  </a:lnTo>
                  <a:lnTo>
                    <a:pt x="1313" y="643"/>
                  </a:lnTo>
                  <a:lnTo>
                    <a:pt x="1295" y="627"/>
                  </a:lnTo>
                  <a:lnTo>
                    <a:pt x="1272" y="611"/>
                  </a:lnTo>
                  <a:lnTo>
                    <a:pt x="1248" y="595"/>
                  </a:lnTo>
                  <a:lnTo>
                    <a:pt x="1225" y="583"/>
                  </a:lnTo>
                  <a:lnTo>
                    <a:pt x="1215" y="578"/>
                  </a:lnTo>
                  <a:lnTo>
                    <a:pt x="1205" y="575"/>
                  </a:lnTo>
                  <a:lnTo>
                    <a:pt x="1199" y="573"/>
                  </a:lnTo>
                  <a:lnTo>
                    <a:pt x="1193" y="571"/>
                  </a:lnTo>
                  <a:lnTo>
                    <a:pt x="1187" y="573"/>
                  </a:lnTo>
                  <a:lnTo>
                    <a:pt x="1180" y="577"/>
                  </a:lnTo>
                  <a:lnTo>
                    <a:pt x="1175" y="581"/>
                  </a:lnTo>
                  <a:lnTo>
                    <a:pt x="1168" y="587"/>
                  </a:lnTo>
                  <a:lnTo>
                    <a:pt x="1161" y="593"/>
                  </a:lnTo>
                  <a:lnTo>
                    <a:pt x="1155" y="597"/>
                  </a:lnTo>
                  <a:lnTo>
                    <a:pt x="1148" y="601"/>
                  </a:lnTo>
                  <a:lnTo>
                    <a:pt x="1139" y="602"/>
                  </a:lnTo>
                  <a:lnTo>
                    <a:pt x="1132" y="602"/>
                  </a:lnTo>
                  <a:lnTo>
                    <a:pt x="1128" y="601"/>
                  </a:lnTo>
                  <a:lnTo>
                    <a:pt x="1123" y="599"/>
                  </a:lnTo>
                  <a:lnTo>
                    <a:pt x="1119" y="598"/>
                  </a:lnTo>
                  <a:lnTo>
                    <a:pt x="1113" y="591"/>
                  </a:lnTo>
                  <a:lnTo>
                    <a:pt x="1109" y="583"/>
                  </a:lnTo>
                  <a:lnTo>
                    <a:pt x="1097" y="587"/>
                  </a:lnTo>
                  <a:lnTo>
                    <a:pt x="1087" y="591"/>
                  </a:lnTo>
                  <a:lnTo>
                    <a:pt x="1077" y="597"/>
                  </a:lnTo>
                  <a:lnTo>
                    <a:pt x="1067" y="601"/>
                  </a:lnTo>
                  <a:lnTo>
                    <a:pt x="1056" y="606"/>
                  </a:lnTo>
                  <a:lnTo>
                    <a:pt x="1047" y="610"/>
                  </a:lnTo>
                  <a:lnTo>
                    <a:pt x="1036" y="613"/>
                  </a:lnTo>
                  <a:lnTo>
                    <a:pt x="1024" y="614"/>
                  </a:lnTo>
                  <a:lnTo>
                    <a:pt x="1015" y="614"/>
                  </a:lnTo>
                  <a:lnTo>
                    <a:pt x="1007" y="611"/>
                  </a:lnTo>
                  <a:lnTo>
                    <a:pt x="1000" y="609"/>
                  </a:lnTo>
                  <a:lnTo>
                    <a:pt x="993" y="605"/>
                  </a:lnTo>
                  <a:lnTo>
                    <a:pt x="987" y="601"/>
                  </a:lnTo>
                  <a:lnTo>
                    <a:pt x="981" y="595"/>
                  </a:lnTo>
                  <a:lnTo>
                    <a:pt x="976" y="589"/>
                  </a:lnTo>
                  <a:lnTo>
                    <a:pt x="972" y="582"/>
                  </a:lnTo>
                  <a:lnTo>
                    <a:pt x="965" y="566"/>
                  </a:lnTo>
                  <a:lnTo>
                    <a:pt x="960" y="549"/>
                  </a:lnTo>
                  <a:lnTo>
                    <a:pt x="955" y="530"/>
                  </a:lnTo>
                  <a:lnTo>
                    <a:pt x="951" y="511"/>
                  </a:lnTo>
                  <a:lnTo>
                    <a:pt x="947" y="493"/>
                  </a:lnTo>
                  <a:lnTo>
                    <a:pt x="943" y="474"/>
                  </a:lnTo>
                  <a:lnTo>
                    <a:pt x="937" y="457"/>
                  </a:lnTo>
                  <a:lnTo>
                    <a:pt x="931" y="441"/>
                  </a:lnTo>
                  <a:lnTo>
                    <a:pt x="928" y="434"/>
                  </a:lnTo>
                  <a:lnTo>
                    <a:pt x="924" y="429"/>
                  </a:lnTo>
                  <a:lnTo>
                    <a:pt x="919" y="422"/>
                  </a:lnTo>
                  <a:lnTo>
                    <a:pt x="913" y="418"/>
                  </a:lnTo>
                  <a:lnTo>
                    <a:pt x="908" y="414"/>
                  </a:lnTo>
                  <a:lnTo>
                    <a:pt x="901" y="411"/>
                  </a:lnTo>
                  <a:lnTo>
                    <a:pt x="893" y="410"/>
                  </a:lnTo>
                  <a:lnTo>
                    <a:pt x="885" y="409"/>
                  </a:lnTo>
                  <a:lnTo>
                    <a:pt x="856" y="409"/>
                  </a:lnTo>
                  <a:lnTo>
                    <a:pt x="820" y="409"/>
                  </a:lnTo>
                  <a:lnTo>
                    <a:pt x="779" y="409"/>
                  </a:lnTo>
                  <a:lnTo>
                    <a:pt x="735" y="409"/>
                  </a:lnTo>
                  <a:lnTo>
                    <a:pt x="715" y="409"/>
                  </a:lnTo>
                  <a:lnTo>
                    <a:pt x="696" y="407"/>
                  </a:lnTo>
                  <a:lnTo>
                    <a:pt x="688" y="406"/>
                  </a:lnTo>
                  <a:lnTo>
                    <a:pt x="679" y="405"/>
                  </a:lnTo>
                  <a:lnTo>
                    <a:pt x="671" y="402"/>
                  </a:lnTo>
                  <a:lnTo>
                    <a:pt x="664" y="398"/>
                  </a:lnTo>
                  <a:lnTo>
                    <a:pt x="657" y="395"/>
                  </a:lnTo>
                  <a:lnTo>
                    <a:pt x="651" y="390"/>
                  </a:lnTo>
                  <a:lnTo>
                    <a:pt x="645" y="385"/>
                  </a:lnTo>
                  <a:lnTo>
                    <a:pt x="641" y="378"/>
                  </a:lnTo>
                  <a:lnTo>
                    <a:pt x="637" y="371"/>
                  </a:lnTo>
                  <a:lnTo>
                    <a:pt x="635" y="363"/>
                  </a:lnTo>
                  <a:lnTo>
                    <a:pt x="633" y="354"/>
                  </a:lnTo>
                  <a:lnTo>
                    <a:pt x="633" y="344"/>
                  </a:lnTo>
                  <a:lnTo>
                    <a:pt x="621" y="341"/>
                  </a:lnTo>
                  <a:lnTo>
                    <a:pt x="611" y="336"/>
                  </a:lnTo>
                  <a:lnTo>
                    <a:pt x="600" y="330"/>
                  </a:lnTo>
                  <a:lnTo>
                    <a:pt x="592" y="324"/>
                  </a:lnTo>
                  <a:lnTo>
                    <a:pt x="584" y="314"/>
                  </a:lnTo>
                  <a:lnTo>
                    <a:pt x="578" y="304"/>
                  </a:lnTo>
                  <a:lnTo>
                    <a:pt x="576" y="298"/>
                  </a:lnTo>
                  <a:lnTo>
                    <a:pt x="574" y="292"/>
                  </a:lnTo>
                  <a:lnTo>
                    <a:pt x="574" y="285"/>
                  </a:lnTo>
                  <a:lnTo>
                    <a:pt x="572" y="277"/>
                  </a:lnTo>
                  <a:lnTo>
                    <a:pt x="574" y="266"/>
                  </a:lnTo>
                  <a:lnTo>
                    <a:pt x="575" y="256"/>
                  </a:lnTo>
                  <a:lnTo>
                    <a:pt x="579" y="246"/>
                  </a:lnTo>
                  <a:lnTo>
                    <a:pt x="583" y="237"/>
                  </a:lnTo>
                  <a:lnTo>
                    <a:pt x="592" y="220"/>
                  </a:lnTo>
                  <a:lnTo>
                    <a:pt x="603" y="204"/>
                  </a:lnTo>
                  <a:lnTo>
                    <a:pt x="614" y="188"/>
                  </a:lnTo>
                  <a:lnTo>
                    <a:pt x="624" y="169"/>
                  </a:lnTo>
                  <a:lnTo>
                    <a:pt x="627" y="160"/>
                  </a:lnTo>
                  <a:lnTo>
                    <a:pt x="631" y="149"/>
                  </a:lnTo>
                  <a:lnTo>
                    <a:pt x="632" y="138"/>
                  </a:lnTo>
                  <a:lnTo>
                    <a:pt x="633" y="126"/>
                  </a:lnTo>
                  <a:lnTo>
                    <a:pt x="633" y="102"/>
                  </a:lnTo>
                  <a:lnTo>
                    <a:pt x="633" y="85"/>
                  </a:lnTo>
                  <a:lnTo>
                    <a:pt x="633" y="68"/>
                  </a:lnTo>
                  <a:lnTo>
                    <a:pt x="633" y="36"/>
                  </a:lnTo>
                  <a:lnTo>
                    <a:pt x="632" y="25"/>
                  </a:lnTo>
                  <a:lnTo>
                    <a:pt x="629" y="18"/>
                  </a:lnTo>
                  <a:lnTo>
                    <a:pt x="625" y="10"/>
                  </a:lnTo>
                  <a:lnTo>
                    <a:pt x="621" y="0"/>
                  </a:lnTo>
                  <a:lnTo>
                    <a:pt x="604" y="5"/>
                  </a:lnTo>
                  <a:lnTo>
                    <a:pt x="590" y="12"/>
                  </a:lnTo>
                  <a:lnTo>
                    <a:pt x="576" y="20"/>
                  </a:lnTo>
                  <a:lnTo>
                    <a:pt x="563" y="28"/>
                  </a:lnTo>
                  <a:lnTo>
                    <a:pt x="539" y="46"/>
                  </a:lnTo>
                  <a:lnTo>
                    <a:pt x="516" y="66"/>
                  </a:lnTo>
                  <a:lnTo>
                    <a:pt x="504" y="76"/>
                  </a:lnTo>
                  <a:lnTo>
                    <a:pt x="492" y="85"/>
                  </a:lnTo>
                  <a:lnTo>
                    <a:pt x="482" y="93"/>
                  </a:lnTo>
                  <a:lnTo>
                    <a:pt x="468" y="100"/>
                  </a:lnTo>
                  <a:lnTo>
                    <a:pt x="455" y="106"/>
                  </a:lnTo>
                  <a:lnTo>
                    <a:pt x="442" y="110"/>
                  </a:lnTo>
                  <a:lnTo>
                    <a:pt x="427" y="113"/>
                  </a:lnTo>
                  <a:lnTo>
                    <a:pt x="410" y="114"/>
                  </a:lnTo>
                  <a:lnTo>
                    <a:pt x="408" y="113"/>
                  </a:lnTo>
                  <a:lnTo>
                    <a:pt x="406" y="110"/>
                  </a:lnTo>
                  <a:lnTo>
                    <a:pt x="404" y="106"/>
                  </a:lnTo>
                  <a:lnTo>
                    <a:pt x="402" y="101"/>
                  </a:lnTo>
                  <a:lnTo>
                    <a:pt x="399" y="92"/>
                  </a:lnTo>
                  <a:lnTo>
                    <a:pt x="398" y="84"/>
                  </a:lnTo>
                  <a:lnTo>
                    <a:pt x="386" y="84"/>
                  </a:lnTo>
                  <a:lnTo>
                    <a:pt x="379" y="84"/>
                  </a:lnTo>
                  <a:lnTo>
                    <a:pt x="375" y="84"/>
                  </a:lnTo>
                  <a:lnTo>
                    <a:pt x="368" y="84"/>
                  </a:lnTo>
                  <a:lnTo>
                    <a:pt x="352" y="85"/>
                  </a:lnTo>
                  <a:lnTo>
                    <a:pt x="338" y="89"/>
                  </a:lnTo>
                  <a:lnTo>
                    <a:pt x="324" y="94"/>
                  </a:lnTo>
                  <a:lnTo>
                    <a:pt x="312" y="102"/>
                  </a:lnTo>
                  <a:lnTo>
                    <a:pt x="302" y="112"/>
                  </a:lnTo>
                  <a:lnTo>
                    <a:pt x="291" y="122"/>
                  </a:lnTo>
                  <a:lnTo>
                    <a:pt x="283" y="136"/>
                  </a:lnTo>
                  <a:lnTo>
                    <a:pt x="275" y="149"/>
                  </a:lnTo>
                  <a:lnTo>
                    <a:pt x="268" y="164"/>
                  </a:lnTo>
                  <a:lnTo>
                    <a:pt x="262" y="178"/>
                  </a:lnTo>
                  <a:lnTo>
                    <a:pt x="256" y="194"/>
                  </a:lnTo>
                  <a:lnTo>
                    <a:pt x="251" y="212"/>
                  </a:lnTo>
                  <a:lnTo>
                    <a:pt x="243" y="245"/>
                  </a:lnTo>
                  <a:lnTo>
                    <a:pt x="235" y="277"/>
                  </a:lnTo>
                  <a:lnTo>
                    <a:pt x="235" y="282"/>
                  </a:lnTo>
                  <a:lnTo>
                    <a:pt x="232" y="288"/>
                  </a:lnTo>
                  <a:lnTo>
                    <a:pt x="228" y="294"/>
                  </a:lnTo>
                  <a:lnTo>
                    <a:pt x="224" y="301"/>
                  </a:lnTo>
                  <a:lnTo>
                    <a:pt x="212" y="316"/>
                  </a:lnTo>
                  <a:lnTo>
                    <a:pt x="198" y="332"/>
                  </a:lnTo>
                  <a:lnTo>
                    <a:pt x="167" y="361"/>
                  </a:lnTo>
                  <a:lnTo>
                    <a:pt x="146" y="385"/>
                  </a:lnTo>
                  <a:lnTo>
                    <a:pt x="135" y="399"/>
                  </a:lnTo>
                  <a:lnTo>
                    <a:pt x="126" y="413"/>
                  </a:lnTo>
                  <a:lnTo>
                    <a:pt x="118" y="427"/>
                  </a:lnTo>
                  <a:lnTo>
                    <a:pt x="111" y="442"/>
                  </a:lnTo>
                  <a:lnTo>
                    <a:pt x="100" y="471"/>
                  </a:lnTo>
                  <a:lnTo>
                    <a:pt x="91" y="502"/>
                  </a:lnTo>
                  <a:lnTo>
                    <a:pt x="83" y="535"/>
                  </a:lnTo>
                  <a:lnTo>
                    <a:pt x="76" y="569"/>
                  </a:lnTo>
                  <a:lnTo>
                    <a:pt x="67" y="602"/>
                  </a:lnTo>
                  <a:lnTo>
                    <a:pt x="55" y="638"/>
                  </a:lnTo>
                  <a:lnTo>
                    <a:pt x="50" y="650"/>
                  </a:lnTo>
                  <a:lnTo>
                    <a:pt x="42" y="661"/>
                  </a:lnTo>
                  <a:lnTo>
                    <a:pt x="32" y="673"/>
                  </a:lnTo>
                  <a:lnTo>
                    <a:pt x="23" y="683"/>
                  </a:lnTo>
                  <a:lnTo>
                    <a:pt x="15" y="695"/>
                  </a:lnTo>
                  <a:lnTo>
                    <a:pt x="7" y="709"/>
                  </a:lnTo>
                  <a:lnTo>
                    <a:pt x="4" y="715"/>
                  </a:lnTo>
                  <a:lnTo>
                    <a:pt x="3" y="721"/>
                  </a:lnTo>
                  <a:lnTo>
                    <a:pt x="2" y="727"/>
                  </a:lnTo>
                  <a:lnTo>
                    <a:pt x="0" y="734"/>
                  </a:lnTo>
                  <a:lnTo>
                    <a:pt x="2" y="739"/>
                  </a:lnTo>
                  <a:lnTo>
                    <a:pt x="6" y="745"/>
                  </a:lnTo>
                  <a:lnTo>
                    <a:pt x="10" y="750"/>
                  </a:lnTo>
                  <a:lnTo>
                    <a:pt x="16" y="755"/>
                  </a:lnTo>
                  <a:lnTo>
                    <a:pt x="26" y="765"/>
                  </a:lnTo>
                  <a:lnTo>
                    <a:pt x="31" y="770"/>
                  </a:lnTo>
                  <a:lnTo>
                    <a:pt x="38" y="791"/>
                  </a:lnTo>
                  <a:lnTo>
                    <a:pt x="47" y="811"/>
                  </a:lnTo>
                  <a:lnTo>
                    <a:pt x="56" y="827"/>
                  </a:lnTo>
                  <a:lnTo>
                    <a:pt x="67" y="843"/>
                  </a:lnTo>
                  <a:lnTo>
                    <a:pt x="79" y="857"/>
                  </a:lnTo>
                  <a:lnTo>
                    <a:pt x="91" y="869"/>
                  </a:lnTo>
                  <a:lnTo>
                    <a:pt x="103" y="881"/>
                  </a:lnTo>
                  <a:lnTo>
                    <a:pt x="115" y="893"/>
                  </a:lnTo>
                  <a:lnTo>
                    <a:pt x="140" y="915"/>
                  </a:lnTo>
                  <a:lnTo>
                    <a:pt x="163" y="939"/>
                  </a:lnTo>
                  <a:lnTo>
                    <a:pt x="174" y="954"/>
                  </a:lnTo>
                  <a:lnTo>
                    <a:pt x="183" y="968"/>
                  </a:lnTo>
                  <a:lnTo>
                    <a:pt x="192" y="986"/>
                  </a:lnTo>
                  <a:lnTo>
                    <a:pt x="199" y="1006"/>
                  </a:lnTo>
                  <a:lnTo>
                    <a:pt x="215" y="1027"/>
                  </a:lnTo>
                  <a:lnTo>
                    <a:pt x="234" y="1048"/>
                  </a:lnTo>
                  <a:lnTo>
                    <a:pt x="242" y="1060"/>
                  </a:lnTo>
                  <a:lnTo>
                    <a:pt x="248" y="1072"/>
                  </a:lnTo>
                  <a:lnTo>
                    <a:pt x="250" y="1079"/>
                  </a:lnTo>
                  <a:lnTo>
                    <a:pt x="252" y="1087"/>
                  </a:lnTo>
                  <a:lnTo>
                    <a:pt x="254" y="1094"/>
                  </a:lnTo>
                  <a:lnTo>
                    <a:pt x="254" y="1102"/>
                  </a:lnTo>
                  <a:lnTo>
                    <a:pt x="252" y="1115"/>
                  </a:lnTo>
                  <a:lnTo>
                    <a:pt x="251" y="1127"/>
                  </a:lnTo>
                  <a:lnTo>
                    <a:pt x="248" y="1139"/>
                  </a:lnTo>
                  <a:lnTo>
                    <a:pt x="244" y="1150"/>
                  </a:lnTo>
                  <a:lnTo>
                    <a:pt x="242" y="1162"/>
                  </a:lnTo>
                  <a:lnTo>
                    <a:pt x="239" y="1172"/>
                  </a:lnTo>
                  <a:lnTo>
                    <a:pt x="236" y="1184"/>
                  </a:lnTo>
                  <a:lnTo>
                    <a:pt x="235" y="1198"/>
                  </a:lnTo>
                  <a:lnTo>
                    <a:pt x="236" y="1222"/>
                  </a:lnTo>
                  <a:lnTo>
                    <a:pt x="239" y="1246"/>
                  </a:lnTo>
                  <a:lnTo>
                    <a:pt x="242" y="1268"/>
                  </a:lnTo>
                  <a:lnTo>
                    <a:pt x="244" y="1291"/>
                  </a:lnTo>
                  <a:lnTo>
                    <a:pt x="248" y="1314"/>
                  </a:lnTo>
                  <a:lnTo>
                    <a:pt x="251" y="1336"/>
                  </a:lnTo>
                  <a:lnTo>
                    <a:pt x="252" y="1360"/>
                  </a:lnTo>
                  <a:lnTo>
                    <a:pt x="254" y="1384"/>
                  </a:lnTo>
                  <a:lnTo>
                    <a:pt x="254" y="1415"/>
                  </a:lnTo>
                  <a:lnTo>
                    <a:pt x="254" y="1446"/>
                  </a:lnTo>
                  <a:lnTo>
                    <a:pt x="254" y="1474"/>
                  </a:lnTo>
                  <a:lnTo>
                    <a:pt x="254" y="1494"/>
                  </a:lnTo>
                  <a:lnTo>
                    <a:pt x="251" y="1504"/>
                  </a:lnTo>
                  <a:lnTo>
                    <a:pt x="246" y="1519"/>
                  </a:lnTo>
                  <a:lnTo>
                    <a:pt x="243" y="1527"/>
                  </a:lnTo>
                  <a:lnTo>
                    <a:pt x="240" y="1535"/>
                  </a:lnTo>
                  <a:lnTo>
                    <a:pt x="240" y="1544"/>
                  </a:lnTo>
                  <a:lnTo>
                    <a:pt x="242" y="1553"/>
                  </a:lnTo>
                  <a:lnTo>
                    <a:pt x="246" y="1564"/>
                  </a:lnTo>
                  <a:lnTo>
                    <a:pt x="251" y="1572"/>
                  </a:lnTo>
                  <a:lnTo>
                    <a:pt x="259" y="1580"/>
                  </a:lnTo>
                  <a:lnTo>
                    <a:pt x="267" y="1585"/>
                  </a:lnTo>
                  <a:lnTo>
                    <a:pt x="284" y="1596"/>
                  </a:lnTo>
                  <a:lnTo>
                    <a:pt x="304" y="1604"/>
                  </a:lnTo>
                  <a:lnTo>
                    <a:pt x="324" y="1612"/>
                  </a:lnTo>
                  <a:lnTo>
                    <a:pt x="343" y="1623"/>
                  </a:lnTo>
                  <a:lnTo>
                    <a:pt x="351" y="1629"/>
                  </a:lnTo>
                  <a:lnTo>
                    <a:pt x="358" y="1636"/>
                  </a:lnTo>
                  <a:lnTo>
                    <a:pt x="364" y="1645"/>
                  </a:lnTo>
                  <a:lnTo>
                    <a:pt x="368" y="1656"/>
                  </a:lnTo>
                  <a:lnTo>
                    <a:pt x="375" y="1679"/>
                  </a:lnTo>
                  <a:lnTo>
                    <a:pt x="382" y="1705"/>
                  </a:lnTo>
                  <a:lnTo>
                    <a:pt x="387" y="1735"/>
                  </a:lnTo>
                  <a:lnTo>
                    <a:pt x="394" y="1763"/>
                  </a:lnTo>
                  <a:lnTo>
                    <a:pt x="402" y="1811"/>
                  </a:lnTo>
                  <a:lnTo>
                    <a:pt x="404" y="1831"/>
                  </a:lnTo>
                  <a:lnTo>
                    <a:pt x="410" y="1831"/>
                  </a:lnTo>
                  <a:lnTo>
                    <a:pt x="419" y="1839"/>
                  </a:lnTo>
                  <a:lnTo>
                    <a:pt x="431" y="1847"/>
                  </a:lnTo>
                  <a:lnTo>
                    <a:pt x="438" y="1849"/>
                  </a:lnTo>
                  <a:lnTo>
                    <a:pt x="446" y="1852"/>
                  </a:lnTo>
                  <a:lnTo>
                    <a:pt x="454" y="1853"/>
                  </a:lnTo>
                  <a:lnTo>
                    <a:pt x="464" y="1855"/>
                  </a:lnTo>
                  <a:lnTo>
                    <a:pt x="475" y="1853"/>
                  </a:lnTo>
                  <a:lnTo>
                    <a:pt x="484" y="1852"/>
                  </a:lnTo>
                  <a:lnTo>
                    <a:pt x="494" y="1851"/>
                  </a:lnTo>
                  <a:lnTo>
                    <a:pt x="500" y="1848"/>
                  </a:lnTo>
                  <a:lnTo>
                    <a:pt x="507" y="1845"/>
                  </a:lnTo>
                  <a:lnTo>
                    <a:pt x="514" y="1841"/>
                  </a:lnTo>
                  <a:lnTo>
                    <a:pt x="519" y="1837"/>
                  </a:lnTo>
                  <a:lnTo>
                    <a:pt x="524" y="1833"/>
                  </a:lnTo>
                  <a:lnTo>
                    <a:pt x="542" y="1813"/>
                  </a:lnTo>
                  <a:lnTo>
                    <a:pt x="560" y="1795"/>
                  </a:lnTo>
                  <a:lnTo>
                    <a:pt x="571" y="1789"/>
                  </a:lnTo>
                  <a:lnTo>
                    <a:pt x="583" y="1785"/>
                  </a:lnTo>
                  <a:lnTo>
                    <a:pt x="595" y="1783"/>
                  </a:lnTo>
                  <a:lnTo>
                    <a:pt x="608" y="1781"/>
                  </a:lnTo>
                  <a:lnTo>
                    <a:pt x="633" y="1781"/>
                  </a:lnTo>
                  <a:lnTo>
                    <a:pt x="661" y="1781"/>
                  </a:lnTo>
                  <a:lnTo>
                    <a:pt x="687" y="1783"/>
                  </a:lnTo>
                  <a:lnTo>
                    <a:pt x="711" y="1783"/>
                  </a:lnTo>
                  <a:lnTo>
                    <a:pt x="721" y="1781"/>
                  </a:lnTo>
                  <a:lnTo>
                    <a:pt x="731" y="1779"/>
                  </a:lnTo>
                  <a:lnTo>
                    <a:pt x="740" y="1775"/>
                  </a:lnTo>
                  <a:lnTo>
                    <a:pt x="748" y="1769"/>
                  </a:lnTo>
                  <a:lnTo>
                    <a:pt x="753" y="1767"/>
                  </a:lnTo>
                  <a:lnTo>
                    <a:pt x="759" y="1760"/>
                  </a:lnTo>
                  <a:lnTo>
                    <a:pt x="764" y="1752"/>
                  </a:lnTo>
                  <a:lnTo>
                    <a:pt x="768" y="1744"/>
                  </a:lnTo>
                  <a:lnTo>
                    <a:pt x="772" y="1736"/>
                  </a:lnTo>
                  <a:lnTo>
                    <a:pt x="775" y="1728"/>
                  </a:lnTo>
                  <a:lnTo>
                    <a:pt x="779" y="1724"/>
                  </a:lnTo>
                  <a:lnTo>
                    <a:pt x="784" y="1721"/>
                  </a:lnTo>
                  <a:lnTo>
                    <a:pt x="792" y="1716"/>
                  </a:lnTo>
                  <a:lnTo>
                    <a:pt x="801" y="1713"/>
                  </a:lnTo>
                  <a:lnTo>
                    <a:pt x="811" y="1713"/>
                  </a:lnTo>
                  <a:lnTo>
                    <a:pt x="820" y="1713"/>
                  </a:lnTo>
                  <a:lnTo>
                    <a:pt x="828" y="1712"/>
                  </a:lnTo>
                  <a:lnTo>
                    <a:pt x="837" y="1712"/>
                  </a:lnTo>
                  <a:lnTo>
                    <a:pt x="847" y="1709"/>
                  </a:lnTo>
                  <a:lnTo>
                    <a:pt x="856" y="1704"/>
                  </a:lnTo>
                  <a:lnTo>
                    <a:pt x="860" y="1701"/>
                  </a:lnTo>
                  <a:lnTo>
                    <a:pt x="863" y="1697"/>
                  </a:lnTo>
                  <a:lnTo>
                    <a:pt x="867" y="1693"/>
                  </a:lnTo>
                  <a:lnTo>
                    <a:pt x="868" y="1689"/>
                  </a:lnTo>
                  <a:lnTo>
                    <a:pt x="872" y="1679"/>
                  </a:lnTo>
                  <a:lnTo>
                    <a:pt x="876" y="1669"/>
                  </a:lnTo>
                  <a:lnTo>
                    <a:pt x="879" y="1659"/>
                  </a:lnTo>
                  <a:lnTo>
                    <a:pt x="884" y="1651"/>
                  </a:lnTo>
                  <a:lnTo>
                    <a:pt x="888" y="1648"/>
                  </a:lnTo>
                  <a:lnTo>
                    <a:pt x="892" y="1645"/>
                  </a:lnTo>
                  <a:lnTo>
                    <a:pt x="897" y="1644"/>
                  </a:lnTo>
                  <a:lnTo>
                    <a:pt x="904" y="1644"/>
                  </a:lnTo>
                  <a:lnTo>
                    <a:pt x="909" y="1644"/>
                  </a:lnTo>
                  <a:lnTo>
                    <a:pt x="916" y="1647"/>
                  </a:lnTo>
                  <a:lnTo>
                    <a:pt x="923" y="1649"/>
                  </a:lnTo>
                  <a:lnTo>
                    <a:pt x="932" y="1653"/>
                  </a:lnTo>
                  <a:lnTo>
                    <a:pt x="949" y="1663"/>
                  </a:lnTo>
                  <a:lnTo>
                    <a:pt x="969" y="1675"/>
                  </a:lnTo>
                  <a:lnTo>
                    <a:pt x="1007" y="1699"/>
                  </a:lnTo>
                  <a:lnTo>
                    <a:pt x="1031" y="1716"/>
                  </a:lnTo>
                  <a:lnTo>
                    <a:pt x="1044" y="1721"/>
                  </a:lnTo>
                  <a:lnTo>
                    <a:pt x="1056" y="1724"/>
                  </a:lnTo>
                  <a:lnTo>
                    <a:pt x="1069" y="1727"/>
                  </a:lnTo>
                  <a:lnTo>
                    <a:pt x="1081" y="1728"/>
                  </a:lnTo>
                  <a:lnTo>
                    <a:pt x="1095" y="1731"/>
                  </a:lnTo>
                  <a:lnTo>
                    <a:pt x="1107" y="1733"/>
                  </a:lnTo>
                  <a:lnTo>
                    <a:pt x="1120" y="1739"/>
                  </a:lnTo>
                  <a:lnTo>
                    <a:pt x="1133" y="1745"/>
                  </a:lnTo>
                  <a:lnTo>
                    <a:pt x="1144" y="1755"/>
                  </a:lnTo>
                  <a:lnTo>
                    <a:pt x="1153" y="1764"/>
                  </a:lnTo>
                  <a:lnTo>
                    <a:pt x="1163" y="1773"/>
                  </a:lnTo>
                  <a:lnTo>
                    <a:pt x="1172" y="1784"/>
                  </a:lnTo>
                  <a:lnTo>
                    <a:pt x="1180" y="1793"/>
                  </a:lnTo>
                  <a:lnTo>
                    <a:pt x="1187" y="1804"/>
                  </a:lnTo>
                  <a:lnTo>
                    <a:pt x="1193" y="1815"/>
                  </a:lnTo>
                  <a:lnTo>
                    <a:pt x="1199" y="1827"/>
                  </a:lnTo>
                  <a:lnTo>
                    <a:pt x="1209" y="1851"/>
                  </a:lnTo>
                  <a:lnTo>
                    <a:pt x="1217" y="1877"/>
                  </a:lnTo>
                  <a:lnTo>
                    <a:pt x="1224" y="1907"/>
                  </a:lnTo>
                  <a:lnTo>
                    <a:pt x="1229" y="1939"/>
                  </a:lnTo>
                  <a:lnTo>
                    <a:pt x="1237" y="1952"/>
                  </a:lnTo>
                  <a:lnTo>
                    <a:pt x="1257" y="1981"/>
                  </a:lnTo>
                  <a:lnTo>
                    <a:pt x="1277" y="2012"/>
                  </a:lnTo>
                  <a:lnTo>
                    <a:pt x="1289" y="2029"/>
                  </a:lnTo>
                  <a:lnTo>
                    <a:pt x="1296" y="2041"/>
                  </a:lnTo>
                  <a:lnTo>
                    <a:pt x="1305" y="2052"/>
                  </a:lnTo>
                  <a:lnTo>
                    <a:pt x="1317" y="2061"/>
                  </a:lnTo>
                  <a:lnTo>
                    <a:pt x="1331" y="2071"/>
                  </a:lnTo>
                  <a:lnTo>
                    <a:pt x="1345" y="2079"/>
                  </a:lnTo>
                  <a:lnTo>
                    <a:pt x="1361" y="2087"/>
                  </a:lnTo>
                  <a:lnTo>
                    <a:pt x="1379" y="2093"/>
                  </a:lnTo>
                  <a:lnTo>
                    <a:pt x="1396" y="2100"/>
                  </a:lnTo>
                  <a:lnTo>
                    <a:pt x="1433" y="2112"/>
                  </a:lnTo>
                  <a:lnTo>
                    <a:pt x="1469" y="2122"/>
                  </a:lnTo>
                  <a:lnTo>
                    <a:pt x="1502" y="2132"/>
                  </a:lnTo>
                  <a:lnTo>
                    <a:pt x="1530" y="2144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accent1">
                  <a:lumMod val="20000"/>
                  <a:lumOff val="8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95" b="0" i="0" u="none" strike="noStrike" kern="1200" cap="none" spc="0" normalizeH="0" baseline="0" noProof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241" name="Рисунок 24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7697" y="3521680"/>
            <a:ext cx="690639" cy="690639"/>
          </a:xfrm>
          <a:prstGeom prst="rect">
            <a:avLst/>
          </a:prstGeom>
        </p:spPr>
      </p:pic>
      <p:pic>
        <p:nvPicPr>
          <p:cNvPr id="31" name="Рисунок 30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41806"/>
            <a:ext cx="2163618" cy="984251"/>
          </a:xfrm>
          <a:prstGeom prst="rect">
            <a:avLst/>
          </a:prstGeom>
        </p:spPr>
      </p:pic>
      <p:sp>
        <p:nvSpPr>
          <p:cNvPr id="26" name="TextBox 25"/>
          <p:cNvSpPr txBox="1"/>
          <p:nvPr/>
        </p:nvSpPr>
        <p:spPr>
          <a:xfrm>
            <a:off x="3730335" y="157742"/>
            <a:ext cx="8165795" cy="551280"/>
          </a:xfrm>
          <a:prstGeom prst="rect">
            <a:avLst/>
          </a:prstGeom>
          <a:noFill/>
        </p:spPr>
        <p:txBody>
          <a:bodyPr wrap="none" lIns="90717" tIns="45358" rIns="0" bIns="45358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Обучающие программы 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АО «Корпорация «МСП» </a:t>
            </a:r>
            <a:b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</a:b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для потенциальных и действующих предпринимателей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Times New Roman" panose="02020603050405020304" pitchFamily="18" charset="0"/>
            </a:endParaRPr>
          </a:p>
        </p:txBody>
      </p:sp>
      <p:cxnSp>
        <p:nvCxnSpPr>
          <p:cNvPr id="100" name="Прямая соединительная линия 99"/>
          <p:cNvCxnSpPr/>
          <p:nvPr/>
        </p:nvCxnSpPr>
        <p:spPr>
          <a:xfrm>
            <a:off x="282575" y="900113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Прямоугольник 75"/>
          <p:cNvSpPr/>
          <p:nvPr/>
        </p:nvSpPr>
        <p:spPr>
          <a:xfrm>
            <a:off x="289685" y="998826"/>
            <a:ext cx="6407895" cy="533069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lIns="36000" tIns="35100" rIns="360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Тренинги по </a:t>
            </a: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66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бучающим программам АО «Корпорация «МСП»</a:t>
            </a: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/>
            </a:r>
            <a:b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</a:b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«Азбука предпринимателя» и «Школа предпринимательства»</a:t>
            </a:r>
          </a:p>
        </p:txBody>
      </p:sp>
      <p:sp>
        <p:nvSpPr>
          <p:cNvPr id="77" name="TextBox 76"/>
          <p:cNvSpPr txBox="1"/>
          <p:nvPr/>
        </p:nvSpPr>
        <p:spPr>
          <a:xfrm rot="10800000" flipV="1">
            <a:off x="1107257" y="2463525"/>
            <a:ext cx="413079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2362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Количество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FF66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субъектов РФ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, в которых реализованы обучающие программы АО «Корпорация «МСП»</a:t>
            </a:r>
          </a:p>
        </p:txBody>
      </p:sp>
      <p:sp>
        <p:nvSpPr>
          <p:cNvPr id="64" name="Прямоугольник 63"/>
          <p:cNvSpPr/>
          <p:nvPr/>
        </p:nvSpPr>
        <p:spPr>
          <a:xfrm>
            <a:off x="7013292" y="1005586"/>
            <a:ext cx="5313421" cy="526309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lIns="36000" tIns="35100" rIns="360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ддержка </a:t>
            </a: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66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молодёжного предпринимательства</a:t>
            </a:r>
            <a:endParaRPr kumimoji="0" lang="ru-RU" sz="1400" b="1" i="0" u="none" strike="noStrike" kern="0" cap="none" spc="0" normalizeH="0" baseline="0" noProof="0" dirty="0">
              <a:ln>
                <a:noFill/>
              </a:ln>
              <a:solidFill>
                <a:srgbClr val="FF6600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66" name="Прямоугольник 65"/>
          <p:cNvSpPr/>
          <p:nvPr/>
        </p:nvSpPr>
        <p:spPr>
          <a:xfrm>
            <a:off x="7013292" y="1558330"/>
            <a:ext cx="5305707" cy="9797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Междисциплинарная многопрофильная олимпиада «Технологическое предпринимательство»</a:t>
            </a:r>
            <a:b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для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школьников 8-11 классов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(далее – Олимпиада)</a:t>
            </a:r>
          </a:p>
        </p:txBody>
      </p:sp>
      <p:sp>
        <p:nvSpPr>
          <p:cNvPr id="69" name="Прямоугольник 68"/>
          <p:cNvSpPr/>
          <p:nvPr/>
        </p:nvSpPr>
        <p:spPr>
          <a:xfrm>
            <a:off x="7036611" y="2482972"/>
            <a:ext cx="525256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1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АО «Корпорация «МСП» участвует в организации и проведении Олимпиады </a:t>
            </a:r>
            <a:br>
              <a:rPr kumimoji="0" lang="ru-RU" sz="1200" b="0" i="1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ru-RU" sz="1200" b="0" i="1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с 2017 года.</a:t>
            </a:r>
            <a:endParaRPr kumimoji="0" lang="ru-RU" sz="1200" b="0" i="1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5" name="Прямоугольник 84"/>
          <p:cNvSpPr/>
          <p:nvPr/>
        </p:nvSpPr>
        <p:spPr>
          <a:xfrm>
            <a:off x="1216566" y="6366123"/>
            <a:ext cx="563033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обучение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участников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системы чемпионатов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«Молодые профессионалы»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(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WorldSkills Russia</a:t>
            </a:r>
            <a:r>
              <a:rPr kumimoji="0" 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) 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(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далее – участники </a:t>
            </a:r>
            <a:r>
              <a:rPr kumimoji="0" lang="ru-RU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Ворлдскилс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)</a:t>
            </a:r>
          </a:p>
        </p:txBody>
      </p:sp>
      <p:sp>
        <p:nvSpPr>
          <p:cNvPr id="86" name="TextBox 85"/>
          <p:cNvSpPr txBox="1"/>
          <p:nvPr/>
        </p:nvSpPr>
        <p:spPr>
          <a:xfrm>
            <a:off x="1225594" y="7474038"/>
            <a:ext cx="407188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40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2362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Количество проведенных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66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обучающих мероприятий</a:t>
            </a: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srgbClr val="FF6600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9" name="TextBox 88"/>
          <p:cNvSpPr txBox="1"/>
          <p:nvPr/>
        </p:nvSpPr>
        <p:spPr>
          <a:xfrm>
            <a:off x="1225594" y="7770385"/>
            <a:ext cx="381276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60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2362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Количество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66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обученных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FF66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участников </a:t>
            </a:r>
            <a:r>
              <a:rPr kumimoji="0" lang="ru-RU" sz="14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Ворлдскиллс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1F4E79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7" name="Прямоугольник 86"/>
          <p:cNvSpPr/>
          <p:nvPr/>
        </p:nvSpPr>
        <p:spPr>
          <a:xfrm>
            <a:off x="7537354" y="4700161"/>
            <a:ext cx="4790924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Включение обучающих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программ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АО «Корпорация «МСП» в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Перечень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рекомендуемых программ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для предпринимателей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, реализуемых в рамках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федерального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проекта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«Популяризация предпринимательства»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7024132" y="4281473"/>
            <a:ext cx="1857329" cy="336579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lIns="36000" tIns="35100" rIns="360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Задачи на 2019 год:</a:t>
            </a:r>
          </a:p>
        </p:txBody>
      </p:sp>
      <p:sp>
        <p:nvSpPr>
          <p:cNvPr id="78" name="TextBox 77"/>
          <p:cNvSpPr txBox="1"/>
          <p:nvPr/>
        </p:nvSpPr>
        <p:spPr>
          <a:xfrm>
            <a:off x="1105708" y="3559781"/>
            <a:ext cx="324561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60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2362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Количество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FF66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обученных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по обучающим программам АО «Корпорация «МСП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»</a:t>
            </a:r>
          </a:p>
        </p:txBody>
      </p:sp>
      <p:sp>
        <p:nvSpPr>
          <p:cNvPr id="79" name="TextBox 78"/>
          <p:cNvSpPr txBox="1"/>
          <p:nvPr/>
        </p:nvSpPr>
        <p:spPr>
          <a:xfrm>
            <a:off x="1116239" y="2986621"/>
            <a:ext cx="3956969" cy="523220"/>
          </a:xfrm>
          <a:prstGeom prst="rect">
            <a:avLst/>
          </a:prstGeom>
          <a:solidFill>
            <a:sysClr val="window" lastClr="FFFFFF"/>
          </a:solidFill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40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2362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Количество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FF66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тренингов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,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проведенных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по обучающим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программам АО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«Корпорация «МСП»</a:t>
            </a:r>
          </a:p>
        </p:txBody>
      </p:sp>
      <p:sp>
        <p:nvSpPr>
          <p:cNvPr id="250" name="Прямоугольник 249"/>
          <p:cNvSpPr/>
          <p:nvPr/>
        </p:nvSpPr>
        <p:spPr>
          <a:xfrm>
            <a:off x="7013292" y="2956018"/>
            <a:ext cx="2640167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Количество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66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участников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, зарегистрировавшихся на официальном сайте Олимпиады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1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(при участии </a:t>
            </a:r>
            <a:r>
              <a:rPr kumimoji="0" lang="ru-RU" sz="1200" b="0" i="1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в проведении Олимпиады </a:t>
            </a:r>
            <a:r>
              <a:rPr kumimoji="0" lang="ru-RU" sz="1200" b="0" i="1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</a:t>
            </a:r>
            <a:br>
              <a:rPr kumimoji="0" lang="ru-RU" sz="1200" b="0" i="1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ru-RU" sz="1200" b="0" i="1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АО </a:t>
            </a:r>
            <a:r>
              <a:rPr kumimoji="0" lang="ru-RU" sz="1200" b="0" i="1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«Корпорация «МСП</a:t>
            </a:r>
            <a:r>
              <a:rPr kumimoji="0" lang="ru-RU" sz="1200" b="0" i="1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»)</a:t>
            </a:r>
            <a:endParaRPr kumimoji="0" lang="ru-RU" sz="1200" b="0" i="1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51" name="TextBox 250"/>
          <p:cNvSpPr txBox="1"/>
          <p:nvPr/>
        </p:nvSpPr>
        <p:spPr>
          <a:xfrm>
            <a:off x="9640875" y="3011949"/>
            <a:ext cx="785140" cy="276999"/>
          </a:xfrm>
          <a:prstGeom prst="rect">
            <a:avLst/>
          </a:prstGeom>
          <a:noFill/>
          <a:ln w="19050" cap="flat" cmpd="sng" algn="ctr">
            <a:solidFill>
              <a:schemeClr val="accent1">
                <a:lumMod val="20000"/>
                <a:lumOff val="8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en-US"/>
            </a:defPPr>
            <a:lvl1pPr algn="ctr" defTabSz="236235">
              <a:defRPr sz="1200" b="1">
                <a:solidFill>
                  <a:srgbClr val="1F4E79"/>
                </a:solidFill>
                <a:latin typeface="Arial Narrow" panose="020B0606020202030204" pitchFamily="34" charset="0"/>
              </a:defRPr>
            </a:lvl1pPr>
          </a:lstStyle>
          <a:p>
            <a:pPr marL="0" marR="0" lvl="0" indent="0" algn="ctr" defTabSz="2362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7 год :</a:t>
            </a:r>
          </a:p>
        </p:txBody>
      </p:sp>
      <p:sp>
        <p:nvSpPr>
          <p:cNvPr id="252" name="Прямоугольник 251"/>
          <p:cNvSpPr/>
          <p:nvPr/>
        </p:nvSpPr>
        <p:spPr>
          <a:xfrm>
            <a:off x="10448626" y="3394845"/>
            <a:ext cx="761818" cy="292407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2362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  <a:sym typeface="Helvetica Light"/>
              </a:rPr>
              <a:t>10 185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1F4E79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  <a:sym typeface="Helvetica Light"/>
            </a:endParaRPr>
          </a:p>
        </p:txBody>
      </p:sp>
      <p:sp>
        <p:nvSpPr>
          <p:cNvPr id="253" name="TextBox 252"/>
          <p:cNvSpPr txBox="1"/>
          <p:nvPr/>
        </p:nvSpPr>
        <p:spPr>
          <a:xfrm>
            <a:off x="11253607" y="3008614"/>
            <a:ext cx="853060" cy="27699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 cap="flat" cmpd="sng" algn="ctr">
            <a:solidFill>
              <a:schemeClr val="accent1">
                <a:lumMod val="20000"/>
                <a:lumOff val="8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en-US"/>
            </a:defPPr>
            <a:lvl1pPr algn="ctr" defTabSz="236235">
              <a:defRPr sz="1200" b="1">
                <a:solidFill>
                  <a:srgbClr val="1F4E79"/>
                </a:solidFill>
                <a:latin typeface="Arial Narrow" panose="020B0606020202030204" pitchFamily="34" charset="0"/>
              </a:defRPr>
            </a:lvl1pPr>
          </a:lstStyle>
          <a:p>
            <a:pPr marL="0" marR="0" lvl="0" indent="0" algn="ctr" defTabSz="2362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FF66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9 </a:t>
            </a: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66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год: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srgbClr val="FF6600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254" name="Прямоугольник 253"/>
          <p:cNvSpPr/>
          <p:nvPr/>
        </p:nvSpPr>
        <p:spPr>
          <a:xfrm>
            <a:off x="11253606" y="3387586"/>
            <a:ext cx="853061" cy="292407"/>
          </a:xfrm>
          <a:prstGeom prst="rect">
            <a:avLst/>
          </a:prstGeom>
          <a:solidFill>
            <a:srgbClr val="5B9BD5">
              <a:lumMod val="20000"/>
              <a:lumOff val="80000"/>
            </a:srgb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2362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66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  <a:sym typeface="Helvetica Light"/>
              </a:rPr>
              <a:t>11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FF66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  <a:sym typeface="Helvetica Light"/>
              </a:rPr>
              <a:t>000</a:t>
            </a:r>
          </a:p>
        </p:txBody>
      </p:sp>
      <p:sp>
        <p:nvSpPr>
          <p:cNvPr id="255" name="TextBox 254"/>
          <p:cNvSpPr txBox="1"/>
          <p:nvPr/>
        </p:nvSpPr>
        <p:spPr>
          <a:xfrm>
            <a:off x="10426015" y="3014827"/>
            <a:ext cx="827593" cy="276999"/>
          </a:xfrm>
          <a:prstGeom prst="rect">
            <a:avLst/>
          </a:prstGeom>
          <a:noFill/>
          <a:ln w="19050" cap="flat" cmpd="sng" algn="ctr">
            <a:solidFill>
              <a:schemeClr val="accent1">
                <a:lumMod val="20000"/>
                <a:lumOff val="8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en-US"/>
            </a:defPPr>
            <a:lvl1pPr algn="ctr" defTabSz="236235">
              <a:defRPr sz="1200" b="1">
                <a:solidFill>
                  <a:srgbClr val="1F4E79"/>
                </a:solidFill>
                <a:latin typeface="Arial Narrow" panose="020B0606020202030204" pitchFamily="34" charset="0"/>
              </a:defRPr>
            </a:lvl1pPr>
          </a:lstStyle>
          <a:p>
            <a:pPr marL="0" marR="0" lvl="0" indent="0" algn="ctr" defTabSz="2362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8 год :</a:t>
            </a:r>
          </a:p>
        </p:txBody>
      </p:sp>
      <p:sp>
        <p:nvSpPr>
          <p:cNvPr id="256" name="Прямоугольник 255"/>
          <p:cNvSpPr/>
          <p:nvPr/>
        </p:nvSpPr>
        <p:spPr>
          <a:xfrm>
            <a:off x="9693503" y="3386216"/>
            <a:ext cx="764937" cy="292407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2362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  <a:sym typeface="Helvetica Light"/>
              </a:rPr>
              <a:t>7 840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1F4E79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  <a:sym typeface="Helvetica Light"/>
            </a:endParaRPr>
          </a:p>
        </p:txBody>
      </p:sp>
      <p:sp>
        <p:nvSpPr>
          <p:cNvPr id="260" name="Прямоугольник 259"/>
          <p:cNvSpPr/>
          <p:nvPr/>
        </p:nvSpPr>
        <p:spPr>
          <a:xfrm>
            <a:off x="297451" y="1526501"/>
            <a:ext cx="465238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1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АО «Корпорация «МСП» с 2016 года реализуются 2 обучающие программы «Азбука предпринимателя» (создание бизнеса с нуля) и «Школа предпринимательства» (развитие бизнеса), а также модули по наиболее актуальным для предпринимателей темам.</a:t>
            </a:r>
            <a:endParaRPr kumimoji="0" lang="ru-RU" sz="1200" b="0" i="1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1" name="TextBox 80"/>
          <p:cNvSpPr txBox="1"/>
          <p:nvPr/>
        </p:nvSpPr>
        <p:spPr>
          <a:xfrm>
            <a:off x="5976833" y="1938097"/>
            <a:ext cx="730291" cy="46377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 cap="flat" cmpd="sng" algn="ctr">
            <a:solidFill>
              <a:schemeClr val="accent1">
                <a:lumMod val="20000"/>
                <a:lumOff val="8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en-US"/>
            </a:defPPr>
            <a:lvl1pPr algn="r" defTabSz="236235">
              <a:defRPr sz="1400" b="1">
                <a:solidFill>
                  <a:srgbClr val="FF6600"/>
                </a:solidFill>
                <a:latin typeface="Arial Narrow" panose="020B0606020202030204" pitchFamily="34" charset="0"/>
              </a:defRPr>
            </a:lvl1pPr>
          </a:lstStyle>
          <a:p>
            <a:pPr marL="0" marR="0" lvl="0" indent="0" algn="ctr" defTabSz="2362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FF66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9</a:t>
            </a:r>
            <a:b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FF66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</a:b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FF66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год:</a:t>
            </a:r>
          </a:p>
        </p:txBody>
      </p:sp>
      <p:sp>
        <p:nvSpPr>
          <p:cNvPr id="82" name="Прямоугольник 81"/>
          <p:cNvSpPr/>
          <p:nvPr/>
        </p:nvSpPr>
        <p:spPr>
          <a:xfrm>
            <a:off x="5164221" y="2538929"/>
            <a:ext cx="812612" cy="369769"/>
          </a:xfrm>
          <a:prstGeom prst="rect">
            <a:avLst/>
          </a:prstGeom>
          <a:noFill/>
          <a:ln w="19050" cap="flat" cmpd="sng" algn="ctr">
            <a:solidFill>
              <a:schemeClr val="accent1">
                <a:lumMod val="20000"/>
                <a:lumOff val="8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r" defTabSz="2362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  <a:sym typeface="Helvetica Light"/>
              </a:rPr>
              <a:t>85</a:t>
            </a:r>
          </a:p>
        </p:txBody>
      </p:sp>
      <p:sp>
        <p:nvSpPr>
          <p:cNvPr id="83" name="Прямоугольник 82"/>
          <p:cNvSpPr/>
          <p:nvPr/>
        </p:nvSpPr>
        <p:spPr>
          <a:xfrm>
            <a:off x="5976832" y="2539180"/>
            <a:ext cx="727285" cy="36976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 cap="flat" cmpd="sng" algn="ctr">
            <a:solidFill>
              <a:schemeClr val="accent1">
                <a:lumMod val="20000"/>
                <a:lumOff val="8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r" defTabSz="2362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66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  <a:sym typeface="Helvetica Light"/>
              </a:rPr>
              <a:t>54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FF6600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  <a:sym typeface="Helvetica Light"/>
            </a:endParaRPr>
          </a:p>
        </p:txBody>
      </p:sp>
      <p:sp>
        <p:nvSpPr>
          <p:cNvPr id="36" name="Прямоугольник 35"/>
          <p:cNvSpPr/>
          <p:nvPr/>
        </p:nvSpPr>
        <p:spPr>
          <a:xfrm>
            <a:off x="5976832" y="3633774"/>
            <a:ext cx="727285" cy="3604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 cap="flat" cmpd="sng" algn="ctr">
            <a:solidFill>
              <a:schemeClr val="accent1">
                <a:lumMod val="20000"/>
                <a:lumOff val="8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r" defTabSz="2362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66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  <a:sym typeface="Helvetica Light"/>
              </a:rPr>
              <a:t>4 846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FF6600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  <a:sym typeface="Helvetica Light"/>
            </a:endParaRPr>
          </a:p>
        </p:txBody>
      </p:sp>
      <p:sp>
        <p:nvSpPr>
          <p:cNvPr id="35" name="Прямоугольник 34"/>
          <p:cNvSpPr/>
          <p:nvPr/>
        </p:nvSpPr>
        <p:spPr>
          <a:xfrm>
            <a:off x="5164221" y="3635972"/>
            <a:ext cx="812612" cy="358540"/>
          </a:xfrm>
          <a:prstGeom prst="rect">
            <a:avLst/>
          </a:prstGeom>
          <a:noFill/>
          <a:ln w="19050" cap="flat" cmpd="sng" algn="ctr">
            <a:solidFill>
              <a:schemeClr val="accent1">
                <a:lumMod val="20000"/>
                <a:lumOff val="8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r" defTabSz="2362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  <a:sym typeface="Helvetica Light"/>
              </a:rPr>
              <a:t>37 442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1F4E79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  <a:sym typeface="Helvetica Light"/>
            </a:endParaRPr>
          </a:p>
        </p:txBody>
      </p:sp>
      <p:sp>
        <p:nvSpPr>
          <p:cNvPr id="33" name="Прямоугольник 32"/>
          <p:cNvSpPr/>
          <p:nvPr/>
        </p:nvSpPr>
        <p:spPr>
          <a:xfrm>
            <a:off x="5164221" y="3072062"/>
            <a:ext cx="831019" cy="368090"/>
          </a:xfrm>
          <a:prstGeom prst="rect">
            <a:avLst/>
          </a:prstGeom>
          <a:noFill/>
          <a:ln w="19050" cap="flat" cmpd="sng" algn="ctr">
            <a:solidFill>
              <a:schemeClr val="accent1">
                <a:lumMod val="20000"/>
                <a:lumOff val="8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r" defTabSz="2362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  <a:sym typeface="Helvetica Light"/>
              </a:rPr>
              <a:t>2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  <a:sym typeface="Helvetica Light"/>
              </a:rPr>
              <a:t>105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1F4E79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  <a:sym typeface="Helvetica Light"/>
            </a:endParaRPr>
          </a:p>
        </p:txBody>
      </p:sp>
      <p:sp>
        <p:nvSpPr>
          <p:cNvPr id="34" name="Прямоугольник 33"/>
          <p:cNvSpPr/>
          <p:nvPr/>
        </p:nvSpPr>
        <p:spPr>
          <a:xfrm>
            <a:off x="5976832" y="3072062"/>
            <a:ext cx="730292" cy="36809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 cap="flat" cmpd="sng" algn="ctr">
            <a:solidFill>
              <a:schemeClr val="accent1">
                <a:lumMod val="20000"/>
                <a:lumOff val="8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r" defTabSz="2362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66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  <a:sym typeface="Helvetica Light"/>
              </a:rPr>
              <a:t>243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FF6600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  <a:sym typeface="Helvetica Light"/>
            </a:endParaRPr>
          </a:p>
        </p:txBody>
      </p:sp>
      <p:sp>
        <p:nvSpPr>
          <p:cNvPr id="292" name="Прямоугольник 291"/>
          <p:cNvSpPr/>
          <p:nvPr/>
        </p:nvSpPr>
        <p:spPr>
          <a:xfrm>
            <a:off x="2227060" y="5682556"/>
            <a:ext cx="4593910" cy="456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noAutofit/>
          </a:bodyPr>
          <a:lstStyle/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200" b="0" i="1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(в 2019 году планируется реализовать не менее чем в 50 % субъектов РФ)</a:t>
            </a:r>
            <a:endParaRPr kumimoji="0" lang="ru-RU" altLang="ru-RU" sz="1200" b="0" i="1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95" name="Прямоугольник 294"/>
          <p:cNvSpPr/>
          <p:nvPr/>
        </p:nvSpPr>
        <p:spPr>
          <a:xfrm>
            <a:off x="291041" y="4518147"/>
            <a:ext cx="1157891" cy="338554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lIns="36000" tIns="35100" rIns="360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 том числе:</a:t>
            </a:r>
          </a:p>
        </p:txBody>
      </p:sp>
      <p:pic>
        <p:nvPicPr>
          <p:cNvPr id="296" name="Picture 4" descr="http://corpmsp.ru/programmy-obucheniya-korporatsii-msp/260%D1%85140-2.jpg"/>
          <p:cNvPicPr>
            <a:picLocks noChangeAspect="1" noChangeArrowheads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85351" y="4966768"/>
            <a:ext cx="1496292" cy="8056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7" name="Прямоугольник 296"/>
          <p:cNvSpPr/>
          <p:nvPr/>
        </p:nvSpPr>
        <p:spPr>
          <a:xfrm>
            <a:off x="-11334" y="8263621"/>
            <a:ext cx="677834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1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* реализуется </a:t>
            </a:r>
            <a:r>
              <a:rPr kumimoji="0" lang="ru-RU" sz="1200" b="0" i="1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совместно с «ОПОРОЙ РОССИИ» и Благотворительным фондом «В ответе за будущее».</a:t>
            </a:r>
          </a:p>
        </p:txBody>
      </p:sp>
      <p:sp>
        <p:nvSpPr>
          <p:cNvPr id="437" name="TextBox 436"/>
          <p:cNvSpPr txBox="1"/>
          <p:nvPr/>
        </p:nvSpPr>
        <p:spPr>
          <a:xfrm rot="10800000" flipV="1">
            <a:off x="2916516" y="4885273"/>
            <a:ext cx="226861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2362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Количество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FF66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субъектов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66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РФ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6600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38" name="TextBox 437"/>
          <p:cNvSpPr txBox="1"/>
          <p:nvPr/>
        </p:nvSpPr>
        <p:spPr>
          <a:xfrm>
            <a:off x="2916515" y="5472617"/>
            <a:ext cx="19254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60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2362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Количество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66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участниц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6600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39" name="TextBox 438"/>
          <p:cNvSpPr txBox="1"/>
          <p:nvPr/>
        </p:nvSpPr>
        <p:spPr>
          <a:xfrm>
            <a:off x="2916514" y="5174578"/>
            <a:ext cx="217315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40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2362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Количество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66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тренингов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6600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40" name="Прямоугольник 439"/>
          <p:cNvSpPr/>
          <p:nvPr/>
        </p:nvSpPr>
        <p:spPr>
          <a:xfrm>
            <a:off x="5154677" y="4902461"/>
            <a:ext cx="812612" cy="261503"/>
          </a:xfrm>
          <a:prstGeom prst="rect">
            <a:avLst/>
          </a:prstGeom>
          <a:noFill/>
          <a:ln w="19050" cap="flat" cmpd="sng" algn="ctr">
            <a:solidFill>
              <a:schemeClr val="accent1">
                <a:lumMod val="20000"/>
                <a:lumOff val="8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r" defTabSz="2362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  <a:sym typeface="Helvetica Light"/>
              </a:rPr>
              <a:t>52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1F4E79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  <a:sym typeface="Helvetica Light"/>
            </a:endParaRPr>
          </a:p>
        </p:txBody>
      </p:sp>
      <p:sp>
        <p:nvSpPr>
          <p:cNvPr id="441" name="Прямоугольник 440"/>
          <p:cNvSpPr/>
          <p:nvPr/>
        </p:nvSpPr>
        <p:spPr>
          <a:xfrm>
            <a:off x="5967288" y="4902599"/>
            <a:ext cx="736829" cy="261503"/>
          </a:xfrm>
          <a:prstGeom prst="rect">
            <a:avLst/>
          </a:prstGeom>
          <a:solidFill>
            <a:srgbClr val="5B9BD5">
              <a:lumMod val="20000"/>
              <a:lumOff val="80000"/>
            </a:srgbClr>
          </a:solidFill>
          <a:ln w="19050" cap="flat" cmpd="sng" algn="ctr">
            <a:solidFill>
              <a:schemeClr val="accent1">
                <a:lumMod val="20000"/>
                <a:lumOff val="8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r" defTabSz="2362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66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  <a:sym typeface="Helvetica Light"/>
              </a:rPr>
              <a:t>10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FF6600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  <a:sym typeface="Helvetica Light"/>
            </a:endParaRPr>
          </a:p>
        </p:txBody>
      </p:sp>
      <p:sp>
        <p:nvSpPr>
          <p:cNvPr id="442" name="Прямоугольник 441"/>
          <p:cNvSpPr/>
          <p:nvPr/>
        </p:nvSpPr>
        <p:spPr>
          <a:xfrm>
            <a:off x="5967288" y="5501024"/>
            <a:ext cx="735421" cy="261503"/>
          </a:xfrm>
          <a:prstGeom prst="rect">
            <a:avLst/>
          </a:prstGeom>
          <a:solidFill>
            <a:srgbClr val="5B9BD5">
              <a:lumMod val="20000"/>
              <a:lumOff val="80000"/>
            </a:srgbClr>
          </a:solidFill>
          <a:ln w="19050" cap="flat" cmpd="sng" algn="ctr">
            <a:solidFill>
              <a:schemeClr val="accent1">
                <a:lumMod val="20000"/>
                <a:lumOff val="8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r" defTabSz="2362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66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  <a:sym typeface="Helvetica Light"/>
              </a:rPr>
              <a:t>298</a:t>
            </a:r>
          </a:p>
        </p:txBody>
      </p:sp>
      <p:sp>
        <p:nvSpPr>
          <p:cNvPr id="443" name="Прямоугольник 442"/>
          <p:cNvSpPr/>
          <p:nvPr/>
        </p:nvSpPr>
        <p:spPr>
          <a:xfrm>
            <a:off x="5154677" y="5502398"/>
            <a:ext cx="812612" cy="260129"/>
          </a:xfrm>
          <a:prstGeom prst="rect">
            <a:avLst/>
          </a:prstGeom>
          <a:noFill/>
          <a:ln w="19050" cap="flat" cmpd="sng" algn="ctr">
            <a:solidFill>
              <a:schemeClr val="accent1">
                <a:lumMod val="20000"/>
                <a:lumOff val="8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r" defTabSz="2362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  <a:sym typeface="Helvetica Light"/>
              </a:rPr>
              <a:t>2 170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1F4E79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  <a:sym typeface="Helvetica Light"/>
            </a:endParaRPr>
          </a:p>
        </p:txBody>
      </p:sp>
      <p:sp>
        <p:nvSpPr>
          <p:cNvPr id="444" name="Прямоугольник 443"/>
          <p:cNvSpPr/>
          <p:nvPr/>
        </p:nvSpPr>
        <p:spPr>
          <a:xfrm>
            <a:off x="5154677" y="5204353"/>
            <a:ext cx="831019" cy="261503"/>
          </a:xfrm>
          <a:prstGeom prst="rect">
            <a:avLst/>
          </a:prstGeom>
          <a:noFill/>
          <a:ln w="19050" cap="flat" cmpd="sng" algn="ctr">
            <a:solidFill>
              <a:schemeClr val="accent1">
                <a:lumMod val="20000"/>
                <a:lumOff val="8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r" defTabSz="2362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  <a:sym typeface="Helvetica Light"/>
              </a:rPr>
              <a:t>78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1F4E79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  <a:sym typeface="Helvetica Light"/>
            </a:endParaRPr>
          </a:p>
        </p:txBody>
      </p:sp>
      <p:sp>
        <p:nvSpPr>
          <p:cNvPr id="445" name="Прямоугольник 444"/>
          <p:cNvSpPr/>
          <p:nvPr/>
        </p:nvSpPr>
        <p:spPr>
          <a:xfrm>
            <a:off x="5967287" y="5204353"/>
            <a:ext cx="736829" cy="261503"/>
          </a:xfrm>
          <a:prstGeom prst="rect">
            <a:avLst/>
          </a:prstGeom>
          <a:solidFill>
            <a:srgbClr val="5B9BD5">
              <a:lumMod val="20000"/>
              <a:lumOff val="80000"/>
            </a:srgbClr>
          </a:solidFill>
          <a:ln w="19050" cap="flat" cmpd="sng" algn="ctr">
            <a:solidFill>
              <a:schemeClr val="accent1">
                <a:lumMod val="20000"/>
                <a:lumOff val="8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r" defTabSz="2362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66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  <a:sym typeface="Helvetica Light"/>
              </a:rPr>
              <a:t>10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FF6600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  <a:sym typeface="Helvetica Light"/>
            </a:endParaRPr>
          </a:p>
        </p:txBody>
      </p:sp>
      <p:sp>
        <p:nvSpPr>
          <p:cNvPr id="80" name="TextBox 79"/>
          <p:cNvSpPr txBox="1"/>
          <p:nvPr/>
        </p:nvSpPr>
        <p:spPr>
          <a:xfrm>
            <a:off x="5164221" y="1938097"/>
            <a:ext cx="812611" cy="463779"/>
          </a:xfrm>
          <a:prstGeom prst="rect">
            <a:avLst/>
          </a:prstGeom>
          <a:noFill/>
          <a:ln w="19050" cap="flat" cmpd="sng" algn="ctr">
            <a:solidFill>
              <a:schemeClr val="accent1">
                <a:lumMod val="20000"/>
                <a:lumOff val="8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en-US"/>
            </a:defPPr>
            <a:lvl1pPr algn="r" defTabSz="236235">
              <a:defRPr sz="1400" b="1">
                <a:solidFill>
                  <a:srgbClr val="FF6600"/>
                </a:solidFill>
                <a:latin typeface="Arial Narrow" panose="020B0606020202030204" pitchFamily="34" charset="0"/>
              </a:defRPr>
            </a:lvl1pPr>
          </a:lstStyle>
          <a:p>
            <a:pPr marL="0" marR="0" lvl="0" indent="0" algn="ctr" defTabSz="2362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6-2018 годы</a:t>
            </a:r>
          </a:p>
        </p:txBody>
      </p:sp>
      <p:sp>
        <p:nvSpPr>
          <p:cNvPr id="452" name="Прямоугольник 451"/>
          <p:cNvSpPr/>
          <p:nvPr/>
        </p:nvSpPr>
        <p:spPr>
          <a:xfrm>
            <a:off x="320023" y="4947041"/>
            <a:ext cx="112890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программа*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53" name="Прямоугольник 452"/>
          <p:cNvSpPr/>
          <p:nvPr/>
        </p:nvSpPr>
        <p:spPr>
          <a:xfrm>
            <a:off x="5164221" y="7491631"/>
            <a:ext cx="812612" cy="261503"/>
          </a:xfrm>
          <a:prstGeom prst="rect">
            <a:avLst/>
          </a:prstGeom>
          <a:noFill/>
          <a:ln w="19050" cap="flat" cmpd="sng" algn="ctr">
            <a:solidFill>
              <a:schemeClr val="accent1">
                <a:lumMod val="20000"/>
                <a:lumOff val="8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r" defTabSz="2362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  <a:sym typeface="Helvetica Light"/>
              </a:rPr>
              <a:t>78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1F4E79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  <a:sym typeface="Helvetica Light"/>
            </a:endParaRPr>
          </a:p>
        </p:txBody>
      </p:sp>
      <p:sp>
        <p:nvSpPr>
          <p:cNvPr id="454" name="Прямоугольник 453"/>
          <p:cNvSpPr/>
          <p:nvPr/>
        </p:nvSpPr>
        <p:spPr>
          <a:xfrm>
            <a:off x="5976832" y="7491769"/>
            <a:ext cx="727285" cy="261503"/>
          </a:xfrm>
          <a:prstGeom prst="rect">
            <a:avLst/>
          </a:prstGeom>
          <a:solidFill>
            <a:srgbClr val="5B9BD5">
              <a:lumMod val="20000"/>
              <a:lumOff val="80000"/>
            </a:srgbClr>
          </a:solidFill>
          <a:ln w="19050" cap="flat" cmpd="sng" algn="ctr">
            <a:solidFill>
              <a:schemeClr val="accent1">
                <a:lumMod val="20000"/>
                <a:lumOff val="8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r" defTabSz="2362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66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  <a:sym typeface="Helvetica Light"/>
              </a:rPr>
              <a:t>25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FF6600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  <a:sym typeface="Helvetica Light"/>
            </a:endParaRPr>
          </a:p>
        </p:txBody>
      </p:sp>
      <p:sp>
        <p:nvSpPr>
          <p:cNvPr id="455" name="Прямоугольник 454"/>
          <p:cNvSpPr/>
          <p:nvPr/>
        </p:nvSpPr>
        <p:spPr>
          <a:xfrm>
            <a:off x="5164221" y="7793523"/>
            <a:ext cx="831019" cy="261503"/>
          </a:xfrm>
          <a:prstGeom prst="rect">
            <a:avLst/>
          </a:prstGeom>
          <a:noFill/>
          <a:ln w="19050" cap="flat" cmpd="sng" algn="ctr">
            <a:solidFill>
              <a:schemeClr val="accent1">
                <a:lumMod val="20000"/>
                <a:lumOff val="8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r" defTabSz="2362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  <a:sym typeface="Helvetica Light"/>
              </a:rPr>
              <a:t>828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1F4E79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  <a:sym typeface="Helvetica Light"/>
            </a:endParaRPr>
          </a:p>
        </p:txBody>
      </p:sp>
      <p:sp>
        <p:nvSpPr>
          <p:cNvPr id="456" name="Прямоугольник 455"/>
          <p:cNvSpPr/>
          <p:nvPr/>
        </p:nvSpPr>
        <p:spPr>
          <a:xfrm>
            <a:off x="5976832" y="7793523"/>
            <a:ext cx="730292" cy="261503"/>
          </a:xfrm>
          <a:prstGeom prst="rect">
            <a:avLst/>
          </a:prstGeom>
          <a:solidFill>
            <a:srgbClr val="5B9BD5">
              <a:lumMod val="20000"/>
              <a:lumOff val="80000"/>
            </a:srgbClr>
          </a:solidFill>
          <a:ln w="19050" cap="flat" cmpd="sng" algn="ctr">
            <a:solidFill>
              <a:schemeClr val="accent1">
                <a:lumMod val="20000"/>
                <a:lumOff val="8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r" defTabSz="2362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66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  <a:sym typeface="Helvetica Light"/>
              </a:rPr>
              <a:t>597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FF6600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  <a:sym typeface="Helvetica Light"/>
            </a:endParaRPr>
          </a:p>
        </p:txBody>
      </p:sp>
      <p:cxnSp>
        <p:nvCxnSpPr>
          <p:cNvPr id="3" name="Прямая соединительная линия 2"/>
          <p:cNvCxnSpPr/>
          <p:nvPr/>
        </p:nvCxnSpPr>
        <p:spPr>
          <a:xfrm>
            <a:off x="6858000" y="1558330"/>
            <a:ext cx="0" cy="6147395"/>
          </a:xfrm>
          <a:prstGeom prst="line">
            <a:avLst/>
          </a:prstGeom>
          <a:ln>
            <a:solidFill>
              <a:schemeClr val="accent1">
                <a:lumMod val="20000"/>
                <a:lumOff val="8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9" name="Рисунок 23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3592" y="3049410"/>
            <a:ext cx="458822" cy="458822"/>
          </a:xfrm>
          <a:prstGeom prst="rect">
            <a:avLst/>
          </a:prstGeom>
        </p:spPr>
      </p:pic>
      <p:sp>
        <p:nvSpPr>
          <p:cNvPr id="20" name="Прямоугольник 19"/>
          <p:cNvSpPr/>
          <p:nvPr/>
        </p:nvSpPr>
        <p:spPr>
          <a:xfrm>
            <a:off x="7554166" y="5624893"/>
            <a:ext cx="457583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Актуализация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обучающих программ АО «Корпорация «МСП», разработка тестовых заданий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7537354" y="6135810"/>
            <a:ext cx="406855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Подготовка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дополнительных тренеров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обучающих программ АО «Корпорация «МСП»</a:t>
            </a:r>
          </a:p>
        </p:txBody>
      </p:sp>
      <p:sp>
        <p:nvSpPr>
          <p:cNvPr id="61" name="Прямоугольник 60"/>
          <p:cNvSpPr/>
          <p:nvPr/>
        </p:nvSpPr>
        <p:spPr>
          <a:xfrm>
            <a:off x="7537354" y="6735298"/>
            <a:ext cx="384854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Проведение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совместных обучающих мероприятий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с Банком России</a:t>
            </a:r>
          </a:p>
        </p:txBody>
      </p:sp>
      <p:sp>
        <p:nvSpPr>
          <p:cNvPr id="88" name="Прямоугольник 87"/>
          <p:cNvSpPr/>
          <p:nvPr/>
        </p:nvSpPr>
        <p:spPr>
          <a:xfrm>
            <a:off x="7537355" y="7339127"/>
            <a:ext cx="4936936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Подписание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соглашения с Минтрудом России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в целях реализации совместного проекта по обучению основам предпринимательства граждан, состоящих на учете в службе занятости населения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1264433" y="3620196"/>
            <a:ext cx="85005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1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(план)</a:t>
            </a:r>
            <a:endParaRPr kumimoji="0" lang="ru-RU" sz="1200" b="0" i="1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59" name="TextBox 258"/>
          <p:cNvSpPr txBox="1"/>
          <p:nvPr/>
        </p:nvSpPr>
        <p:spPr>
          <a:xfrm>
            <a:off x="1226844" y="7202152"/>
            <a:ext cx="377867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40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2362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Количество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66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субъектов РФ</a:t>
            </a:r>
          </a:p>
        </p:txBody>
      </p:sp>
      <p:sp>
        <p:nvSpPr>
          <p:cNvPr id="261" name="Прямоугольник 260"/>
          <p:cNvSpPr/>
          <p:nvPr/>
        </p:nvSpPr>
        <p:spPr>
          <a:xfrm>
            <a:off x="5164221" y="7194822"/>
            <a:ext cx="812612" cy="261503"/>
          </a:xfrm>
          <a:prstGeom prst="rect">
            <a:avLst/>
          </a:prstGeom>
          <a:noFill/>
          <a:ln w="19050" cap="flat" cmpd="sng" algn="ctr">
            <a:solidFill>
              <a:schemeClr val="accent1">
                <a:lumMod val="20000"/>
                <a:lumOff val="8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r" defTabSz="2362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  <a:sym typeface="Helvetica Light"/>
              </a:rPr>
              <a:t>41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1F4E79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  <a:sym typeface="Helvetica Light"/>
            </a:endParaRPr>
          </a:p>
        </p:txBody>
      </p:sp>
      <p:sp>
        <p:nvSpPr>
          <p:cNvPr id="262" name="Прямоугольник 261"/>
          <p:cNvSpPr/>
          <p:nvPr/>
        </p:nvSpPr>
        <p:spPr>
          <a:xfrm>
            <a:off x="5976832" y="7194960"/>
            <a:ext cx="727285" cy="261503"/>
          </a:xfrm>
          <a:prstGeom prst="rect">
            <a:avLst/>
          </a:prstGeom>
          <a:solidFill>
            <a:srgbClr val="5B9BD5">
              <a:lumMod val="20000"/>
              <a:lumOff val="80000"/>
            </a:srgbClr>
          </a:solidFill>
          <a:ln w="19050" cap="flat" cmpd="sng" algn="ctr">
            <a:solidFill>
              <a:schemeClr val="accent1">
                <a:lumMod val="20000"/>
                <a:lumOff val="8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r" defTabSz="2362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66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  <a:sym typeface="Helvetica Light"/>
              </a:rPr>
              <a:t>20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FF6600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  <a:sym typeface="Helvetica Light"/>
            </a:endParaRPr>
          </a:p>
        </p:txBody>
      </p:sp>
      <p:pic>
        <p:nvPicPr>
          <p:cNvPr id="264" name="Рисунок 1" descr="cid:image001.png@01D3AF02.C0650E40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651" r="73424" b="23560"/>
          <a:stretch/>
        </p:blipFill>
        <p:spPr bwMode="auto">
          <a:xfrm>
            <a:off x="7048119" y="6764802"/>
            <a:ext cx="445433" cy="4452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5" name="Picture 4" descr="http://economy.gov.ru/wps/wcm/connect/bb67127b-883a-4e74-9023-78b89d14ebdd/Minec_site_gerb.png?MOD=AJPERES&amp;CACHEID=bb67127b-883a-4e74-9023-78b89d14ebdd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0649" y="4812573"/>
            <a:ext cx="468796" cy="4687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6" name="Picture 12" descr="Картинки по запросу геральдический знак Министерство труда и социальной защиты Российской Федерации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61509" y="7450497"/>
            <a:ext cx="432043" cy="497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https://worldskills.ru/assets/docs/fs/wsrlogo-02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8306" y="6072587"/>
            <a:ext cx="1069344" cy="7990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11" cstate="print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artisticPencilGrayscale/>
                    </a14:imgEffect>
                    <a14:imgEffect>
                      <a14:colorTemperature colorTemp="47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4195" y="6155550"/>
            <a:ext cx="512062" cy="512062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13" cstate="print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artisticPencilGrayscale/>
                    </a14:imgEffect>
                    <a14:imgEffect>
                      <a14:colorTemperature colorTemp="47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30690" y="5634206"/>
            <a:ext cx="462862" cy="462862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1081723" y="3986708"/>
            <a:ext cx="415633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1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(согласно методологии </a:t>
            </a:r>
            <a:r>
              <a:rPr kumimoji="0" lang="ru-RU" sz="1200" b="0" i="1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проведения </a:t>
            </a:r>
            <a:r>
              <a:rPr kumimoji="0" lang="ru-RU" sz="1200" b="0" i="1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тренингов </a:t>
            </a:r>
            <a:r>
              <a:rPr kumimoji="0" lang="ru-RU" sz="1200" b="0" i="1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рекомендованный </a:t>
            </a:r>
            <a:r>
              <a:rPr kumimoji="0" lang="ru-RU" sz="1200" b="0" i="1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размер группы</a:t>
            </a:r>
            <a:r>
              <a:rPr kumimoji="0" lang="ru-RU" sz="1200" b="0" i="1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в целях эффективного обучения</a:t>
            </a:r>
            <a:r>
              <a:rPr kumimoji="0" lang="ru-RU" sz="1200" b="0" i="1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– до 25 человек)</a:t>
            </a:r>
            <a:endParaRPr kumimoji="0" lang="ru-RU" sz="1200" b="0" i="1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2129997" y="8263621"/>
            <a:ext cx="4699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>
                <a:latin typeface="Arial Narrow" panose="020B0606020202030204" pitchFamily="34" charset="0"/>
              </a:rPr>
              <a:t>19</a:t>
            </a:r>
            <a:endParaRPr lang="ru-RU" sz="1200" dirty="0"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073617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Скругленный прямоугольник 51"/>
          <p:cNvSpPr/>
          <p:nvPr/>
        </p:nvSpPr>
        <p:spPr>
          <a:xfrm>
            <a:off x="283422" y="1647546"/>
            <a:ext cx="1702233" cy="2725565"/>
          </a:xfrm>
          <a:prstGeom prst="roundRect">
            <a:avLst>
              <a:gd name="adj" fmla="val 4144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rtlCol="0" anchor="ctr"/>
          <a:lstStyle/>
          <a:p>
            <a:pPr marL="1439863" defTabSz="914373"/>
            <a:endParaRPr lang="ru-RU" sz="2800" b="1" kern="0" dirty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50" name="Скругленный прямоугольник 49"/>
          <p:cNvSpPr/>
          <p:nvPr/>
        </p:nvSpPr>
        <p:spPr>
          <a:xfrm>
            <a:off x="255638" y="5322081"/>
            <a:ext cx="5769914" cy="1281142"/>
          </a:xfrm>
          <a:prstGeom prst="roundRect">
            <a:avLst>
              <a:gd name="adj" fmla="val 4144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 dirty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407124" y="-83818"/>
            <a:ext cx="6811125" cy="968544"/>
          </a:xfrm>
          <a:solidFill>
            <a:schemeClr val="bg1"/>
          </a:solidFill>
        </p:spPr>
        <p:txBody>
          <a:bodyPr/>
          <a:lstStyle/>
          <a:p>
            <a:pPr indent="1344613"/>
            <a:r>
              <a:rPr lang="ru-RU" sz="2000" b="1" dirty="0">
                <a:solidFill>
                  <a:srgbClr val="002060"/>
                </a:solidFill>
              </a:rPr>
              <a:t>О Корпорации</a:t>
            </a:r>
          </a:p>
        </p:txBody>
      </p:sp>
      <p:grpSp>
        <p:nvGrpSpPr>
          <p:cNvPr id="6" name="Группа 5"/>
          <p:cNvGrpSpPr/>
          <p:nvPr/>
        </p:nvGrpSpPr>
        <p:grpSpPr>
          <a:xfrm>
            <a:off x="301894" y="1548927"/>
            <a:ext cx="11894570" cy="2920553"/>
            <a:chOff x="637353" y="2344326"/>
            <a:chExt cx="11894570" cy="2867022"/>
          </a:xfrm>
        </p:grpSpPr>
        <p:sp>
          <p:nvSpPr>
            <p:cNvPr id="13" name="Прямоугольник 12"/>
            <p:cNvSpPr/>
            <p:nvPr/>
          </p:nvSpPr>
          <p:spPr>
            <a:xfrm>
              <a:off x="2483896" y="2344326"/>
              <a:ext cx="10048027" cy="2867022"/>
            </a:xfrm>
            <a:prstGeom prst="rect">
              <a:avLst/>
            </a:prstGeom>
          </p:spPr>
          <p:txBody>
            <a:bodyPr wrap="square" lIns="72000" tIns="0" rIns="36000" bIns="0" anchor="ctr">
              <a:noAutofit/>
            </a:bodyPr>
            <a:lstStyle/>
            <a:p>
              <a:pPr marL="285750" indent="-285750" algn="just" defTabSz="957263">
                <a:lnSpc>
                  <a:spcPct val="106000"/>
                </a:lnSpc>
                <a:spcBef>
                  <a:spcPts val="2400"/>
                </a:spcBef>
                <a:buFont typeface="Wingdings" panose="05000000000000000000" pitchFamily="2" charset="2"/>
                <a:buChar char="ü"/>
              </a:pPr>
              <a:r>
                <a:rPr lang="ru-RU" sz="1400" dirty="0" smtClean="0">
                  <a:latin typeface="Arial Narrow" panose="020B0606020202030204" pitchFamily="34" charset="0"/>
                </a:rPr>
                <a:t>Корпорация МСП – </a:t>
              </a:r>
              <a:r>
                <a:rPr lang="ru-RU" sz="1400" b="1" dirty="0">
                  <a:latin typeface="Arial Narrow" panose="020B0606020202030204" pitchFamily="34" charset="0"/>
                </a:rPr>
                <a:t>институт развития </a:t>
              </a:r>
              <a:r>
                <a:rPr lang="ru-RU" sz="1400" dirty="0">
                  <a:latin typeface="Arial Narrow" panose="020B0606020202030204" pitchFamily="34" charset="0"/>
                </a:rPr>
                <a:t>в сфере малого и среднего </a:t>
              </a:r>
              <a:r>
                <a:rPr lang="ru-RU" sz="1400" dirty="0" smtClean="0">
                  <a:latin typeface="Arial Narrow" panose="020B0606020202030204" pitchFamily="34" charset="0"/>
                </a:rPr>
                <a:t>предпринимательства, созданный на основании </a:t>
              </a:r>
              <a:r>
                <a:rPr lang="ru-RU" sz="1400" b="1" dirty="0" smtClean="0">
                  <a:latin typeface="Arial Narrow" panose="020B0606020202030204" pitchFamily="34" charset="0"/>
                </a:rPr>
                <a:t>Указа Президента Российской Федерации от  05.06.2015 № 287 «О мерах по дальнейшему развитию малого и среднего предпринимательства» </a:t>
              </a:r>
              <a:r>
                <a:rPr lang="ru-RU" sz="1400" dirty="0" smtClean="0">
                  <a:latin typeface="Arial Narrow" panose="020B0606020202030204" pitchFamily="34" charset="0"/>
                </a:rPr>
                <a:t>и осуществляющий деятельность в </a:t>
              </a:r>
              <a:r>
                <a:rPr lang="ru-RU" sz="1400" dirty="0">
                  <a:latin typeface="Arial Narrow" panose="020B0606020202030204" pitchFamily="34" charset="0"/>
                </a:rPr>
                <a:t>соответствии с </a:t>
              </a:r>
              <a:r>
                <a:rPr lang="ru-RU" sz="1400" b="1" dirty="0">
                  <a:latin typeface="Arial Narrow" panose="020B0606020202030204" pitchFamily="34" charset="0"/>
                </a:rPr>
                <a:t>Федеральным законом от 24.07.07 №209-ФЗ «О развитии малого и среднего предпринимательства в Российской Федерации</a:t>
              </a:r>
              <a:r>
                <a:rPr lang="ru-RU" sz="1400" b="1" dirty="0" smtClean="0">
                  <a:latin typeface="Arial Narrow" panose="020B0606020202030204" pitchFamily="34" charset="0"/>
                </a:rPr>
                <a:t>»,</a:t>
              </a:r>
              <a:r>
                <a:rPr lang="ru-RU" sz="1400" dirty="0" smtClean="0">
                  <a:latin typeface="Arial Narrow" panose="020B0606020202030204" pitchFamily="34" charset="0"/>
                </a:rPr>
                <a:t> в новом формате </a:t>
              </a:r>
              <a:r>
                <a:rPr lang="ru-RU" sz="1400" b="1" dirty="0" smtClean="0">
                  <a:solidFill>
                    <a:schemeClr val="accent2"/>
                  </a:solidFill>
                  <a:latin typeface="Arial Narrow" panose="020B0606020202030204" pitchFamily="34" charset="0"/>
                </a:rPr>
                <a:t>начал работу с ноября 2015 года</a:t>
              </a:r>
            </a:p>
            <a:p>
              <a:pPr marL="285750" indent="-285750" algn="just" defTabSz="957263">
                <a:lnSpc>
                  <a:spcPct val="106000"/>
                </a:lnSpc>
                <a:spcBef>
                  <a:spcPts val="1200"/>
                </a:spcBef>
                <a:buFont typeface="Wingdings" panose="05000000000000000000" pitchFamily="2" charset="2"/>
                <a:buChar char="ü"/>
              </a:pPr>
              <a:r>
                <a:rPr lang="ru-RU" sz="1400" dirty="0" smtClean="0">
                  <a:latin typeface="Arial Narrow" panose="020B0606020202030204" pitchFamily="34" charset="0"/>
                </a:rPr>
                <a:t>Акционерами Корпорации МСП являются </a:t>
              </a:r>
              <a:r>
                <a:rPr lang="ru-RU" sz="1400" b="1" dirty="0" smtClean="0">
                  <a:latin typeface="Arial Narrow" panose="020B0606020202030204" pitchFamily="34" charset="0"/>
                </a:rPr>
                <a:t>Российская Федерация </a:t>
              </a:r>
              <a:r>
                <a:rPr lang="ru-RU" sz="1400" dirty="0" smtClean="0">
                  <a:latin typeface="Arial Narrow" panose="020B0606020202030204" pitchFamily="34" charset="0"/>
                </a:rPr>
                <a:t>(в </a:t>
              </a:r>
              <a:r>
                <a:rPr lang="ru-RU" sz="1400" dirty="0">
                  <a:latin typeface="Arial Narrow" panose="020B0606020202030204" pitchFamily="34" charset="0"/>
                </a:rPr>
                <a:t>лице Федерального агентства по управлению государственным </a:t>
              </a:r>
              <a:r>
                <a:rPr lang="ru-RU" sz="1400" dirty="0" smtClean="0">
                  <a:latin typeface="Arial Narrow" panose="020B0606020202030204" pitchFamily="34" charset="0"/>
                </a:rPr>
                <a:t>имуществом) и </a:t>
              </a:r>
              <a:r>
                <a:rPr lang="ru-RU" sz="1400" b="1" dirty="0" smtClean="0">
                  <a:latin typeface="Arial Narrow" panose="020B0606020202030204" pitchFamily="34" charset="0"/>
                </a:rPr>
                <a:t>государственная корпорация «Банк </a:t>
              </a:r>
              <a:r>
                <a:rPr lang="ru-RU" sz="1400" b="1" dirty="0">
                  <a:latin typeface="Arial Narrow" panose="020B0606020202030204" pitchFamily="34" charset="0"/>
                </a:rPr>
                <a:t>развития и внешнеэкономической </a:t>
              </a:r>
              <a:r>
                <a:rPr lang="ru-RU" sz="1400" b="1" dirty="0" smtClean="0">
                  <a:latin typeface="Arial Narrow" panose="020B0606020202030204" pitchFamily="34" charset="0"/>
                </a:rPr>
                <a:t>деятельности (Внешэкономбанк)»</a:t>
              </a:r>
            </a:p>
            <a:p>
              <a:pPr marL="285750" indent="-285750" algn="just" defTabSz="957263">
                <a:lnSpc>
                  <a:spcPct val="106000"/>
                </a:lnSpc>
                <a:spcBef>
                  <a:spcPts val="1200"/>
                </a:spcBef>
                <a:buFont typeface="Wingdings" panose="05000000000000000000" pitchFamily="2" charset="2"/>
                <a:buChar char="ü"/>
              </a:pPr>
              <a:r>
                <a:rPr lang="ru-RU" sz="1400" dirty="0" smtClean="0">
                  <a:latin typeface="Arial Narrow" panose="020B0606020202030204" pitchFamily="34" charset="0"/>
                </a:rPr>
                <a:t>Акционерное общество «Российский Банк поддержки малого и среднего предпринимательства</a:t>
              </a:r>
              <a:r>
                <a:rPr lang="ru-RU" sz="1400" b="1" dirty="0" smtClean="0">
                  <a:latin typeface="Arial Narrow" panose="020B0606020202030204" pitchFamily="34" charset="0"/>
                </a:rPr>
                <a:t>»  (АО «МСП Банк») </a:t>
              </a:r>
              <a:r>
                <a:rPr lang="ru-RU" sz="1400" dirty="0" smtClean="0">
                  <a:latin typeface="Arial Narrow" panose="020B0606020202030204" pitchFamily="34" charset="0"/>
                </a:rPr>
                <a:t>является                                     </a:t>
              </a:r>
              <a:r>
                <a:rPr lang="ru-RU" sz="1400" b="1" dirty="0" smtClean="0">
                  <a:latin typeface="Arial Narrow" panose="020B0606020202030204" pitchFamily="34" charset="0"/>
                </a:rPr>
                <a:t>дочерним обществом Корпорации МСП  </a:t>
              </a:r>
              <a:endParaRPr lang="ru-RU" sz="1400" b="1" dirty="0">
                <a:latin typeface="Arial Narrow" panose="020B0606020202030204" pitchFamily="34" charset="0"/>
              </a:endParaRPr>
            </a:p>
          </p:txBody>
        </p:sp>
        <p:sp>
          <p:nvSpPr>
            <p:cNvPr id="20" name="Прямоугольник 19"/>
            <p:cNvSpPr/>
            <p:nvPr/>
          </p:nvSpPr>
          <p:spPr>
            <a:xfrm>
              <a:off x="637353" y="2638930"/>
              <a:ext cx="1709204" cy="61308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800" b="1" kern="0" dirty="0" smtClean="0">
                  <a:solidFill>
                    <a:schemeClr val="bg1"/>
                  </a:solidFill>
                  <a:latin typeface="Arial Narrow" panose="020B0606020202030204" pitchFamily="34" charset="0"/>
                </a:rPr>
                <a:t>Ключевые факты</a:t>
              </a:r>
            </a:p>
          </p:txBody>
        </p:sp>
      </p:grpSp>
      <p:grpSp>
        <p:nvGrpSpPr>
          <p:cNvPr id="42" name="Group 632"/>
          <p:cNvGrpSpPr/>
          <p:nvPr/>
        </p:nvGrpSpPr>
        <p:grpSpPr>
          <a:xfrm>
            <a:off x="686879" y="2762352"/>
            <a:ext cx="933696" cy="1231619"/>
            <a:chOff x="10260013" y="4238625"/>
            <a:chExt cx="482600" cy="636588"/>
          </a:xfrm>
          <a:solidFill>
            <a:schemeClr val="bg1"/>
          </a:solidFill>
        </p:grpSpPr>
        <p:sp>
          <p:nvSpPr>
            <p:cNvPr id="43" name="Freeform 859"/>
            <p:cNvSpPr>
              <a:spLocks noEditPoints="1"/>
            </p:cNvSpPr>
            <p:nvPr/>
          </p:nvSpPr>
          <p:spPr bwMode="auto">
            <a:xfrm>
              <a:off x="10260013" y="4238625"/>
              <a:ext cx="482600" cy="636588"/>
            </a:xfrm>
            <a:custGeom>
              <a:avLst/>
              <a:gdLst>
                <a:gd name="T0" fmla="*/ 149 w 165"/>
                <a:gd name="T1" fmla="*/ 218 h 218"/>
                <a:gd name="T2" fmla="*/ 17 w 165"/>
                <a:gd name="T3" fmla="*/ 218 h 218"/>
                <a:gd name="T4" fmla="*/ 0 w 165"/>
                <a:gd name="T5" fmla="*/ 202 h 218"/>
                <a:gd name="T6" fmla="*/ 0 w 165"/>
                <a:gd name="T7" fmla="*/ 16 h 218"/>
                <a:gd name="T8" fmla="*/ 17 w 165"/>
                <a:gd name="T9" fmla="*/ 0 h 218"/>
                <a:gd name="T10" fmla="*/ 149 w 165"/>
                <a:gd name="T11" fmla="*/ 0 h 218"/>
                <a:gd name="T12" fmla="*/ 165 w 165"/>
                <a:gd name="T13" fmla="*/ 16 h 218"/>
                <a:gd name="T14" fmla="*/ 165 w 165"/>
                <a:gd name="T15" fmla="*/ 202 h 218"/>
                <a:gd name="T16" fmla="*/ 149 w 165"/>
                <a:gd name="T17" fmla="*/ 218 h 218"/>
                <a:gd name="T18" fmla="*/ 17 w 165"/>
                <a:gd name="T19" fmla="*/ 12 h 218"/>
                <a:gd name="T20" fmla="*/ 12 w 165"/>
                <a:gd name="T21" fmla="*/ 16 h 218"/>
                <a:gd name="T22" fmla="*/ 12 w 165"/>
                <a:gd name="T23" fmla="*/ 202 h 218"/>
                <a:gd name="T24" fmla="*/ 17 w 165"/>
                <a:gd name="T25" fmla="*/ 206 h 218"/>
                <a:gd name="T26" fmla="*/ 149 w 165"/>
                <a:gd name="T27" fmla="*/ 206 h 218"/>
                <a:gd name="T28" fmla="*/ 153 w 165"/>
                <a:gd name="T29" fmla="*/ 202 h 218"/>
                <a:gd name="T30" fmla="*/ 153 w 165"/>
                <a:gd name="T31" fmla="*/ 16 h 218"/>
                <a:gd name="T32" fmla="*/ 149 w 165"/>
                <a:gd name="T33" fmla="*/ 12 h 218"/>
                <a:gd name="T34" fmla="*/ 17 w 165"/>
                <a:gd name="T35" fmla="*/ 12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5" h="218">
                  <a:moveTo>
                    <a:pt x="149" y="218"/>
                  </a:moveTo>
                  <a:cubicBezTo>
                    <a:pt x="17" y="218"/>
                    <a:pt x="17" y="218"/>
                    <a:pt x="17" y="218"/>
                  </a:cubicBezTo>
                  <a:cubicBezTo>
                    <a:pt x="8" y="218"/>
                    <a:pt x="0" y="211"/>
                    <a:pt x="0" y="202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8" y="0"/>
                    <a:pt x="17" y="0"/>
                  </a:cubicBezTo>
                  <a:cubicBezTo>
                    <a:pt x="149" y="0"/>
                    <a:pt x="149" y="0"/>
                    <a:pt x="149" y="0"/>
                  </a:cubicBezTo>
                  <a:cubicBezTo>
                    <a:pt x="158" y="0"/>
                    <a:pt x="165" y="7"/>
                    <a:pt x="165" y="16"/>
                  </a:cubicBezTo>
                  <a:cubicBezTo>
                    <a:pt x="165" y="202"/>
                    <a:pt x="165" y="202"/>
                    <a:pt x="165" y="202"/>
                  </a:cubicBezTo>
                  <a:cubicBezTo>
                    <a:pt x="165" y="211"/>
                    <a:pt x="158" y="218"/>
                    <a:pt x="149" y="218"/>
                  </a:cubicBezTo>
                  <a:close/>
                  <a:moveTo>
                    <a:pt x="17" y="12"/>
                  </a:moveTo>
                  <a:cubicBezTo>
                    <a:pt x="14" y="12"/>
                    <a:pt x="12" y="14"/>
                    <a:pt x="12" y="16"/>
                  </a:cubicBezTo>
                  <a:cubicBezTo>
                    <a:pt x="12" y="202"/>
                    <a:pt x="12" y="202"/>
                    <a:pt x="12" y="202"/>
                  </a:cubicBezTo>
                  <a:cubicBezTo>
                    <a:pt x="12" y="204"/>
                    <a:pt x="14" y="206"/>
                    <a:pt x="17" y="206"/>
                  </a:cubicBezTo>
                  <a:cubicBezTo>
                    <a:pt x="149" y="206"/>
                    <a:pt x="149" y="206"/>
                    <a:pt x="149" y="206"/>
                  </a:cubicBezTo>
                  <a:cubicBezTo>
                    <a:pt x="151" y="206"/>
                    <a:pt x="153" y="204"/>
                    <a:pt x="153" y="202"/>
                  </a:cubicBezTo>
                  <a:cubicBezTo>
                    <a:pt x="153" y="16"/>
                    <a:pt x="153" y="16"/>
                    <a:pt x="153" y="16"/>
                  </a:cubicBezTo>
                  <a:cubicBezTo>
                    <a:pt x="153" y="14"/>
                    <a:pt x="151" y="12"/>
                    <a:pt x="149" y="12"/>
                  </a:cubicBezTo>
                  <a:lnTo>
                    <a:pt x="17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4" name="Freeform 860"/>
            <p:cNvSpPr>
              <a:spLocks/>
            </p:cNvSpPr>
            <p:nvPr/>
          </p:nvSpPr>
          <p:spPr bwMode="auto">
            <a:xfrm>
              <a:off x="10344150" y="4519613"/>
              <a:ext cx="312738" cy="34925"/>
            </a:xfrm>
            <a:custGeom>
              <a:avLst/>
              <a:gdLst>
                <a:gd name="T0" fmla="*/ 101 w 107"/>
                <a:gd name="T1" fmla="*/ 12 h 12"/>
                <a:gd name="T2" fmla="*/ 6 w 107"/>
                <a:gd name="T3" fmla="*/ 12 h 12"/>
                <a:gd name="T4" fmla="*/ 0 w 107"/>
                <a:gd name="T5" fmla="*/ 6 h 12"/>
                <a:gd name="T6" fmla="*/ 6 w 107"/>
                <a:gd name="T7" fmla="*/ 0 h 12"/>
                <a:gd name="T8" fmla="*/ 101 w 107"/>
                <a:gd name="T9" fmla="*/ 0 h 12"/>
                <a:gd name="T10" fmla="*/ 107 w 107"/>
                <a:gd name="T11" fmla="*/ 6 h 12"/>
                <a:gd name="T12" fmla="*/ 101 w 10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2">
                  <a:moveTo>
                    <a:pt x="10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5" y="0"/>
                    <a:pt x="107" y="2"/>
                    <a:pt x="107" y="6"/>
                  </a:cubicBezTo>
                  <a:cubicBezTo>
                    <a:pt x="107" y="9"/>
                    <a:pt x="105" y="12"/>
                    <a:pt x="10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5" name="Freeform 861"/>
            <p:cNvSpPr>
              <a:spLocks/>
            </p:cNvSpPr>
            <p:nvPr/>
          </p:nvSpPr>
          <p:spPr bwMode="auto">
            <a:xfrm>
              <a:off x="10344150" y="4451350"/>
              <a:ext cx="312738" cy="36513"/>
            </a:xfrm>
            <a:custGeom>
              <a:avLst/>
              <a:gdLst>
                <a:gd name="T0" fmla="*/ 101 w 107"/>
                <a:gd name="T1" fmla="*/ 12 h 12"/>
                <a:gd name="T2" fmla="*/ 6 w 107"/>
                <a:gd name="T3" fmla="*/ 12 h 12"/>
                <a:gd name="T4" fmla="*/ 0 w 107"/>
                <a:gd name="T5" fmla="*/ 6 h 12"/>
                <a:gd name="T6" fmla="*/ 6 w 107"/>
                <a:gd name="T7" fmla="*/ 0 h 12"/>
                <a:gd name="T8" fmla="*/ 101 w 107"/>
                <a:gd name="T9" fmla="*/ 0 h 12"/>
                <a:gd name="T10" fmla="*/ 107 w 107"/>
                <a:gd name="T11" fmla="*/ 6 h 12"/>
                <a:gd name="T12" fmla="*/ 101 w 10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2">
                  <a:moveTo>
                    <a:pt x="10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5" y="0"/>
                    <a:pt x="107" y="2"/>
                    <a:pt x="107" y="6"/>
                  </a:cubicBezTo>
                  <a:cubicBezTo>
                    <a:pt x="107" y="9"/>
                    <a:pt x="105" y="12"/>
                    <a:pt x="10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6" name="Freeform 862"/>
            <p:cNvSpPr>
              <a:spLocks/>
            </p:cNvSpPr>
            <p:nvPr/>
          </p:nvSpPr>
          <p:spPr bwMode="auto">
            <a:xfrm>
              <a:off x="10344150" y="4384675"/>
              <a:ext cx="312738" cy="34925"/>
            </a:xfrm>
            <a:custGeom>
              <a:avLst/>
              <a:gdLst>
                <a:gd name="T0" fmla="*/ 101 w 107"/>
                <a:gd name="T1" fmla="*/ 12 h 12"/>
                <a:gd name="T2" fmla="*/ 6 w 107"/>
                <a:gd name="T3" fmla="*/ 12 h 12"/>
                <a:gd name="T4" fmla="*/ 0 w 107"/>
                <a:gd name="T5" fmla="*/ 6 h 12"/>
                <a:gd name="T6" fmla="*/ 6 w 107"/>
                <a:gd name="T7" fmla="*/ 0 h 12"/>
                <a:gd name="T8" fmla="*/ 101 w 107"/>
                <a:gd name="T9" fmla="*/ 0 h 12"/>
                <a:gd name="T10" fmla="*/ 107 w 107"/>
                <a:gd name="T11" fmla="*/ 6 h 12"/>
                <a:gd name="T12" fmla="*/ 101 w 10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2">
                  <a:moveTo>
                    <a:pt x="10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5" y="0"/>
                    <a:pt x="107" y="3"/>
                    <a:pt x="107" y="6"/>
                  </a:cubicBezTo>
                  <a:cubicBezTo>
                    <a:pt x="107" y="9"/>
                    <a:pt x="105" y="12"/>
                    <a:pt x="10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7" name="Freeform 863"/>
            <p:cNvSpPr>
              <a:spLocks/>
            </p:cNvSpPr>
            <p:nvPr/>
          </p:nvSpPr>
          <p:spPr bwMode="auto">
            <a:xfrm>
              <a:off x="10344150" y="4583113"/>
              <a:ext cx="312738" cy="34925"/>
            </a:xfrm>
            <a:custGeom>
              <a:avLst/>
              <a:gdLst>
                <a:gd name="T0" fmla="*/ 101 w 107"/>
                <a:gd name="T1" fmla="*/ 12 h 12"/>
                <a:gd name="T2" fmla="*/ 6 w 107"/>
                <a:gd name="T3" fmla="*/ 12 h 12"/>
                <a:gd name="T4" fmla="*/ 0 w 107"/>
                <a:gd name="T5" fmla="*/ 6 h 12"/>
                <a:gd name="T6" fmla="*/ 6 w 107"/>
                <a:gd name="T7" fmla="*/ 0 h 12"/>
                <a:gd name="T8" fmla="*/ 101 w 107"/>
                <a:gd name="T9" fmla="*/ 0 h 12"/>
                <a:gd name="T10" fmla="*/ 107 w 107"/>
                <a:gd name="T11" fmla="*/ 6 h 12"/>
                <a:gd name="T12" fmla="*/ 101 w 10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2">
                  <a:moveTo>
                    <a:pt x="10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5" y="0"/>
                    <a:pt x="107" y="3"/>
                    <a:pt x="107" y="6"/>
                  </a:cubicBezTo>
                  <a:cubicBezTo>
                    <a:pt x="107" y="9"/>
                    <a:pt x="105" y="12"/>
                    <a:pt x="10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8" name="Freeform 864"/>
            <p:cNvSpPr>
              <a:spLocks/>
            </p:cNvSpPr>
            <p:nvPr/>
          </p:nvSpPr>
          <p:spPr bwMode="auto">
            <a:xfrm>
              <a:off x="10344150" y="4651375"/>
              <a:ext cx="176213" cy="34925"/>
            </a:xfrm>
            <a:custGeom>
              <a:avLst/>
              <a:gdLst>
                <a:gd name="T0" fmla="*/ 54 w 60"/>
                <a:gd name="T1" fmla="*/ 12 h 12"/>
                <a:gd name="T2" fmla="*/ 6 w 60"/>
                <a:gd name="T3" fmla="*/ 12 h 12"/>
                <a:gd name="T4" fmla="*/ 0 w 60"/>
                <a:gd name="T5" fmla="*/ 6 h 12"/>
                <a:gd name="T6" fmla="*/ 6 w 60"/>
                <a:gd name="T7" fmla="*/ 0 h 12"/>
                <a:gd name="T8" fmla="*/ 54 w 60"/>
                <a:gd name="T9" fmla="*/ 0 h 12"/>
                <a:gd name="T10" fmla="*/ 60 w 60"/>
                <a:gd name="T11" fmla="*/ 6 h 12"/>
                <a:gd name="T12" fmla="*/ 54 w 6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12">
                  <a:moveTo>
                    <a:pt x="5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"/>
                    <a:pt x="57" y="12"/>
                    <a:pt x="5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sp>
        <p:nvSpPr>
          <p:cNvPr id="49" name="Текст 2"/>
          <p:cNvSpPr>
            <a:spLocks noGrp="1"/>
          </p:cNvSpPr>
          <p:nvPr>
            <p:ph type="body" sz="quarter" idx="10"/>
          </p:nvPr>
        </p:nvSpPr>
        <p:spPr>
          <a:xfrm>
            <a:off x="370506" y="883441"/>
            <a:ext cx="11884197" cy="357769"/>
          </a:xfrm>
          <a:noFill/>
        </p:spPr>
        <p:txBody>
          <a:bodyPr anchor="b"/>
          <a:lstStyle/>
          <a:p>
            <a:pPr algn="ctr" defTabSz="914373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b="1" dirty="0">
                <a:solidFill>
                  <a:srgbClr val="002060"/>
                </a:solidFill>
                <a:latin typeface="Arial Narrow" panose="020B0606020202030204" pitchFamily="34" charset="0"/>
              </a:rPr>
              <a:t>АО «Федеральная корпорация по развитию малого и среднего предпринимательства</a:t>
            </a:r>
            <a:r>
              <a:rPr lang="ru-RU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»</a:t>
            </a:r>
            <a:endParaRPr lang="ru-RU" b="1" dirty="0">
              <a:solidFill>
                <a:srgbClr val="002060"/>
              </a:solidFill>
              <a:latin typeface="Arial Narrow" panose="020B0606020202030204" pitchFamily="34" charset="0"/>
            </a:endParaRPr>
          </a:p>
        </p:txBody>
      </p:sp>
      <p:sp>
        <p:nvSpPr>
          <p:cNvPr id="30" name="Скругленный прямоугольник 29"/>
          <p:cNvSpPr/>
          <p:nvPr/>
        </p:nvSpPr>
        <p:spPr>
          <a:xfrm>
            <a:off x="292849" y="7041981"/>
            <a:ext cx="5769914" cy="1233978"/>
          </a:xfrm>
          <a:prstGeom prst="roundRect">
            <a:avLst>
              <a:gd name="adj" fmla="val 4144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rtlCol="0" anchor="ctr"/>
          <a:lstStyle/>
          <a:p>
            <a:pPr marL="1439863" defTabSz="914373"/>
            <a:endParaRPr lang="ru-RU" sz="2800" b="1" kern="0" dirty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34" name="Скругленный прямоугольник 33"/>
          <p:cNvSpPr/>
          <p:nvPr/>
        </p:nvSpPr>
        <p:spPr>
          <a:xfrm>
            <a:off x="6415313" y="5346578"/>
            <a:ext cx="5892800" cy="1256645"/>
          </a:xfrm>
          <a:prstGeom prst="roundRect">
            <a:avLst>
              <a:gd name="adj" fmla="val 4144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rtlCol="0" anchor="ctr"/>
          <a:lstStyle/>
          <a:p>
            <a:pPr marL="1439863" defTabSz="914373"/>
            <a:endParaRPr lang="ru-RU" sz="2800" b="1" kern="0" dirty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2516347" y="7198471"/>
            <a:ext cx="2474065" cy="813069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defTabSz="957263">
              <a:lnSpc>
                <a:spcPct val="106000"/>
              </a:lnSpc>
            </a:pPr>
            <a:r>
              <a:rPr lang="ru-RU" sz="20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Маркетинговая </a:t>
            </a:r>
          </a:p>
          <a:p>
            <a:pPr defTabSz="957263">
              <a:lnSpc>
                <a:spcPct val="106000"/>
              </a:lnSpc>
            </a:pPr>
            <a:r>
              <a:rPr lang="ru-RU" sz="20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и информационная поддержка</a:t>
            </a:r>
            <a:endParaRPr lang="ru-RU" sz="2000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40" name="Прямоугольник 39"/>
          <p:cNvSpPr/>
          <p:nvPr/>
        </p:nvSpPr>
        <p:spPr>
          <a:xfrm>
            <a:off x="8573683" y="5518870"/>
            <a:ext cx="3406229" cy="828778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defTabSz="957263">
              <a:lnSpc>
                <a:spcPct val="106000"/>
              </a:lnSpc>
            </a:pPr>
            <a:r>
              <a:rPr lang="ru-RU" sz="20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Финансовая </a:t>
            </a:r>
          </a:p>
          <a:p>
            <a:pPr defTabSz="957263">
              <a:lnSpc>
                <a:spcPct val="106000"/>
              </a:lnSpc>
            </a:pPr>
            <a:r>
              <a:rPr lang="ru-RU" sz="20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и гарантийная </a:t>
            </a:r>
            <a:r>
              <a:rPr lang="ru-RU" sz="2000" b="1" dirty="0">
                <a:solidFill>
                  <a:schemeClr val="bg1"/>
                </a:solidFill>
                <a:latin typeface="Arial Narrow" panose="020B0606020202030204" pitchFamily="34" charset="0"/>
              </a:rPr>
              <a:t>поддержка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2514603" y="5564807"/>
            <a:ext cx="3549171" cy="813069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defTabSz="957263">
              <a:lnSpc>
                <a:spcPct val="106000"/>
              </a:lnSpc>
            </a:pPr>
            <a:r>
              <a:rPr lang="ru-RU" sz="2000" b="1" dirty="0">
                <a:solidFill>
                  <a:schemeClr val="bg1"/>
                </a:solidFill>
                <a:latin typeface="Arial Narrow" panose="020B0606020202030204" pitchFamily="34" charset="0"/>
              </a:rPr>
              <a:t>Расширение доступа </a:t>
            </a:r>
            <a:endParaRPr lang="ru-RU" sz="2000" b="1" dirty="0" smtClean="0">
              <a:solidFill>
                <a:schemeClr val="bg1"/>
              </a:solidFill>
              <a:latin typeface="Arial Narrow" panose="020B0606020202030204" pitchFamily="34" charset="0"/>
            </a:endParaRPr>
          </a:p>
          <a:p>
            <a:pPr defTabSz="957263">
              <a:lnSpc>
                <a:spcPct val="106000"/>
              </a:lnSpc>
            </a:pPr>
            <a:r>
              <a:rPr lang="ru-RU" sz="20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к закупкам компаний </a:t>
            </a:r>
          </a:p>
          <a:p>
            <a:pPr defTabSz="957263">
              <a:lnSpc>
                <a:spcPct val="106000"/>
              </a:lnSpc>
            </a:pPr>
            <a:r>
              <a:rPr lang="ru-RU" sz="20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с государственным участием</a:t>
            </a:r>
            <a:endParaRPr lang="ru-RU" sz="2000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363538" y="5158040"/>
            <a:ext cx="11945259" cy="170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Текст 2"/>
          <p:cNvSpPr txBox="1">
            <a:spLocks/>
          </p:cNvSpPr>
          <p:nvPr/>
        </p:nvSpPr>
        <p:spPr>
          <a:xfrm>
            <a:off x="370506" y="4733899"/>
            <a:ext cx="11884195" cy="369865"/>
          </a:xfrm>
          <a:prstGeom prst="rect">
            <a:avLst/>
          </a:prstGeom>
          <a:noFill/>
        </p:spPr>
        <p:txBody>
          <a:bodyPr vert="horz" lIns="0" tIns="0" rIns="0" bIns="0" rtlCol="0" anchor="b">
            <a:normAutofit/>
          </a:bodyPr>
          <a:lstStyle>
            <a:lvl1pPr marL="0" indent="0" algn="l" defTabSz="1152144" rtl="0" eaLnBrk="1" latinLnBrk="0" hangingPunct="1">
              <a:lnSpc>
                <a:spcPct val="90000"/>
              </a:lnSpc>
              <a:spcBef>
                <a:spcPts val="126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152144" rtl="0" eaLnBrk="1" latinLnBrk="0" hangingPunct="1">
              <a:lnSpc>
                <a:spcPct val="90000"/>
              </a:lnSpc>
              <a:spcBef>
                <a:spcPts val="630"/>
              </a:spcBef>
              <a:buFont typeface="Arial" panose="020B0604020202020204" pitchFamily="34" charset="0"/>
              <a:buNone/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2962" indent="0" algn="l" defTabSz="1152144" rtl="0" eaLnBrk="1" latinLnBrk="0" hangingPunct="1">
              <a:lnSpc>
                <a:spcPct val="90000"/>
              </a:lnSpc>
              <a:spcBef>
                <a:spcPts val="630"/>
              </a:spcBef>
              <a:buFont typeface="Arial" panose="020B0604020202020204" pitchFamily="34" charset="0"/>
              <a:buNone/>
              <a:defRPr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6432" indent="0" algn="l" defTabSz="1152144" rtl="0" eaLnBrk="1" latinLnBrk="0" hangingPunct="1">
              <a:lnSpc>
                <a:spcPct val="90000"/>
              </a:lnSpc>
              <a:spcBef>
                <a:spcPts val="630"/>
              </a:spcBef>
              <a:buFont typeface="Arial" panose="020B0604020202020204" pitchFamily="34" charset="0"/>
              <a:buNone/>
              <a:defRPr sz="22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391" indent="0" algn="l" defTabSz="1152144" rtl="0" eaLnBrk="1" latinLnBrk="0" hangingPunct="1">
              <a:lnSpc>
                <a:spcPct val="90000"/>
              </a:lnSpc>
              <a:spcBef>
                <a:spcPts val="630"/>
              </a:spcBef>
              <a:buFont typeface="Arial" panose="020B0604020202020204" pitchFamily="34" charset="0"/>
              <a:buNone/>
              <a:defRPr sz="22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168396" indent="-288036" algn="l" defTabSz="1152144" rtl="0" eaLnBrk="1" latinLnBrk="0" hangingPunct="1">
              <a:lnSpc>
                <a:spcPct val="90000"/>
              </a:lnSpc>
              <a:spcBef>
                <a:spcPts val="630"/>
              </a:spcBef>
              <a:buFont typeface="Arial" panose="020B0604020202020204" pitchFamily="34" charset="0"/>
              <a:buChar char="•"/>
              <a:defRPr sz="22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744468" indent="-288036" algn="l" defTabSz="1152144" rtl="0" eaLnBrk="1" latinLnBrk="0" hangingPunct="1">
              <a:lnSpc>
                <a:spcPct val="90000"/>
              </a:lnSpc>
              <a:spcBef>
                <a:spcPts val="630"/>
              </a:spcBef>
              <a:buFont typeface="Arial" panose="020B0604020202020204" pitchFamily="34" charset="0"/>
              <a:buChar char="•"/>
              <a:defRPr sz="22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540" indent="-288036" algn="l" defTabSz="1152144" rtl="0" eaLnBrk="1" latinLnBrk="0" hangingPunct="1">
              <a:lnSpc>
                <a:spcPct val="90000"/>
              </a:lnSpc>
              <a:spcBef>
                <a:spcPts val="630"/>
              </a:spcBef>
              <a:buFont typeface="Arial" panose="020B0604020202020204" pitchFamily="34" charset="0"/>
              <a:buChar char="•"/>
              <a:defRPr sz="22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96612" indent="-288036" algn="l" defTabSz="1152144" rtl="0" eaLnBrk="1" latinLnBrk="0" hangingPunct="1">
              <a:lnSpc>
                <a:spcPct val="90000"/>
              </a:lnSpc>
              <a:spcBef>
                <a:spcPts val="630"/>
              </a:spcBef>
              <a:buFont typeface="Arial" panose="020B0604020202020204" pitchFamily="34" charset="0"/>
              <a:buChar char="•"/>
              <a:defRPr sz="22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3">
              <a:spcBef>
                <a:spcPts val="0"/>
              </a:spcBef>
            </a:pPr>
            <a:r>
              <a:rPr lang="ru-RU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Основные виды поддержки субъектов МСП, оказываемые Корпорацией МСП</a:t>
            </a:r>
            <a:endParaRPr lang="ru-RU" b="1" dirty="0">
              <a:solidFill>
                <a:srgbClr val="002060"/>
              </a:solidFill>
              <a:latin typeface="Arial Narrow" panose="020B0606020202030204" pitchFamily="34" charset="0"/>
            </a:endParaRP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0308" y="7381329"/>
            <a:ext cx="1248485" cy="619301"/>
          </a:xfrm>
          <a:prstGeom prst="rect">
            <a:avLst/>
          </a:prstGeom>
        </p:spPr>
      </p:pic>
      <p:sp>
        <p:nvSpPr>
          <p:cNvPr id="70" name="Скругленный прямоугольник 69"/>
          <p:cNvSpPr/>
          <p:nvPr/>
        </p:nvSpPr>
        <p:spPr>
          <a:xfrm>
            <a:off x="6415313" y="7041980"/>
            <a:ext cx="5892800" cy="1240473"/>
          </a:xfrm>
          <a:prstGeom prst="roundRect">
            <a:avLst>
              <a:gd name="adj" fmla="val 4144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rtlCol="0" anchor="ctr"/>
          <a:lstStyle/>
          <a:p>
            <a:pPr marL="1439863" defTabSz="914373"/>
            <a:endParaRPr lang="ru-RU" sz="2800" b="1" kern="0" dirty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72" name="Прямоугольник 71"/>
          <p:cNvSpPr/>
          <p:nvPr/>
        </p:nvSpPr>
        <p:spPr>
          <a:xfrm>
            <a:off x="8573683" y="7222605"/>
            <a:ext cx="4031913" cy="828778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defTabSz="957263">
              <a:lnSpc>
                <a:spcPct val="106000"/>
              </a:lnSpc>
            </a:pPr>
            <a:r>
              <a:rPr lang="ru-RU" sz="20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Имущественная</a:t>
            </a:r>
            <a:r>
              <a:rPr lang="ru-RU" sz="2000" b="1" dirty="0">
                <a:solidFill>
                  <a:schemeClr val="bg1"/>
                </a:solidFill>
                <a:latin typeface="Arial Narrow" panose="020B0606020202030204" pitchFamily="34" charset="0"/>
              </a:rPr>
              <a:t> </a:t>
            </a:r>
            <a:endParaRPr lang="ru-RU" sz="2000" b="1" dirty="0" smtClean="0">
              <a:solidFill>
                <a:schemeClr val="bg1"/>
              </a:solidFill>
              <a:latin typeface="Arial Narrow" panose="020B0606020202030204" pitchFamily="34" charset="0"/>
            </a:endParaRPr>
          </a:p>
          <a:p>
            <a:pPr defTabSz="957263">
              <a:lnSpc>
                <a:spcPct val="106000"/>
              </a:lnSpc>
            </a:pPr>
            <a:r>
              <a:rPr lang="ru-RU" sz="20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и консультационная поддержка, программы обучения </a:t>
            </a:r>
            <a:endParaRPr lang="ru-RU" sz="2000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cxnSp>
        <p:nvCxnSpPr>
          <p:cNvPr id="53" name="Прямая соединительная линия 52"/>
          <p:cNvCxnSpPr/>
          <p:nvPr/>
        </p:nvCxnSpPr>
        <p:spPr>
          <a:xfrm>
            <a:off x="356279" y="1304495"/>
            <a:ext cx="11945259" cy="170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Прямоугольник 53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200" dirty="0" smtClean="0">
                <a:latin typeface="Arial Narrow" panose="020B0606020202030204" pitchFamily="34" charset="0"/>
              </a:rPr>
              <a:t>2</a:t>
            </a:r>
            <a:endParaRPr lang="ru-RU" sz="1200" dirty="0">
              <a:latin typeface="Arial Narrow" panose="020B0606020202030204" pitchFamily="34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6701275" y="5653577"/>
            <a:ext cx="1227111" cy="636310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621434" y="5644859"/>
            <a:ext cx="1226231" cy="645028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6701275" y="7381329"/>
            <a:ext cx="1227111" cy="579180"/>
          </a:xfrm>
          <a:prstGeom prst="rect">
            <a:avLst/>
          </a:prstGeom>
        </p:spPr>
      </p:pic>
      <p:pic>
        <p:nvPicPr>
          <p:cNvPr id="32" name="Рисунок 3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35965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Box 25"/>
          <p:cNvSpPr txBox="1"/>
          <p:nvPr/>
        </p:nvSpPr>
        <p:spPr>
          <a:xfrm>
            <a:off x="3737883" y="139676"/>
            <a:ext cx="9455925" cy="551280"/>
          </a:xfrm>
          <a:prstGeom prst="rect">
            <a:avLst/>
          </a:prstGeom>
          <a:noFill/>
        </p:spPr>
        <p:txBody>
          <a:bodyPr wrap="none" lIns="90717" tIns="45358" rIns="0" bIns="45358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Меры поддержки субъектов МСП в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моногородах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11917775" y="8268937"/>
            <a:ext cx="591005" cy="3877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cxnSp>
        <p:nvCxnSpPr>
          <p:cNvPr id="36" name="Прямая соединительная линия 35"/>
          <p:cNvCxnSpPr/>
          <p:nvPr/>
        </p:nvCxnSpPr>
        <p:spPr>
          <a:xfrm>
            <a:off x="282575" y="900113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TextBox 66"/>
          <p:cNvSpPr txBox="1"/>
          <p:nvPr/>
        </p:nvSpPr>
        <p:spPr>
          <a:xfrm>
            <a:off x="278776" y="3739961"/>
            <a:ext cx="12035100" cy="31134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lIns="108000" tIns="108000" rIns="108000" bIns="10800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Финансовая поддержка субъектов МСП в моногородах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6477000" y="4094770"/>
            <a:ext cx="5836876" cy="232203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lIns="0" rtlCol="0" anchor="ctr" anchorCtr="0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000" b="1" i="0" u="none" strike="noStrike" cap="none" spc="0" normalizeH="0" baseline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</a:defRPr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одукты Корпорации, МСП Бан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aphicFrame>
        <p:nvGraphicFramePr>
          <p:cNvPr id="72" name="Таблица 71"/>
          <p:cNvGraphicFramePr>
            <a:graphicFrameLocks noGrp="1"/>
          </p:cNvGraphicFramePr>
          <p:nvPr>
            <p:extLst/>
          </p:nvPr>
        </p:nvGraphicFramePr>
        <p:xfrm>
          <a:off x="6426200" y="4398505"/>
          <a:ext cx="5838056" cy="1762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944779">
                  <a:extLst>
                    <a:ext uri="{9D8B030D-6E8A-4147-A177-3AD203B41FA5}">
                      <a16:colId xmlns:a16="http://schemas.microsoft.com/office/drawing/2014/main" val="2985683231"/>
                    </a:ext>
                  </a:extLst>
                </a:gridCol>
                <a:gridCol w="3893277">
                  <a:extLst>
                    <a:ext uri="{9D8B030D-6E8A-4147-A177-3AD203B41FA5}">
                      <a16:colId xmlns:a16="http://schemas.microsoft.com/office/drawing/2014/main" val="1334048016"/>
                    </a:ext>
                  </a:extLst>
                </a:gridCol>
              </a:tblGrid>
              <a:tr h="319198">
                <a:tc gridSpan="2">
                  <a:txBody>
                    <a:bodyPr/>
                    <a:lstStyle/>
                    <a:p>
                      <a:pPr marL="8890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Arial Narrow" panose="020B0606020202030204" pitchFamily="34" charset="0"/>
                        </a:rPr>
                        <a:t>Специальные гарантийные продукты Корпорации для субъектов МСП </a:t>
                      </a:r>
                    </a:p>
                    <a:p>
                      <a:pPr marL="8890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Arial Narrow" panose="020B0606020202030204" pitchFamily="34" charset="0"/>
                        </a:rPr>
                        <a:t>в моногородах с повышенным размером обеспечения</a:t>
                      </a:r>
                      <a:endParaRPr lang="ru-RU" sz="1400" b="1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36000" marR="36000" marT="36000" marB="36000" anchor="ctr"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ru-RU" sz="14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36000" marB="36000" anchor="ctr"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8266517"/>
                  </a:ext>
                </a:extLst>
              </a:tr>
              <a:tr h="215090">
                <a:tc>
                  <a:txBody>
                    <a:bodyPr/>
                    <a:lstStyle/>
                    <a:p>
                      <a:pPr marL="88900" indent="0" algn="l" defTabSz="1093324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ru-RU" sz="1350" kern="1200" dirty="0" smtClean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+mn-cs"/>
                        </a:rPr>
                        <a:t>Срок гарантии</a:t>
                      </a:r>
                      <a:endParaRPr lang="ru-RU" sz="1350" kern="1200" dirty="0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36000" marR="36000" marT="36000" marB="36000"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5F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35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о 15 лет</a:t>
                      </a:r>
                      <a:endParaRPr lang="ru-RU" sz="135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36000" marB="3600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2610129"/>
                  </a:ext>
                </a:extLst>
              </a:tr>
              <a:tr h="309444">
                <a:tc>
                  <a:txBody>
                    <a:bodyPr/>
                    <a:lstStyle/>
                    <a:p>
                      <a:pPr marL="88900" indent="0" algn="l" defTabSz="1093324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ru-RU" sz="1350" kern="1200" dirty="0" smtClean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+mn-cs"/>
                        </a:rPr>
                        <a:t>Сумма гарантийного покрытия </a:t>
                      </a:r>
                      <a:endParaRPr lang="ru-RU" sz="1350" kern="1200" dirty="0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36000" marR="36000" marT="36000" marB="36000"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5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до 75% </a:t>
                      </a:r>
                      <a:r>
                        <a:rPr kumimoji="0" lang="ru-RU" sz="13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от суммы кредита (при условии поручительства РГО в размере 10%)</a:t>
                      </a:r>
                      <a:endParaRPr kumimoji="0" lang="ru-RU" sz="135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3520796"/>
                  </a:ext>
                </a:extLst>
              </a:tr>
              <a:tr h="32188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350" dirty="0" smtClean="0"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</a:rPr>
                        <a:t>Порядок уплаты вознаграждения</a:t>
                      </a:r>
                      <a:endParaRPr lang="ru-RU" sz="1350" dirty="0">
                        <a:effectLst/>
                        <a:latin typeface="Arial Narrow" panose="020B0606020202030204" pitchFamily="34" charset="0"/>
                        <a:ea typeface="Times New Roman" panose="02020603050405020304" pitchFamily="18" charset="0"/>
                      </a:endParaRPr>
                    </a:p>
                  </a:txBody>
                  <a:tcPr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5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единовременно/ежегодно/1 раз в полгода/ежеквартально</a:t>
                      </a:r>
                      <a:endParaRPr kumimoji="0" lang="ru-RU" sz="135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4195246"/>
                  </a:ext>
                </a:extLst>
              </a:tr>
            </a:tbl>
          </a:graphicData>
        </a:graphic>
      </p:graphicFrame>
      <p:graphicFrame>
        <p:nvGraphicFramePr>
          <p:cNvPr id="73" name="Таблица 72"/>
          <p:cNvGraphicFramePr>
            <a:graphicFrameLocks noGrp="1"/>
          </p:cNvGraphicFramePr>
          <p:nvPr>
            <p:extLst/>
          </p:nvPr>
        </p:nvGraphicFramePr>
        <p:xfrm>
          <a:off x="6426200" y="6189464"/>
          <a:ext cx="5862277" cy="13513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952848">
                  <a:extLst>
                    <a:ext uri="{9D8B030D-6E8A-4147-A177-3AD203B41FA5}">
                      <a16:colId xmlns:a16="http://schemas.microsoft.com/office/drawing/2014/main" val="2985683231"/>
                    </a:ext>
                  </a:extLst>
                </a:gridCol>
                <a:gridCol w="3909429">
                  <a:extLst>
                    <a:ext uri="{9D8B030D-6E8A-4147-A177-3AD203B41FA5}">
                      <a16:colId xmlns:a16="http://schemas.microsoft.com/office/drawing/2014/main" val="1334048016"/>
                    </a:ext>
                  </a:extLst>
                </a:gridCol>
              </a:tblGrid>
              <a:tr h="310935">
                <a:tc gridSpan="2">
                  <a:txBody>
                    <a:bodyPr/>
                    <a:lstStyle/>
                    <a:p>
                      <a:pPr marL="8890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Arial Narrow" panose="020B0606020202030204" pitchFamily="34" charset="0"/>
                        </a:rPr>
                        <a:t>Специальный кредитный продукт МСП Банка для резидентов моногородов </a:t>
                      </a:r>
                    </a:p>
                    <a:p>
                      <a:pPr marL="8890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Arial Narrow" panose="020B0606020202030204" pitchFamily="34" charset="0"/>
                        </a:rPr>
                        <a:t>«Развитие моногородов»*</a:t>
                      </a:r>
                      <a:endParaRPr lang="ru-RU" sz="1400" b="1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36000" marR="36000" marT="36000" marB="36000" anchor="ctr"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ru-RU" sz="14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36000" marB="36000" anchor="ctr"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8266517"/>
                  </a:ext>
                </a:extLst>
              </a:tr>
              <a:tr h="209522">
                <a:tc>
                  <a:txBody>
                    <a:bodyPr/>
                    <a:lstStyle/>
                    <a:p>
                      <a:pPr marL="88900" indent="0" algn="l" defTabSz="1093324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ru-RU" sz="1350" kern="1200" dirty="0" smtClean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+mn-cs"/>
                        </a:rPr>
                        <a:t>Сумма кредита</a:t>
                      </a:r>
                      <a:endParaRPr lang="ru-RU" sz="1350" kern="1200" dirty="0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36000" marR="36000" marT="36000" marB="36000"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5F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35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т </a:t>
                      </a:r>
                      <a:r>
                        <a:rPr lang="en-US" sz="135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</a:t>
                      </a:r>
                      <a:r>
                        <a:rPr lang="ru-RU" sz="135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35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лн </a:t>
                      </a:r>
                      <a:r>
                        <a:rPr lang="ru-RU" sz="135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о </a:t>
                      </a:r>
                      <a:r>
                        <a:rPr lang="en-US" sz="135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00</a:t>
                      </a:r>
                      <a:r>
                        <a:rPr lang="ru-RU" sz="135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35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лн </a:t>
                      </a:r>
                      <a:r>
                        <a:rPr lang="ru-RU" sz="13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ублей</a:t>
                      </a:r>
                    </a:p>
                  </a:txBody>
                  <a:tcPr marL="36000" marR="36000" marT="36000" marB="3600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2610129"/>
                  </a:ext>
                </a:extLst>
              </a:tr>
              <a:tr h="184190">
                <a:tc>
                  <a:txBody>
                    <a:bodyPr/>
                    <a:lstStyle/>
                    <a:p>
                      <a:pPr marL="88900" indent="0" algn="l" defTabSz="1093324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ru-RU" sz="1350" kern="1200" dirty="0" smtClean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+mn-cs"/>
                        </a:rPr>
                        <a:t>Ставка по кредиту</a:t>
                      </a:r>
                      <a:endParaRPr lang="ru-RU" sz="1350" kern="1200" dirty="0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36000" marR="36000" marT="36000" marB="36000"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5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от 6,5% до 10,6%</a:t>
                      </a:r>
                      <a:endParaRPr kumimoji="0" lang="ru-RU" sz="135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3520796"/>
                  </a:ext>
                </a:extLst>
              </a:tr>
              <a:tr h="185282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350" dirty="0" smtClean="0"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</a:rPr>
                        <a:t>Срок кредита</a:t>
                      </a:r>
                      <a:endParaRPr lang="ru-RU" sz="1350" dirty="0">
                        <a:effectLst/>
                        <a:latin typeface="Arial Narrow" panose="020B0606020202030204" pitchFamily="34" charset="0"/>
                        <a:ea typeface="Times New Roman" panose="02020603050405020304" pitchFamily="18" charset="0"/>
                      </a:endParaRPr>
                    </a:p>
                  </a:txBody>
                  <a:tcPr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5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до 84 </a:t>
                      </a:r>
                      <a:r>
                        <a:rPr kumimoji="0" lang="ru-RU" sz="13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месяцев</a:t>
                      </a:r>
                      <a:endParaRPr kumimoji="0" lang="ru-RU" sz="135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4195246"/>
                  </a:ext>
                </a:extLst>
              </a:tr>
            </a:tbl>
          </a:graphicData>
        </a:graphic>
      </p:graphicFrame>
      <p:sp>
        <p:nvSpPr>
          <p:cNvPr id="81" name="Прямоугольник 80"/>
          <p:cNvSpPr/>
          <p:nvPr/>
        </p:nvSpPr>
        <p:spPr>
          <a:xfrm>
            <a:off x="5969412" y="4258272"/>
            <a:ext cx="332877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8890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203" name="Pentagon 35"/>
          <p:cNvSpPr/>
          <p:nvPr/>
        </p:nvSpPr>
        <p:spPr>
          <a:xfrm>
            <a:off x="295641" y="4527190"/>
            <a:ext cx="882644" cy="345604"/>
          </a:xfrm>
          <a:prstGeom prst="homePlate">
            <a:avLst>
              <a:gd name="adj" fmla="val 22714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204" name="Pentagon 35"/>
          <p:cNvSpPr/>
          <p:nvPr/>
        </p:nvSpPr>
        <p:spPr>
          <a:xfrm>
            <a:off x="275828" y="4525247"/>
            <a:ext cx="809294" cy="349960"/>
          </a:xfrm>
          <a:prstGeom prst="homePlate">
            <a:avLst>
              <a:gd name="adj" fmla="val 22714"/>
            </a:avLst>
          </a:prstGeom>
          <a:solidFill>
            <a:srgbClr val="A2C9F4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6 г.</a:t>
            </a:r>
          </a:p>
        </p:txBody>
      </p:sp>
      <p:sp>
        <p:nvSpPr>
          <p:cNvPr id="205" name="Прямоугольник 204"/>
          <p:cNvSpPr>
            <a:spLocks noChangeArrowheads="1"/>
          </p:cNvSpPr>
          <p:nvPr/>
        </p:nvSpPr>
        <p:spPr bwMode="auto">
          <a:xfrm>
            <a:off x="294792" y="6629462"/>
            <a:ext cx="5988928" cy="570926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  <a:extLst/>
        </p:spPr>
        <p:txBody>
          <a:bodyPr wrap="square">
            <a:spAutoFit/>
          </a:bodyPr>
          <a:lstStyle>
            <a:lvl1pPr defTabSz="39846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39846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39846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39846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39846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3984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3984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3984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3984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398463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67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Лидеры по </a:t>
            </a:r>
            <a:r>
              <a:rPr kumimoji="0" lang="ru-RU" sz="1467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оличеству субъектов ИМП, получивших финансовую поддержку с </a:t>
            </a:r>
            <a:r>
              <a:rPr kumimoji="0" lang="ru-RU" sz="1467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участием НГС в </a:t>
            </a:r>
            <a:r>
              <a:rPr kumimoji="0" lang="ru-RU" sz="1467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017-2018гг.</a:t>
            </a:r>
            <a:r>
              <a:rPr kumimoji="0" lang="ru-RU" sz="1467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</a:t>
            </a:r>
            <a:endParaRPr kumimoji="0" lang="ru-RU" sz="14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06" name="Прямоугольник 205"/>
          <p:cNvSpPr/>
          <p:nvPr/>
        </p:nvSpPr>
        <p:spPr>
          <a:xfrm>
            <a:off x="1316426" y="4463044"/>
            <a:ext cx="4777434" cy="6211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noAutofit/>
          </a:bodyPr>
          <a:lstStyle/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5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финансовая </a:t>
            </a:r>
            <a:r>
              <a:rPr kumimoji="0" lang="ru-RU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ддержка </a:t>
            </a:r>
            <a:r>
              <a:rPr kumimoji="0" lang="ru-RU" sz="135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 участием </a:t>
            </a:r>
            <a:r>
              <a:rPr kumimoji="0" lang="ru-RU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ГС предоставлена </a:t>
            </a:r>
            <a:r>
              <a:rPr kumimoji="0" lang="ru-RU" sz="135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90</a:t>
            </a:r>
            <a:r>
              <a:rPr kumimoji="0" lang="ru-RU" sz="135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субъектам индивидуального и малого предпринимательства (ИМП), реализующим проекты в моногородах</a:t>
            </a:r>
            <a:endParaRPr kumimoji="0" lang="ru-RU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207" name="Прямоугольник 206"/>
          <p:cNvSpPr/>
          <p:nvPr/>
        </p:nvSpPr>
        <p:spPr>
          <a:xfrm>
            <a:off x="1294322" y="5055550"/>
            <a:ext cx="4777434" cy="607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noAutofit/>
          </a:bodyPr>
          <a:lstStyle/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финансовая поддержка с участием НГС предоставлена </a:t>
            </a:r>
            <a:r>
              <a:rPr kumimoji="0" lang="ru-RU" sz="135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445</a:t>
            </a:r>
            <a:r>
              <a:rPr kumimoji="0" lang="ru-RU" sz="135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убъектам </a:t>
            </a:r>
            <a:r>
              <a:rPr kumimoji="0" lang="ru-RU" sz="135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МП, </a:t>
            </a:r>
            <a:r>
              <a:rPr kumimoji="0" lang="ru-RU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еализующим проекты в моногородах</a:t>
            </a:r>
          </a:p>
        </p:txBody>
      </p:sp>
      <p:sp>
        <p:nvSpPr>
          <p:cNvPr id="208" name="Прямоугольник 207"/>
          <p:cNvSpPr/>
          <p:nvPr/>
        </p:nvSpPr>
        <p:spPr>
          <a:xfrm>
            <a:off x="272179" y="6058448"/>
            <a:ext cx="5767415" cy="512280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1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оличество субъектов ИМП, реализующих проекты в моногородах с поддержкой НГС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8 году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оставило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496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210" name="Прямоугольник 209"/>
          <p:cNvSpPr/>
          <p:nvPr/>
        </p:nvSpPr>
        <p:spPr>
          <a:xfrm>
            <a:off x="1294322" y="5563849"/>
            <a:ext cx="4796073" cy="5427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noAutofit/>
          </a:bodyPr>
          <a:lstStyle/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финансовая поддержка с участием НГС предоставлена </a:t>
            </a:r>
            <a:r>
              <a:rPr kumimoji="0" lang="ru-RU" sz="135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496</a:t>
            </a:r>
            <a:r>
              <a:rPr kumimoji="0" lang="ru-RU" sz="135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субъектам ИМП, </a:t>
            </a:r>
            <a:r>
              <a:rPr kumimoji="0" lang="ru-RU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еализующим проекты в моногородах</a:t>
            </a:r>
          </a:p>
        </p:txBody>
      </p:sp>
      <p:sp>
        <p:nvSpPr>
          <p:cNvPr id="211" name="Прямоугольник 210"/>
          <p:cNvSpPr/>
          <p:nvPr/>
        </p:nvSpPr>
        <p:spPr>
          <a:xfrm>
            <a:off x="304176" y="4094405"/>
            <a:ext cx="5786218" cy="2583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казатели паспорта приоритетного проекта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«Малый бизнес и поддержка индивидуальной предпринимательской инициативы»: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212" name="Pentagon 35"/>
          <p:cNvSpPr/>
          <p:nvPr/>
        </p:nvSpPr>
        <p:spPr>
          <a:xfrm>
            <a:off x="279292" y="5184156"/>
            <a:ext cx="882644" cy="345604"/>
          </a:xfrm>
          <a:prstGeom prst="homePlate">
            <a:avLst>
              <a:gd name="adj" fmla="val 22714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213" name="Pentagon 35"/>
          <p:cNvSpPr/>
          <p:nvPr/>
        </p:nvSpPr>
        <p:spPr>
          <a:xfrm>
            <a:off x="275827" y="5182213"/>
            <a:ext cx="792945" cy="349960"/>
          </a:xfrm>
          <a:prstGeom prst="homePlate">
            <a:avLst>
              <a:gd name="adj" fmla="val 22714"/>
            </a:avLst>
          </a:prstGeom>
          <a:solidFill>
            <a:srgbClr val="A2C9F4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7 г.</a:t>
            </a:r>
          </a:p>
        </p:txBody>
      </p:sp>
      <p:sp>
        <p:nvSpPr>
          <p:cNvPr id="214" name="Pentagon 35"/>
          <p:cNvSpPr/>
          <p:nvPr/>
        </p:nvSpPr>
        <p:spPr>
          <a:xfrm>
            <a:off x="295641" y="5677626"/>
            <a:ext cx="882644" cy="345604"/>
          </a:xfrm>
          <a:prstGeom prst="homePlate">
            <a:avLst>
              <a:gd name="adj" fmla="val 22714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215" name="Pentagon 35"/>
          <p:cNvSpPr/>
          <p:nvPr/>
        </p:nvSpPr>
        <p:spPr>
          <a:xfrm>
            <a:off x="275828" y="5675683"/>
            <a:ext cx="809294" cy="349960"/>
          </a:xfrm>
          <a:prstGeom prst="homePlate">
            <a:avLst>
              <a:gd name="adj" fmla="val 22714"/>
            </a:avLst>
          </a:prstGeom>
          <a:solidFill>
            <a:srgbClr val="A2C9F4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8 г.</a:t>
            </a:r>
          </a:p>
        </p:txBody>
      </p:sp>
      <p:pic>
        <p:nvPicPr>
          <p:cNvPr id="66" name="Рисунок 6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cxnSp>
        <p:nvCxnSpPr>
          <p:cNvPr id="68" name="Прямая соединительная линия 67"/>
          <p:cNvCxnSpPr/>
          <p:nvPr/>
        </p:nvCxnSpPr>
        <p:spPr>
          <a:xfrm>
            <a:off x="282575" y="900113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Прямоугольник 68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71" name="Прямоугольник 70"/>
          <p:cNvSpPr/>
          <p:nvPr/>
        </p:nvSpPr>
        <p:spPr>
          <a:xfrm>
            <a:off x="304432" y="7178109"/>
            <a:ext cx="5567731" cy="11794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594" marR="0" lvl="0" indent="-228594" algn="just" defTabSz="4572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>
                <a:srgbClr val="ED7D3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33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г. Набережные Челны</a:t>
            </a:r>
            <a:r>
              <a:rPr kumimoji="0" lang="ru-RU" sz="1333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ru-RU" sz="133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(Республика Татарстан)</a:t>
            </a:r>
            <a:r>
              <a:rPr kumimoji="0" lang="ru-RU" sz="1333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ru-RU" sz="133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– </a:t>
            </a:r>
            <a:r>
              <a:rPr kumimoji="0" lang="ru-RU" sz="1333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50</a:t>
            </a:r>
            <a:r>
              <a:rPr kumimoji="0" lang="ru-RU" sz="1333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субъектов ИМП</a:t>
            </a:r>
          </a:p>
          <a:p>
            <a:pPr marL="228594" marR="0" lvl="0" indent="-228594" algn="just" defTabSz="4572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>
                <a:srgbClr val="ED7D3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333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г. </a:t>
            </a:r>
            <a:r>
              <a:rPr kumimoji="0" lang="ru-RU" sz="133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Нижний </a:t>
            </a:r>
            <a:r>
              <a:rPr kumimoji="0" lang="ru-RU" sz="1333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Тагил</a:t>
            </a:r>
            <a:r>
              <a:rPr kumimoji="0" lang="ru-RU" sz="133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(Свердловская </a:t>
            </a:r>
            <a:r>
              <a:rPr kumimoji="0" lang="ru-RU" sz="1333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область) </a:t>
            </a:r>
            <a:r>
              <a:rPr kumimoji="0" lang="ru-RU" sz="133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– </a:t>
            </a:r>
            <a:r>
              <a:rPr kumimoji="0" lang="ru-RU" sz="133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36</a:t>
            </a:r>
            <a:r>
              <a:rPr kumimoji="0" lang="ru-RU" sz="133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субъектов ИМП</a:t>
            </a:r>
          </a:p>
          <a:p>
            <a:pPr marL="228594" marR="0" lvl="0" indent="-228594" algn="just" defTabSz="4572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>
                <a:srgbClr val="ED7D3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333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г</a:t>
            </a:r>
            <a:r>
              <a:rPr kumimoji="0" lang="ru-RU" sz="133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</a:t>
            </a:r>
            <a:r>
              <a:rPr kumimoji="0" lang="ru-RU" sz="1333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Тольятти</a:t>
            </a:r>
            <a:r>
              <a:rPr kumimoji="0" lang="ru-RU" sz="133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(Самарская </a:t>
            </a:r>
            <a:r>
              <a:rPr kumimoji="0" lang="ru-RU" sz="1333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область) </a:t>
            </a:r>
            <a:r>
              <a:rPr kumimoji="0" lang="ru-RU" sz="133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– </a:t>
            </a:r>
            <a:r>
              <a:rPr kumimoji="0" lang="ru-RU" sz="1333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36</a:t>
            </a:r>
            <a:r>
              <a:rPr kumimoji="0" lang="ru-RU" sz="1333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субъектов ИМП</a:t>
            </a:r>
          </a:p>
          <a:p>
            <a:pPr marL="228594" marR="0" lvl="0" indent="-228594" algn="just" defTabSz="4572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>
                <a:srgbClr val="ED7D3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33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г. </a:t>
            </a:r>
            <a:r>
              <a:rPr kumimoji="0" lang="ru-RU" sz="1333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Алатырь</a:t>
            </a:r>
            <a:r>
              <a:rPr kumimoji="0" lang="ru-RU" sz="133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(Чувашская </a:t>
            </a:r>
            <a:r>
              <a:rPr kumimoji="0" lang="ru-RU" sz="1333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Республика) </a:t>
            </a:r>
            <a:r>
              <a:rPr kumimoji="0" lang="ru-RU" sz="133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– </a:t>
            </a:r>
            <a:r>
              <a:rPr kumimoji="0" lang="ru-RU" sz="1333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33</a:t>
            </a:r>
            <a:r>
              <a:rPr kumimoji="0" lang="ru-RU" sz="1333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субъекта ИМП</a:t>
            </a:r>
          </a:p>
          <a:p>
            <a:pPr marL="228594" marR="0" lvl="0" indent="-228594" algn="just" defTabSz="4572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>
                <a:srgbClr val="ED7D3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33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г. </a:t>
            </a:r>
            <a:r>
              <a:rPr kumimoji="0" lang="ru-RU" sz="1333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Глазов</a:t>
            </a:r>
            <a:r>
              <a:rPr kumimoji="0" lang="ru-RU" sz="1333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(Удмуртская Республика) </a:t>
            </a:r>
            <a:r>
              <a:rPr kumimoji="0" lang="ru-RU" sz="133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– </a:t>
            </a:r>
            <a:r>
              <a:rPr kumimoji="0" lang="ru-RU" sz="1333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30</a:t>
            </a:r>
            <a:r>
              <a:rPr kumimoji="0" lang="ru-RU" sz="1333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ru-RU" sz="1333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убъектов ИМП</a:t>
            </a:r>
            <a:endParaRPr kumimoji="0" lang="ru-RU" sz="133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65" name="Прямоугольник 64"/>
          <p:cNvSpPr/>
          <p:nvPr/>
        </p:nvSpPr>
        <p:spPr>
          <a:xfrm>
            <a:off x="6283719" y="7723991"/>
            <a:ext cx="5936967" cy="6684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1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* </a:t>
            </a:r>
            <a:r>
              <a:rPr kumimoji="0" lang="ru-RU" sz="1000" b="0" i="1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1000" b="0" i="1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редитование как на инвестиционные цели, так и на пополнение оборотных средств</a:t>
            </a:r>
          </a:p>
        </p:txBody>
      </p:sp>
      <p:sp>
        <p:nvSpPr>
          <p:cNvPr id="74" name="Прямоугольник 73"/>
          <p:cNvSpPr/>
          <p:nvPr/>
        </p:nvSpPr>
        <p:spPr>
          <a:xfrm>
            <a:off x="7695021" y="1706537"/>
            <a:ext cx="4593456" cy="11310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41120" marR="0" lvl="0" indent="-141120" algn="just" defTabSz="3628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34 103 </a:t>
            </a:r>
            <a:r>
              <a:rPr kumimoji="0" lang="ru-RU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убъекта МСП в </a:t>
            </a:r>
            <a:r>
              <a:rPr kumimoji="0" lang="ru-RU" sz="13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315 </a:t>
            </a:r>
            <a:r>
              <a:rPr kumimoji="0" lang="ru-RU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моногородах воспользовались сервисами </a:t>
            </a:r>
            <a:r>
              <a:rPr kumimoji="0" lang="ru-RU" sz="13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ортала Бизнес-навигатора МСП;</a:t>
            </a:r>
            <a:endParaRPr kumimoji="0" lang="ru-RU" sz="135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Times New Roman" panose="02020603050405020304" pitchFamily="18" charset="0"/>
              <a:cs typeface="+mn-cs"/>
            </a:endParaRPr>
          </a:p>
          <a:p>
            <a:pPr marL="141120" marR="0" lvl="0" indent="-141120" algn="just" defTabSz="3628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3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+mn-cs"/>
              </a:rPr>
              <a:t>Бизнес-навигатор МСП </a:t>
            </a:r>
            <a:r>
              <a:rPr kumimoji="0" lang="ru-RU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+mn-cs"/>
              </a:rPr>
              <a:t>включает данные по </a:t>
            </a:r>
            <a:r>
              <a:rPr kumimoji="0" lang="ru-RU" sz="13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+mn-cs"/>
              </a:rPr>
              <a:t>19</a:t>
            </a:r>
            <a:r>
              <a:rPr kumimoji="0" lang="ru-RU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+mn-cs"/>
              </a:rPr>
              <a:t> </a:t>
            </a:r>
            <a:r>
              <a:rPr kumimoji="0" lang="ru-RU" sz="135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+mn-cs"/>
              </a:rPr>
              <a:t>моногородам </a:t>
            </a:r>
            <a:r>
              <a:rPr kumimoji="0" lang="ru-RU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+mn-cs"/>
              </a:rPr>
              <a:t/>
            </a:r>
            <a:br>
              <a:rPr kumimoji="0" lang="ru-RU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+mn-cs"/>
              </a:rPr>
            </a:br>
            <a:r>
              <a:rPr kumimoji="0" lang="ru-RU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+mn-cs"/>
              </a:rPr>
              <a:t>В </a:t>
            </a: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+mn-cs"/>
              </a:rPr>
              <a:t>Google Play </a:t>
            </a:r>
            <a:r>
              <a:rPr kumimoji="0" lang="ru-RU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+mn-cs"/>
              </a:rPr>
              <a:t>и </a:t>
            </a: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+mn-cs"/>
              </a:rPr>
              <a:t>App Store </a:t>
            </a:r>
            <a:r>
              <a:rPr kumimoji="0" lang="ru-RU" sz="135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+mn-cs"/>
              </a:rPr>
              <a:t>доступны </a:t>
            </a:r>
            <a:r>
              <a:rPr kumimoji="0" lang="ru-RU" sz="135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+mn-cs"/>
              </a:rPr>
              <a:t>мобильные приложения </a:t>
            </a:r>
            <a:r>
              <a:rPr kumimoji="0" lang="ru-RU" sz="13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+mn-cs"/>
              </a:rPr>
              <a:t>Бизнес-навигатора МСП</a:t>
            </a:r>
            <a:endParaRPr kumimoji="0" lang="ru-RU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6477000" y="1018041"/>
            <a:ext cx="5836876" cy="28783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lIns="0" rtlCol="0" anchor="ctr" anchorCtr="0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000" b="1" i="0" u="none" strike="noStrike" cap="none" spc="0" normalizeH="0" baseline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</a:defRPr>
            </a:lvl1pPr>
          </a:lstStyle>
          <a:p>
            <a:pPr marL="0" marR="0" lvl="0" indent="0" algn="ctr" defTabSz="3628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спользование сервисов Портала Бизнес-навигатора МСП</a:t>
            </a:r>
          </a:p>
        </p:txBody>
      </p:sp>
      <p:pic>
        <p:nvPicPr>
          <p:cNvPr id="78" name="Рисунок 77"/>
          <p:cNvPicPr>
            <a:picLocks noChangeAspect="1"/>
          </p:cNvPicPr>
          <p:nvPr/>
        </p:nvPicPr>
        <p:blipFill rotWithShape="1">
          <a:blip r:embed="rId3" cstate="print"/>
          <a:srcRect l="26242" t="75245" r="52725" b="17260"/>
          <a:stretch/>
        </p:blipFill>
        <p:spPr>
          <a:xfrm>
            <a:off x="10290151" y="3244064"/>
            <a:ext cx="1998326" cy="419954"/>
          </a:xfrm>
          <a:prstGeom prst="rect">
            <a:avLst/>
          </a:prstGeom>
        </p:spPr>
      </p:pic>
      <p:sp>
        <p:nvSpPr>
          <p:cNvPr id="82" name="Прямоугольник 81"/>
          <p:cNvSpPr/>
          <p:nvPr/>
        </p:nvSpPr>
        <p:spPr>
          <a:xfrm>
            <a:off x="7779844" y="1336167"/>
            <a:ext cx="4508633" cy="353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>
            <a:noAutofit/>
          </a:bodyPr>
          <a:lstStyle/>
          <a:p>
            <a:pPr marL="141120" marR="0" lvl="0" indent="-141120" algn="l" defTabSz="3628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3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30 307 </a:t>
            </a:r>
            <a:r>
              <a:rPr kumimoji="0" lang="ru-RU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убъектов МСП в </a:t>
            </a:r>
            <a:r>
              <a:rPr kumimoji="0" lang="ru-RU" sz="13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317</a:t>
            </a:r>
            <a:r>
              <a:rPr kumimoji="0" lang="ru-RU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моногородах воспользовались сервисами </a:t>
            </a:r>
            <a:r>
              <a:rPr kumimoji="0" lang="ru-RU" sz="13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ортала Бизнес-навигатора МСП;</a:t>
            </a:r>
          </a:p>
          <a:p>
            <a:pPr marL="141120" marR="0" lvl="0" indent="-141120" algn="just" defTabSz="3628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ru-RU" sz="635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41120" marR="0" lvl="0" indent="-141120" algn="just" defTabSz="3628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ru-RU" sz="1071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Times New Roman" panose="02020603050405020304" pitchFamily="18" charset="0"/>
              <a:cs typeface="+mn-cs"/>
            </a:endParaRPr>
          </a:p>
        </p:txBody>
      </p:sp>
      <p:sp>
        <p:nvSpPr>
          <p:cNvPr id="87" name="Прямоугольник 86"/>
          <p:cNvSpPr/>
          <p:nvPr/>
        </p:nvSpPr>
        <p:spPr>
          <a:xfrm>
            <a:off x="7779844" y="2806054"/>
            <a:ext cx="4534032" cy="3274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>
            <a:noAutofit/>
          </a:bodyPr>
          <a:lstStyle/>
          <a:p>
            <a:pPr marL="141120" marR="0" lvl="0" indent="-141120" algn="l" defTabSz="3628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35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0 477 </a:t>
            </a:r>
            <a:r>
              <a:rPr kumimoji="0" lang="ru-RU" sz="135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убъектов </a:t>
            </a:r>
            <a:r>
              <a:rPr kumimoji="0" lang="ru-RU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МСП в </a:t>
            </a:r>
            <a:r>
              <a:rPr kumimoji="0" lang="ru-RU" sz="135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88 </a:t>
            </a:r>
            <a:r>
              <a:rPr kumimoji="0" lang="ru-RU" sz="135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моногородах </a:t>
            </a:r>
            <a:r>
              <a:rPr kumimoji="0" lang="ru-RU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воспользовались сервисами </a:t>
            </a:r>
            <a:r>
              <a:rPr kumimoji="0" lang="ru-RU" sz="13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ортала Бизнес-навигатора МСП;</a:t>
            </a:r>
          </a:p>
          <a:p>
            <a:pPr marL="141120" marR="0" lvl="0" indent="-141120" algn="just" defTabSz="3628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ru-RU" sz="635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41120" marR="0" lvl="0" indent="-141120" algn="just" defTabSz="3628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ru-RU" sz="1071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Times New Roman" panose="02020603050405020304" pitchFamily="18" charset="0"/>
              <a:cs typeface="+mn-cs"/>
            </a:endParaRPr>
          </a:p>
        </p:txBody>
      </p:sp>
      <p:sp>
        <p:nvSpPr>
          <p:cNvPr id="125" name="TextBox 124"/>
          <p:cNvSpPr txBox="1"/>
          <p:nvPr/>
        </p:nvSpPr>
        <p:spPr>
          <a:xfrm>
            <a:off x="304176" y="1017515"/>
            <a:ext cx="6049652" cy="28580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lIns="0" rtlCol="0" anchor="ctr" anchorCtr="0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000" b="1" i="0" u="none" strike="noStrike" cap="none" spc="0" normalizeH="0" baseline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</a:defRPr>
            </a:lvl1pPr>
          </a:lstStyle>
          <a:p>
            <a:pPr marL="0" marR="0" lvl="0" indent="0" algn="ctr" defTabSz="3628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Закупки у субъектов МСП в моногородах</a:t>
            </a:r>
          </a:p>
        </p:txBody>
      </p:sp>
      <p:sp>
        <p:nvSpPr>
          <p:cNvPr id="126" name="Скругленный прямоугольник 125"/>
          <p:cNvSpPr/>
          <p:nvPr/>
        </p:nvSpPr>
        <p:spPr>
          <a:xfrm>
            <a:off x="304177" y="1344700"/>
            <a:ext cx="2023780" cy="416110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27" name="Скругленный прямоугольник 4"/>
          <p:cNvSpPr/>
          <p:nvPr/>
        </p:nvSpPr>
        <p:spPr>
          <a:xfrm>
            <a:off x="358140" y="1343947"/>
            <a:ext cx="1967416" cy="419845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84670" tIns="84670" rIns="84670" bIns="84670" numCol="1" spcCol="1270" anchor="ctr" anchorCtr="0">
            <a:noAutofit/>
          </a:bodyPr>
          <a:lstStyle/>
          <a:p>
            <a:pPr marL="0" marR="0" lvl="0" indent="0" algn="ctr" defTabSz="98783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бъем закупок у субъектов МСП </a:t>
            </a:r>
          </a:p>
          <a:p>
            <a:pPr marL="0" marR="0" lvl="0" indent="0" algn="ctr" defTabSz="98783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млрд руб.)</a:t>
            </a:r>
          </a:p>
        </p:txBody>
      </p:sp>
      <p:sp>
        <p:nvSpPr>
          <p:cNvPr id="148" name="Прямоугольник 147"/>
          <p:cNvSpPr/>
          <p:nvPr/>
        </p:nvSpPr>
        <p:spPr>
          <a:xfrm>
            <a:off x="412204" y="2902470"/>
            <a:ext cx="6147424" cy="406586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1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just" defTabSz="3628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9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5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 2018 </a:t>
            </a:r>
            <a:r>
              <a:rPr kumimoji="0" lang="ru-RU" sz="135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году   </a:t>
            </a:r>
            <a:r>
              <a:rPr kumimoji="0" lang="ru-RU" sz="135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увеличение </a:t>
            </a:r>
            <a:r>
              <a:rPr kumimoji="0" lang="ru-RU" sz="135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 </a:t>
            </a:r>
            <a:r>
              <a:rPr kumimoji="0" lang="ru-RU" sz="1350" b="1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бъема   закупок   у   субъектов   МСП   в   моногородах</a:t>
            </a:r>
            <a:endParaRPr kumimoji="0" lang="ru-RU" sz="1350" b="1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just" defTabSz="3628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9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50" b="1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   сравнению   </a:t>
            </a:r>
            <a:r>
              <a:rPr kumimoji="0" lang="ru-RU" sz="135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 </a:t>
            </a:r>
            <a:r>
              <a:rPr kumimoji="0" lang="ru-RU" sz="1350" b="1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 2017   годом   </a:t>
            </a:r>
            <a:r>
              <a:rPr kumimoji="0" lang="ru-RU" sz="135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оставило   </a:t>
            </a:r>
            <a:r>
              <a:rPr kumimoji="0" lang="ru-RU" sz="135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56,83</a:t>
            </a:r>
            <a:r>
              <a:rPr kumimoji="0" lang="ru-RU" sz="135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%    </a:t>
            </a:r>
            <a:r>
              <a:rPr kumimoji="0" lang="ru-RU" sz="135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</a:t>
            </a:r>
            <a:r>
              <a:rPr kumimoji="0" lang="ru-RU" sz="135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30,8 </a:t>
            </a:r>
            <a:r>
              <a:rPr kumimoji="0" lang="ru-RU" sz="135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млрд </a:t>
            </a:r>
            <a:r>
              <a:rPr kumimoji="0" lang="ru-RU" sz="135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ублей)</a:t>
            </a:r>
            <a:endParaRPr kumimoji="0" lang="ru-RU" sz="135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49" name="Скругленный прямоугольник 148"/>
          <p:cNvSpPr/>
          <p:nvPr/>
        </p:nvSpPr>
        <p:spPr>
          <a:xfrm>
            <a:off x="409921" y="2429886"/>
            <a:ext cx="480897" cy="371950"/>
          </a:xfrm>
          <a:prstGeom prst="roundRect">
            <a:avLst>
              <a:gd name="adj" fmla="val 0"/>
            </a:avLst>
          </a:prstGeom>
          <a:solidFill>
            <a:srgbClr val="9DC3E6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65" name="Скругленный прямоугольник 164"/>
          <p:cNvSpPr/>
          <p:nvPr/>
        </p:nvSpPr>
        <p:spPr>
          <a:xfrm>
            <a:off x="2387253" y="1341550"/>
            <a:ext cx="1899905" cy="416110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35" name="Скругленный прямоугольник 4"/>
          <p:cNvSpPr/>
          <p:nvPr/>
        </p:nvSpPr>
        <p:spPr>
          <a:xfrm>
            <a:off x="2367689" y="1354829"/>
            <a:ext cx="1939031" cy="419831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84670" tIns="84670" rIns="84670" bIns="84670" numCol="1" spcCol="1270" anchor="ctr" anchorCtr="0">
            <a:noAutofit/>
          </a:bodyPr>
          <a:lstStyle/>
          <a:p>
            <a:pPr marL="0" marR="0" lvl="0" indent="0" algn="ctr" defTabSz="98783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оличество </a:t>
            </a:r>
            <a:r>
              <a:rPr kumimoji="0" lang="ru-RU" sz="105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моногородов</a:t>
            </a:r>
            <a:endParaRPr kumimoji="0" lang="ru-RU" sz="105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98783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шт.)</a:t>
            </a:r>
          </a:p>
        </p:txBody>
      </p:sp>
      <p:sp>
        <p:nvSpPr>
          <p:cNvPr id="167" name="Скругленный прямоугольник 166"/>
          <p:cNvSpPr/>
          <p:nvPr/>
        </p:nvSpPr>
        <p:spPr>
          <a:xfrm>
            <a:off x="4346454" y="1337212"/>
            <a:ext cx="2007374" cy="416110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47" name="Скругленный прямоугольник 4"/>
          <p:cNvSpPr/>
          <p:nvPr/>
        </p:nvSpPr>
        <p:spPr>
          <a:xfrm>
            <a:off x="4417740" y="1346670"/>
            <a:ext cx="1917071" cy="386845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84670" tIns="84670" rIns="84670" bIns="84670" numCol="1" spcCol="1270" anchor="ctr" anchorCtr="0">
            <a:noAutofit/>
          </a:bodyPr>
          <a:lstStyle/>
          <a:p>
            <a:pPr marL="0" marR="0" lvl="0" indent="0" algn="ctr" defTabSz="98783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оличество Поставщиков </a:t>
            </a:r>
          </a:p>
          <a:p>
            <a:pPr marL="0" marR="0" lvl="0" indent="0" algn="ctr" defTabSz="98783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шт.)</a:t>
            </a:r>
            <a:endParaRPr kumimoji="0" lang="ru-RU" sz="105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68" name="Pentagon 35"/>
          <p:cNvSpPr/>
          <p:nvPr/>
        </p:nvSpPr>
        <p:spPr>
          <a:xfrm>
            <a:off x="6726655" y="1345890"/>
            <a:ext cx="882644" cy="345604"/>
          </a:xfrm>
          <a:prstGeom prst="homePlate">
            <a:avLst>
              <a:gd name="adj" fmla="val 22714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69" name="Pentagon 35"/>
          <p:cNvSpPr/>
          <p:nvPr/>
        </p:nvSpPr>
        <p:spPr>
          <a:xfrm>
            <a:off x="6706842" y="1343947"/>
            <a:ext cx="809294" cy="349960"/>
          </a:xfrm>
          <a:prstGeom prst="homePlate">
            <a:avLst>
              <a:gd name="adj" fmla="val 22714"/>
            </a:avLst>
          </a:prstGeom>
          <a:solidFill>
            <a:srgbClr val="A2C9F4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7 г.</a:t>
            </a:r>
          </a:p>
        </p:txBody>
      </p:sp>
      <p:sp>
        <p:nvSpPr>
          <p:cNvPr id="172" name="Pentagon 35"/>
          <p:cNvSpPr/>
          <p:nvPr/>
        </p:nvSpPr>
        <p:spPr>
          <a:xfrm>
            <a:off x="6734117" y="1793111"/>
            <a:ext cx="882644" cy="345604"/>
          </a:xfrm>
          <a:prstGeom prst="homePlate">
            <a:avLst>
              <a:gd name="adj" fmla="val 22714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209" name="Pentagon 35"/>
          <p:cNvSpPr/>
          <p:nvPr/>
        </p:nvSpPr>
        <p:spPr>
          <a:xfrm>
            <a:off x="6714304" y="1791168"/>
            <a:ext cx="809294" cy="349960"/>
          </a:xfrm>
          <a:prstGeom prst="homePlate">
            <a:avLst>
              <a:gd name="adj" fmla="val 22714"/>
            </a:avLst>
          </a:prstGeom>
          <a:solidFill>
            <a:srgbClr val="A2C9F4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8 г.</a:t>
            </a:r>
          </a:p>
        </p:txBody>
      </p:sp>
      <p:sp>
        <p:nvSpPr>
          <p:cNvPr id="216" name="Pentagon 35"/>
          <p:cNvSpPr/>
          <p:nvPr/>
        </p:nvSpPr>
        <p:spPr>
          <a:xfrm>
            <a:off x="6746468" y="2820352"/>
            <a:ext cx="882644" cy="345604"/>
          </a:xfrm>
          <a:prstGeom prst="homePlate">
            <a:avLst>
              <a:gd name="adj" fmla="val 22714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217" name="Pentagon 35"/>
          <p:cNvSpPr/>
          <p:nvPr/>
        </p:nvSpPr>
        <p:spPr>
          <a:xfrm>
            <a:off x="6726655" y="2818409"/>
            <a:ext cx="809294" cy="349960"/>
          </a:xfrm>
          <a:prstGeom prst="homePlate">
            <a:avLst>
              <a:gd name="adj" fmla="val 22714"/>
            </a:avLst>
          </a:prstGeom>
          <a:solidFill>
            <a:srgbClr val="A2C9F4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9 г.</a:t>
            </a:r>
          </a:p>
        </p:txBody>
      </p:sp>
      <p:sp>
        <p:nvSpPr>
          <p:cNvPr id="220" name="Скругленный прямоугольник 219"/>
          <p:cNvSpPr/>
          <p:nvPr/>
        </p:nvSpPr>
        <p:spPr>
          <a:xfrm>
            <a:off x="1697430" y="1726669"/>
            <a:ext cx="480897" cy="371950"/>
          </a:xfrm>
          <a:prstGeom prst="roundRect">
            <a:avLst>
              <a:gd name="adj" fmla="val 0"/>
            </a:avLst>
          </a:prstGeom>
          <a:solidFill>
            <a:srgbClr val="9DC3E6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22" name="Скругленный прямоугольник 6"/>
          <p:cNvSpPr/>
          <p:nvPr/>
        </p:nvSpPr>
        <p:spPr>
          <a:xfrm>
            <a:off x="1723373" y="1741652"/>
            <a:ext cx="429232" cy="341984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54431" tIns="54431" rIns="54431" bIns="54431" numCol="1" spcCol="1270" anchor="ctr" anchorCtr="0">
            <a:noAutofit/>
          </a:bodyPr>
          <a:lstStyle/>
          <a:p>
            <a:pPr marL="0" marR="0" lvl="0" indent="0" algn="ctr" defTabSz="6350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9 год</a:t>
            </a:r>
          </a:p>
          <a:p>
            <a:pPr marL="0" marR="0" lvl="0" indent="0" algn="ctr" defTabSz="6350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105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1,1</a:t>
            </a:r>
            <a:endParaRPr kumimoji="0" lang="ru-RU" sz="1050" b="1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219" name="Скругленный прямоугольник 218"/>
          <p:cNvSpPr/>
          <p:nvPr/>
        </p:nvSpPr>
        <p:spPr>
          <a:xfrm>
            <a:off x="1265127" y="1960603"/>
            <a:ext cx="481163" cy="380963"/>
          </a:xfrm>
          <a:prstGeom prst="roundRect">
            <a:avLst>
              <a:gd name="adj" fmla="val 0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33" name="Скругленный прямоугольник 6"/>
          <p:cNvSpPr/>
          <p:nvPr/>
        </p:nvSpPr>
        <p:spPr>
          <a:xfrm>
            <a:off x="1255525" y="1934196"/>
            <a:ext cx="501248" cy="441341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54431" tIns="54431" rIns="54431" bIns="54431" numCol="1" spcCol="1270" anchor="ctr" anchorCtr="0">
            <a:noAutofit/>
          </a:bodyPr>
          <a:lstStyle/>
          <a:p>
            <a:pPr marL="0" marR="0" lvl="0" indent="0" algn="ctr" defTabSz="6350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8 </a:t>
            </a:r>
            <a:r>
              <a:rPr kumimoji="0" lang="ru-RU" sz="7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год</a:t>
            </a:r>
          </a:p>
          <a:p>
            <a:pPr marL="0" marR="0" lvl="0" indent="0" algn="ctr" defTabSz="6350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105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85,0</a:t>
            </a:r>
          </a:p>
        </p:txBody>
      </p:sp>
      <p:sp>
        <p:nvSpPr>
          <p:cNvPr id="218" name="Скругленный прямоугольник 217"/>
          <p:cNvSpPr/>
          <p:nvPr/>
        </p:nvSpPr>
        <p:spPr>
          <a:xfrm>
            <a:off x="839302" y="2186968"/>
            <a:ext cx="480897" cy="371950"/>
          </a:xfrm>
          <a:prstGeom prst="roundRect">
            <a:avLst>
              <a:gd name="adj" fmla="val 0"/>
            </a:avLst>
          </a:prstGeom>
          <a:solidFill>
            <a:srgbClr val="9DC3E6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50" name="Скругленный прямоугольник 6"/>
          <p:cNvSpPr/>
          <p:nvPr/>
        </p:nvSpPr>
        <p:spPr>
          <a:xfrm>
            <a:off x="868274" y="2207915"/>
            <a:ext cx="429232" cy="341984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54431" tIns="54431" rIns="54431" bIns="54431" numCol="1" spcCol="1270" anchor="ctr" anchorCtr="0">
            <a:noAutofit/>
          </a:bodyPr>
          <a:lstStyle/>
          <a:p>
            <a:pPr marL="0" marR="0" lvl="0" indent="0" algn="ctr" defTabSz="6350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7 год</a:t>
            </a:r>
          </a:p>
          <a:p>
            <a:pPr marL="0" marR="0" lvl="0" indent="0" algn="ctr" defTabSz="6350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105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54,2</a:t>
            </a:r>
            <a:endParaRPr kumimoji="0" lang="ru-RU" sz="1050" b="1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59" name="Скругленный прямоугольник 158"/>
          <p:cNvSpPr/>
          <p:nvPr/>
        </p:nvSpPr>
        <p:spPr>
          <a:xfrm>
            <a:off x="409656" y="2426654"/>
            <a:ext cx="481163" cy="380963"/>
          </a:xfrm>
          <a:prstGeom prst="roundRect">
            <a:avLst>
              <a:gd name="adj" fmla="val 0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60" name="Скругленный прямоугольник 6"/>
          <p:cNvSpPr/>
          <p:nvPr/>
        </p:nvSpPr>
        <p:spPr>
          <a:xfrm>
            <a:off x="310227" y="2490605"/>
            <a:ext cx="657167" cy="225556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54431" tIns="54431" rIns="54431" bIns="54431" numCol="1" spcCol="1270" anchor="ctr" anchorCtr="0">
            <a:noAutofit/>
          </a:bodyPr>
          <a:lstStyle/>
          <a:p>
            <a:pPr marL="0" marR="0" lvl="0" indent="0" algn="ctr" defTabSz="6350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6 </a:t>
            </a:r>
            <a:r>
              <a:rPr kumimoji="0" lang="ru-RU" sz="7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год</a:t>
            </a:r>
          </a:p>
          <a:p>
            <a:pPr marL="0" marR="0" lvl="0" indent="0" algn="ctr" defTabSz="6350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105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9,9</a:t>
            </a:r>
          </a:p>
        </p:txBody>
      </p:sp>
      <p:sp>
        <p:nvSpPr>
          <p:cNvPr id="232" name="Скругленный прямоугольник 231"/>
          <p:cNvSpPr/>
          <p:nvPr/>
        </p:nvSpPr>
        <p:spPr>
          <a:xfrm>
            <a:off x="2433028" y="2426997"/>
            <a:ext cx="480897" cy="371950"/>
          </a:xfrm>
          <a:prstGeom prst="roundRect">
            <a:avLst>
              <a:gd name="adj" fmla="val 0"/>
            </a:avLst>
          </a:prstGeom>
          <a:solidFill>
            <a:srgbClr val="9DC3E6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33" name="Скругленный прямоугольник 232"/>
          <p:cNvSpPr/>
          <p:nvPr/>
        </p:nvSpPr>
        <p:spPr>
          <a:xfrm>
            <a:off x="3720537" y="1723780"/>
            <a:ext cx="480897" cy="371950"/>
          </a:xfrm>
          <a:prstGeom prst="roundRect">
            <a:avLst>
              <a:gd name="adj" fmla="val 0"/>
            </a:avLst>
          </a:prstGeom>
          <a:solidFill>
            <a:srgbClr val="9DC3E6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34" name="Скругленный прямоугольник 6"/>
          <p:cNvSpPr/>
          <p:nvPr/>
        </p:nvSpPr>
        <p:spPr>
          <a:xfrm>
            <a:off x="3746480" y="1738763"/>
            <a:ext cx="429232" cy="341984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54431" tIns="54431" rIns="54431" bIns="54431" numCol="1" spcCol="1270" anchor="ctr" anchorCtr="0">
            <a:noAutofit/>
          </a:bodyPr>
          <a:lstStyle/>
          <a:p>
            <a:pPr marL="0" marR="0" lvl="0" indent="0" algn="ctr" defTabSz="6350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9 </a:t>
            </a:r>
            <a:r>
              <a:rPr kumimoji="0" lang="ru-RU" sz="7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год</a:t>
            </a:r>
          </a:p>
          <a:p>
            <a:pPr marL="0" marR="0" lvl="0" indent="0" algn="ctr" defTabSz="6350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105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0</a:t>
            </a:r>
            <a:endParaRPr kumimoji="0" lang="ru-RU" sz="1050" b="1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235" name="Скругленный прямоугольник 234"/>
          <p:cNvSpPr/>
          <p:nvPr/>
        </p:nvSpPr>
        <p:spPr>
          <a:xfrm>
            <a:off x="3288234" y="1957714"/>
            <a:ext cx="481163" cy="380963"/>
          </a:xfrm>
          <a:prstGeom prst="roundRect">
            <a:avLst>
              <a:gd name="adj" fmla="val 0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36" name="Скругленный прямоугольник 6"/>
          <p:cNvSpPr/>
          <p:nvPr/>
        </p:nvSpPr>
        <p:spPr>
          <a:xfrm>
            <a:off x="3278632" y="1931307"/>
            <a:ext cx="501248" cy="441341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54431" tIns="54431" rIns="54431" bIns="54431" numCol="1" spcCol="1270" anchor="ctr" anchorCtr="0">
            <a:noAutofit/>
          </a:bodyPr>
          <a:lstStyle/>
          <a:p>
            <a:pPr marL="0" marR="0" lvl="0" indent="0" algn="ctr" defTabSz="6350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8 год</a:t>
            </a:r>
          </a:p>
          <a:p>
            <a:pPr marL="0" marR="0" lvl="0" indent="0" algn="ctr" defTabSz="6350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105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48</a:t>
            </a:r>
          </a:p>
        </p:txBody>
      </p:sp>
      <p:sp>
        <p:nvSpPr>
          <p:cNvPr id="237" name="Скругленный прямоугольник 236"/>
          <p:cNvSpPr/>
          <p:nvPr/>
        </p:nvSpPr>
        <p:spPr>
          <a:xfrm>
            <a:off x="2862409" y="2184079"/>
            <a:ext cx="480897" cy="371950"/>
          </a:xfrm>
          <a:prstGeom prst="roundRect">
            <a:avLst>
              <a:gd name="adj" fmla="val 0"/>
            </a:avLst>
          </a:prstGeom>
          <a:solidFill>
            <a:srgbClr val="9DC3E6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38" name="Скругленный прямоугольник 6"/>
          <p:cNvSpPr/>
          <p:nvPr/>
        </p:nvSpPr>
        <p:spPr>
          <a:xfrm>
            <a:off x="2891381" y="2205026"/>
            <a:ext cx="429232" cy="341984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54431" tIns="54431" rIns="54431" bIns="54431" numCol="1" spcCol="1270" anchor="ctr" anchorCtr="0">
            <a:noAutofit/>
          </a:bodyPr>
          <a:lstStyle/>
          <a:p>
            <a:pPr marL="0" marR="0" lvl="0" indent="0" algn="ctr" defTabSz="6350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7 год</a:t>
            </a:r>
          </a:p>
          <a:p>
            <a:pPr marL="0" marR="0" lvl="0" indent="0" algn="ctr" defTabSz="6350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105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82</a:t>
            </a:r>
          </a:p>
        </p:txBody>
      </p:sp>
      <p:sp>
        <p:nvSpPr>
          <p:cNvPr id="239" name="Скругленный прямоугольник 238"/>
          <p:cNvSpPr/>
          <p:nvPr/>
        </p:nvSpPr>
        <p:spPr>
          <a:xfrm>
            <a:off x="2432763" y="2423765"/>
            <a:ext cx="481163" cy="380963"/>
          </a:xfrm>
          <a:prstGeom prst="roundRect">
            <a:avLst>
              <a:gd name="adj" fmla="val 0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40" name="Скругленный прямоугольник 6"/>
          <p:cNvSpPr/>
          <p:nvPr/>
        </p:nvSpPr>
        <p:spPr>
          <a:xfrm>
            <a:off x="2333334" y="2487716"/>
            <a:ext cx="657167" cy="225556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54431" tIns="54431" rIns="54431" bIns="54431" numCol="1" spcCol="1270" anchor="ctr" anchorCtr="0">
            <a:noAutofit/>
          </a:bodyPr>
          <a:lstStyle/>
          <a:p>
            <a:pPr marL="0" marR="0" lvl="0" indent="0" algn="ctr" defTabSz="6350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6 год</a:t>
            </a:r>
          </a:p>
          <a:p>
            <a:pPr marL="0" marR="0" lvl="0" indent="0" algn="ctr" defTabSz="6350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105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71</a:t>
            </a:r>
          </a:p>
        </p:txBody>
      </p:sp>
      <p:sp>
        <p:nvSpPr>
          <p:cNvPr id="241" name="Скругленный прямоугольник 240"/>
          <p:cNvSpPr/>
          <p:nvPr/>
        </p:nvSpPr>
        <p:spPr>
          <a:xfrm>
            <a:off x="4473505" y="2423027"/>
            <a:ext cx="480897" cy="371950"/>
          </a:xfrm>
          <a:prstGeom prst="roundRect">
            <a:avLst>
              <a:gd name="adj" fmla="val 0"/>
            </a:avLst>
          </a:prstGeom>
          <a:solidFill>
            <a:srgbClr val="9DC3E6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42" name="Скругленный прямоугольник 241"/>
          <p:cNvSpPr/>
          <p:nvPr/>
        </p:nvSpPr>
        <p:spPr>
          <a:xfrm>
            <a:off x="5761014" y="1719810"/>
            <a:ext cx="480897" cy="371950"/>
          </a:xfrm>
          <a:prstGeom prst="roundRect">
            <a:avLst>
              <a:gd name="adj" fmla="val 0"/>
            </a:avLst>
          </a:prstGeom>
          <a:solidFill>
            <a:srgbClr val="9DC3E6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43" name="Скругленный прямоугольник 6"/>
          <p:cNvSpPr/>
          <p:nvPr/>
        </p:nvSpPr>
        <p:spPr>
          <a:xfrm>
            <a:off x="5786957" y="1734793"/>
            <a:ext cx="429232" cy="341984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54431" tIns="54431" rIns="54431" bIns="54431" numCol="1" spcCol="1270" anchor="ctr" anchorCtr="0">
            <a:noAutofit/>
          </a:bodyPr>
          <a:lstStyle/>
          <a:p>
            <a:pPr marL="0" marR="0" lvl="0" indent="0" algn="ctr" defTabSz="6350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9 год</a:t>
            </a:r>
          </a:p>
          <a:p>
            <a:pPr marL="0" marR="0" lvl="0" indent="0" algn="ctr" defTabSz="6350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 172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244" name="Скругленный прямоугольник 243"/>
          <p:cNvSpPr/>
          <p:nvPr/>
        </p:nvSpPr>
        <p:spPr>
          <a:xfrm>
            <a:off x="5328711" y="1953744"/>
            <a:ext cx="481163" cy="380963"/>
          </a:xfrm>
          <a:prstGeom prst="roundRect">
            <a:avLst>
              <a:gd name="adj" fmla="val 0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45" name="Скругленный прямоугольник 6"/>
          <p:cNvSpPr/>
          <p:nvPr/>
        </p:nvSpPr>
        <p:spPr>
          <a:xfrm>
            <a:off x="5319109" y="1927337"/>
            <a:ext cx="501248" cy="441341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54431" tIns="54431" rIns="54431" bIns="54431" numCol="1" spcCol="1270" anchor="ctr" anchorCtr="0">
            <a:noAutofit/>
          </a:bodyPr>
          <a:lstStyle/>
          <a:p>
            <a:pPr marL="0" marR="0" lvl="0" indent="0" algn="ctr" defTabSz="6350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8 год</a:t>
            </a:r>
          </a:p>
          <a:p>
            <a:pPr marL="0" marR="0" lvl="0" indent="0" algn="ctr" defTabSz="6350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105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4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105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491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246" name="Скругленный прямоугольник 245"/>
          <p:cNvSpPr/>
          <p:nvPr/>
        </p:nvSpPr>
        <p:spPr>
          <a:xfrm>
            <a:off x="4902886" y="2180109"/>
            <a:ext cx="480897" cy="371950"/>
          </a:xfrm>
          <a:prstGeom prst="roundRect">
            <a:avLst>
              <a:gd name="adj" fmla="val 0"/>
            </a:avLst>
          </a:prstGeom>
          <a:solidFill>
            <a:srgbClr val="9DC3E6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47" name="Скругленный прямоугольник 6"/>
          <p:cNvSpPr/>
          <p:nvPr/>
        </p:nvSpPr>
        <p:spPr>
          <a:xfrm>
            <a:off x="4913533" y="2183143"/>
            <a:ext cx="471738" cy="341984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54431" tIns="54431" rIns="54431" bIns="54431" numCol="1" spcCol="1270" anchor="ctr" anchorCtr="0">
            <a:noAutofit/>
          </a:bodyPr>
          <a:lstStyle/>
          <a:p>
            <a:pPr marL="0" marR="0" lvl="0" indent="0" algn="ctr" defTabSz="6350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7 год</a:t>
            </a:r>
          </a:p>
          <a:p>
            <a:pPr marL="0" marR="0" lvl="0" indent="0" algn="ctr" defTabSz="6350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 649</a:t>
            </a:r>
          </a:p>
        </p:txBody>
      </p:sp>
      <p:sp>
        <p:nvSpPr>
          <p:cNvPr id="248" name="Скругленный прямоугольник 247"/>
          <p:cNvSpPr/>
          <p:nvPr/>
        </p:nvSpPr>
        <p:spPr>
          <a:xfrm>
            <a:off x="4473240" y="2419795"/>
            <a:ext cx="481163" cy="380963"/>
          </a:xfrm>
          <a:prstGeom prst="roundRect">
            <a:avLst>
              <a:gd name="adj" fmla="val 0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49" name="Скругленный прямоугольник 6"/>
          <p:cNvSpPr/>
          <p:nvPr/>
        </p:nvSpPr>
        <p:spPr>
          <a:xfrm>
            <a:off x="4373811" y="2483746"/>
            <a:ext cx="657167" cy="225556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54431" tIns="54431" rIns="54431" bIns="54431" numCol="1" spcCol="1270" anchor="ctr" anchorCtr="0">
            <a:noAutofit/>
          </a:bodyPr>
          <a:lstStyle/>
          <a:p>
            <a:pPr marL="0" marR="0" lvl="0" indent="0" algn="ctr" defTabSz="6350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6 год</a:t>
            </a:r>
          </a:p>
          <a:p>
            <a:pPr marL="0" marR="0" lvl="0" indent="0" algn="ctr" defTabSz="6350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 312</a:t>
            </a:r>
          </a:p>
        </p:txBody>
      </p:sp>
    </p:spTree>
    <p:extLst>
      <p:ext uri="{BB962C8B-B14F-4D97-AF65-F5344CB8AC3E}">
        <p14:creationId xmlns:p14="http://schemas.microsoft.com/office/powerpoint/2010/main" val="10044596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/>
          <p:cNvSpPr txBox="1"/>
          <p:nvPr/>
        </p:nvSpPr>
        <p:spPr>
          <a:xfrm>
            <a:off x="3785177" y="-15678"/>
            <a:ext cx="8847748" cy="915716"/>
          </a:xfrm>
          <a:prstGeom prst="rect">
            <a:avLst/>
          </a:prstGeom>
          <a:noFill/>
        </p:spPr>
        <p:txBody>
          <a:bodyPr wrap="square" lIns="59057" tIns="29528" rIns="0" bIns="29528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Tahoma" pitchFamily="34" charset="0"/>
                <a:cs typeface="Tahoma" pitchFamily="34" charset="0"/>
              </a:rPr>
              <a:t>Услуги Корпорации через </a:t>
            </a:r>
            <a:r>
              <a:rPr kumimoji="0" lang="ru-RU" alt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Tahoma" pitchFamily="34" charset="0"/>
                <a:cs typeface="Tahoma" pitchFamily="34" charset="0"/>
              </a:rPr>
              <a:t>МФЦ, иные организации поддержки </a:t>
            </a:r>
            <a:endParaRPr kumimoji="0" lang="ru-RU" altLang="ru-RU" sz="2000" b="1" i="0" u="none" strike="noStrike" kern="1200" cap="none" spc="0" normalizeH="0" baseline="0" noProof="0" dirty="0" smtClean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Tahoma" pitchFamily="34" charset="0"/>
              <a:cs typeface="Tahoma" pitchFamily="34" charset="0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Tahoma" pitchFamily="34" charset="0"/>
                <a:cs typeface="Tahoma" pitchFamily="34" charset="0"/>
              </a:rPr>
              <a:t>субъектов </a:t>
            </a:r>
            <a:r>
              <a:rPr kumimoji="0" lang="ru-RU" alt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Tahoma" pitchFamily="34" charset="0"/>
                <a:cs typeface="Tahoma" pitchFamily="34" charset="0"/>
              </a:rPr>
              <a:t>МСП и в электронной форме. </a:t>
            </a:r>
            <a:endParaRPr kumimoji="0" lang="ru-RU" altLang="ru-RU" sz="2000" b="1" i="0" u="none" strike="noStrike" kern="1200" cap="none" spc="0" normalizeH="0" baseline="0" noProof="0" dirty="0" smtClean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Tahoma" pitchFamily="34" charset="0"/>
              <a:cs typeface="Tahoma" pitchFamily="34" charset="0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Tahoma" pitchFamily="34" charset="0"/>
                <a:cs typeface="Tahoma" pitchFamily="34" charset="0"/>
              </a:rPr>
              <a:t>Имущественная поддержка </a:t>
            </a:r>
            <a:endParaRPr kumimoji="0" lang="ru-RU" altLang="ru-RU" sz="2000" b="0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88" name="TextBox 87"/>
          <p:cNvSpPr txBox="1"/>
          <p:nvPr/>
        </p:nvSpPr>
        <p:spPr>
          <a:xfrm>
            <a:off x="6702330" y="958279"/>
            <a:ext cx="5610320" cy="877163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7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нформация об </a:t>
            </a:r>
            <a:r>
              <a:rPr kumimoji="0" lang="ru-RU" sz="17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муществе, содержащемся в перечнях </a:t>
            </a:r>
            <a:r>
              <a:rPr kumimoji="0" lang="ru-RU" sz="17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государственного </a:t>
            </a:r>
            <a:r>
              <a:rPr kumimoji="0" lang="ru-RU" sz="17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 </a:t>
            </a:r>
            <a:r>
              <a:rPr kumimoji="0" lang="ru-RU" sz="17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муниципального </a:t>
            </a:r>
            <a:r>
              <a:rPr kumimoji="0" lang="ru-RU" sz="17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мущества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7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ля </a:t>
            </a:r>
            <a:r>
              <a:rPr kumimoji="0" lang="ru-RU" sz="17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убъектов </a:t>
            </a:r>
            <a:r>
              <a:rPr kumimoji="0" lang="ru-RU" sz="17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МСП* (на 13.05.2019)</a:t>
            </a:r>
            <a:endParaRPr kumimoji="0" lang="ru-RU" sz="17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17" name="Pentagon 35"/>
          <p:cNvSpPr/>
          <p:nvPr/>
        </p:nvSpPr>
        <p:spPr>
          <a:xfrm>
            <a:off x="6736345" y="2597582"/>
            <a:ext cx="882644" cy="345604"/>
          </a:xfrm>
          <a:prstGeom prst="homePlate">
            <a:avLst>
              <a:gd name="adj" fmla="val 22714"/>
            </a:avLst>
          </a:prstGeom>
          <a:solidFill>
            <a:schemeClr val="accent1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18" name="Pentagon 35"/>
          <p:cNvSpPr/>
          <p:nvPr/>
        </p:nvSpPr>
        <p:spPr>
          <a:xfrm>
            <a:off x="6716532" y="2595639"/>
            <a:ext cx="809294" cy="349960"/>
          </a:xfrm>
          <a:prstGeom prst="homePlate">
            <a:avLst>
              <a:gd name="adj" fmla="val 22714"/>
            </a:avLst>
          </a:prstGeom>
          <a:solidFill>
            <a:schemeClr val="accent1">
              <a:lumMod val="5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7 </a:t>
            </a:r>
            <a:r>
              <a:rPr kumimoji="0" lang="ru-RU" sz="1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г.</a:t>
            </a:r>
          </a:p>
        </p:txBody>
      </p:sp>
      <p:sp>
        <p:nvSpPr>
          <p:cNvPr id="119" name="Прямоугольник 118"/>
          <p:cNvSpPr/>
          <p:nvPr/>
        </p:nvSpPr>
        <p:spPr>
          <a:xfrm>
            <a:off x="7726292" y="2014710"/>
            <a:ext cx="4691372" cy="4568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noAutofit/>
          </a:bodyPr>
          <a:lstStyle/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</a:t>
            </a:r>
            <a:r>
              <a:rPr kumimoji="0" lang="ru-RU" sz="135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перечни государственного и муниципального имущества включено               </a:t>
            </a:r>
            <a:r>
              <a:rPr kumimoji="0" lang="ru-RU" sz="135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8 479 </a:t>
            </a:r>
            <a:r>
              <a:rPr kumimoji="0" lang="ru-RU" sz="135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бъектов имущества</a:t>
            </a:r>
            <a:endParaRPr kumimoji="0" lang="ru-RU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20" name="Прямоугольник 119"/>
          <p:cNvSpPr/>
          <p:nvPr/>
        </p:nvSpPr>
        <p:spPr>
          <a:xfrm>
            <a:off x="7726292" y="2530493"/>
            <a:ext cx="4691372" cy="4626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noAutofit/>
          </a:bodyPr>
          <a:lstStyle/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 перечни государственного и муниципального имущества включено               </a:t>
            </a:r>
            <a:r>
              <a:rPr kumimoji="0" lang="ru-RU" sz="135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41 494 </a:t>
            </a:r>
            <a:r>
              <a:rPr kumimoji="0" lang="ru-RU" sz="135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бъекта имущества</a:t>
            </a:r>
            <a:endParaRPr kumimoji="0" lang="ru-RU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21" name="Прямоугольник 120"/>
          <p:cNvSpPr/>
          <p:nvPr/>
        </p:nvSpPr>
        <p:spPr>
          <a:xfrm>
            <a:off x="7745965" y="3086056"/>
            <a:ext cx="4691372" cy="5118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noAutofit/>
          </a:bodyPr>
          <a:lstStyle/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 </a:t>
            </a:r>
            <a:r>
              <a:rPr kumimoji="0" lang="ru-RU" sz="135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еречни государственного и муниципального имущества включено               </a:t>
            </a:r>
            <a:r>
              <a:rPr kumimoji="0" lang="ru-RU" sz="135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54 139 </a:t>
            </a:r>
            <a:r>
              <a:rPr kumimoji="0" lang="ru-RU" sz="135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бъектов имущества</a:t>
            </a:r>
            <a:endParaRPr kumimoji="0" lang="ru-RU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22" name="Pentagon 35"/>
          <p:cNvSpPr/>
          <p:nvPr/>
        </p:nvSpPr>
        <p:spPr>
          <a:xfrm>
            <a:off x="6745199" y="3150995"/>
            <a:ext cx="882644" cy="345604"/>
          </a:xfrm>
          <a:prstGeom prst="homePlate">
            <a:avLst>
              <a:gd name="adj" fmla="val 22714"/>
            </a:avLst>
          </a:prstGeom>
          <a:solidFill>
            <a:schemeClr val="accent1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23" name="Pentagon 35"/>
          <p:cNvSpPr/>
          <p:nvPr/>
        </p:nvSpPr>
        <p:spPr>
          <a:xfrm>
            <a:off x="6725386" y="3149052"/>
            <a:ext cx="809294" cy="349960"/>
          </a:xfrm>
          <a:prstGeom prst="homePlate">
            <a:avLst>
              <a:gd name="adj" fmla="val 22714"/>
            </a:avLst>
          </a:prstGeom>
          <a:solidFill>
            <a:schemeClr val="accent1">
              <a:lumMod val="5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8 </a:t>
            </a:r>
            <a:r>
              <a:rPr kumimoji="0" lang="ru-RU" sz="1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г.</a:t>
            </a:r>
          </a:p>
        </p:txBody>
      </p:sp>
      <p:sp>
        <p:nvSpPr>
          <p:cNvPr id="124" name="Pentagon 35"/>
          <p:cNvSpPr/>
          <p:nvPr/>
        </p:nvSpPr>
        <p:spPr>
          <a:xfrm>
            <a:off x="6745059" y="3697450"/>
            <a:ext cx="882644" cy="345604"/>
          </a:xfrm>
          <a:prstGeom prst="homePlate">
            <a:avLst>
              <a:gd name="adj" fmla="val 22714"/>
            </a:avLst>
          </a:prstGeom>
          <a:solidFill>
            <a:schemeClr val="accent1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25" name="Pentagon 35"/>
          <p:cNvSpPr/>
          <p:nvPr/>
        </p:nvSpPr>
        <p:spPr>
          <a:xfrm>
            <a:off x="6725246" y="3695507"/>
            <a:ext cx="809294" cy="349960"/>
          </a:xfrm>
          <a:prstGeom prst="homePlate">
            <a:avLst>
              <a:gd name="adj" fmla="val 22714"/>
            </a:avLst>
          </a:prstGeom>
          <a:solidFill>
            <a:schemeClr val="accent1">
              <a:lumMod val="5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9 </a:t>
            </a:r>
            <a:r>
              <a:rPr kumimoji="0" lang="ru-RU" sz="1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г.</a:t>
            </a:r>
          </a:p>
        </p:txBody>
      </p:sp>
      <p:sp>
        <p:nvSpPr>
          <p:cNvPr id="128" name="Прямоугольник 127"/>
          <p:cNvSpPr/>
          <p:nvPr/>
        </p:nvSpPr>
        <p:spPr>
          <a:xfrm>
            <a:off x="6713087" y="7521073"/>
            <a:ext cx="5616670" cy="822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noAutofit/>
          </a:bodyPr>
          <a:lstStyle/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1" u="none" strike="noStrike" kern="1200" cap="none" spc="0" normalizeH="0" baseline="0" noProof="0" dirty="0" smtClean="0">
                <a:ln>
                  <a:noFill/>
                </a:ln>
                <a:solidFill>
                  <a:srgbClr val="69696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* Сведения об имуществе, содержащемся в перечнях 2016-2017 гг., указаны на начало отчетного периода; </a:t>
            </a:r>
            <a:endParaRPr kumimoji="0" lang="ru-RU" sz="1100" b="0" i="1" u="none" strike="noStrike" kern="1200" cap="none" spc="0" normalizeH="0" baseline="0" noProof="0" dirty="0">
              <a:ln>
                <a:noFill/>
              </a:ln>
              <a:solidFill>
                <a:srgbClr val="696969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1" u="none" strike="noStrike" kern="1200" cap="none" spc="0" normalizeH="0" baseline="0" noProof="0" dirty="0" smtClean="0">
                <a:ln>
                  <a:noFill/>
                </a:ln>
                <a:solidFill>
                  <a:srgbClr val="69696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** Учет начат с 2018 года АО «Корпорация «МСП» в инициативном порядке</a:t>
            </a:r>
            <a:endParaRPr kumimoji="0" lang="ru-RU" sz="1100" b="0" i="1" u="none" strike="noStrike" kern="1200" cap="none" spc="0" normalizeH="0" baseline="0" noProof="0" dirty="0">
              <a:ln>
                <a:noFill/>
              </a:ln>
              <a:solidFill>
                <a:srgbClr val="696969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54" name="Pentagon 35"/>
          <p:cNvSpPr/>
          <p:nvPr/>
        </p:nvSpPr>
        <p:spPr>
          <a:xfrm>
            <a:off x="6736345" y="2034997"/>
            <a:ext cx="882644" cy="345604"/>
          </a:xfrm>
          <a:prstGeom prst="homePlate">
            <a:avLst>
              <a:gd name="adj" fmla="val 22714"/>
            </a:avLst>
          </a:prstGeom>
          <a:solidFill>
            <a:schemeClr val="accent1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55" name="Pentagon 35"/>
          <p:cNvSpPr/>
          <p:nvPr/>
        </p:nvSpPr>
        <p:spPr>
          <a:xfrm>
            <a:off x="6716532" y="2033054"/>
            <a:ext cx="809294" cy="349960"/>
          </a:xfrm>
          <a:prstGeom prst="homePlate">
            <a:avLst>
              <a:gd name="adj" fmla="val 22714"/>
            </a:avLst>
          </a:prstGeom>
          <a:solidFill>
            <a:schemeClr val="accent1">
              <a:lumMod val="5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6 г.</a:t>
            </a:r>
          </a:p>
        </p:txBody>
      </p:sp>
      <p:sp>
        <p:nvSpPr>
          <p:cNvPr id="57" name="TextBox 56"/>
          <p:cNvSpPr txBox="1"/>
          <p:nvPr/>
        </p:nvSpPr>
        <p:spPr>
          <a:xfrm>
            <a:off x="6626710" y="4645423"/>
            <a:ext cx="5876005" cy="542010"/>
          </a:xfrm>
          <a:prstGeom prst="rect">
            <a:avLst/>
          </a:prstGeom>
          <a:solidFill>
            <a:schemeClr val="bg1"/>
          </a:solidFill>
        </p:spPr>
        <p:txBody>
          <a:bodyPr wrap="square" lIns="0" rtlCol="0" anchor="ctr" anchorCtr="0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000" b="1" i="0" u="none" strike="noStrike" cap="none" spc="0" normalizeH="0" baseline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</a:defRPr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ЕДОСТАВЛЕННОЕ В АРЕНДУ СУБЪЕКТАМ МСП ИМУЩЕСТВО**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cxnSp>
        <p:nvCxnSpPr>
          <p:cNvPr id="58" name="Прямая соединительная линия 57"/>
          <p:cNvCxnSpPr/>
          <p:nvPr/>
        </p:nvCxnSpPr>
        <p:spPr>
          <a:xfrm>
            <a:off x="6767226" y="5062988"/>
            <a:ext cx="554542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Скругленный прямоугольник 59"/>
          <p:cNvSpPr/>
          <p:nvPr/>
        </p:nvSpPr>
        <p:spPr>
          <a:xfrm>
            <a:off x="6823721" y="5212841"/>
            <a:ext cx="1496009" cy="523593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МУЩЕСТВО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УБЪЕКТОВ РФ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61" name="Скругленный прямоугольник 60"/>
          <p:cNvSpPr/>
          <p:nvPr/>
        </p:nvSpPr>
        <p:spPr>
          <a:xfrm>
            <a:off x="8819964" y="5213270"/>
            <a:ext cx="1496009" cy="523593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МУНИЦИПАЛЬНОЕ ИМУЩЕСТВО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62" name="Скругленный прямоугольник 61"/>
          <p:cNvSpPr/>
          <p:nvPr/>
        </p:nvSpPr>
        <p:spPr>
          <a:xfrm>
            <a:off x="10861159" y="5210203"/>
            <a:ext cx="1451491" cy="523593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ФЕДЕРАЛЬНОЕ ИМУЩЕСТВО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64" name="Скругленный прямоугольник 63"/>
          <p:cNvSpPr/>
          <p:nvPr/>
        </p:nvSpPr>
        <p:spPr>
          <a:xfrm>
            <a:off x="7110126" y="6317510"/>
            <a:ext cx="923198" cy="812076"/>
          </a:xfrm>
          <a:prstGeom prst="roundRect">
            <a:avLst>
              <a:gd name="adj" fmla="val 0"/>
            </a:avLst>
          </a:prstGeom>
          <a:solidFill>
            <a:srgbClr val="EDEDED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 anchorCtr="0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аренда</a:t>
            </a:r>
            <a:endParaRPr kumimoji="0" lang="ru-RU" sz="11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6 123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1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(69%)</a:t>
            </a:r>
            <a:endParaRPr kumimoji="0" lang="ru-RU" sz="16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2" name="Стрелка вниз 1"/>
          <p:cNvSpPr/>
          <p:nvPr/>
        </p:nvSpPr>
        <p:spPr>
          <a:xfrm>
            <a:off x="6803770" y="5876823"/>
            <a:ext cx="1520265" cy="416955"/>
          </a:xfrm>
          <a:prstGeom prst="downArrow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050" b="1" i="0" u="none" strike="noStrike" kern="1200" cap="none" spc="0" normalizeH="0" baseline="0" noProof="0" dirty="0" smtClean="0">
              <a:ln>
                <a:noFill/>
              </a:ln>
              <a:solidFill>
                <a:srgbClr val="1F4E79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00" b="1" i="0" u="none" strike="noStrike" kern="1200" cap="none" spc="0" normalizeH="0" baseline="0" noProof="0" dirty="0" smtClean="0">
              <a:ln>
                <a:noFill/>
              </a:ln>
              <a:solidFill>
                <a:srgbClr val="1F4E79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9 367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Стрелка вниз 3"/>
          <p:cNvSpPr/>
          <p:nvPr/>
        </p:nvSpPr>
        <p:spPr>
          <a:xfrm>
            <a:off x="7922635" y="4200398"/>
            <a:ext cx="3068310" cy="391826"/>
          </a:xfrm>
          <a:prstGeom prst="downArrow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9" name="Скругленный прямоугольник 58"/>
          <p:cNvSpPr/>
          <p:nvPr/>
        </p:nvSpPr>
        <p:spPr>
          <a:xfrm>
            <a:off x="9150851" y="6316200"/>
            <a:ext cx="923198" cy="812076"/>
          </a:xfrm>
          <a:prstGeom prst="roundRect">
            <a:avLst>
              <a:gd name="adj" fmla="val 0"/>
            </a:avLst>
          </a:prstGeom>
          <a:solidFill>
            <a:srgbClr val="EDEDED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 anchorCtr="0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аренда</a:t>
            </a:r>
            <a:endParaRPr kumimoji="0" lang="ru-RU" sz="11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4 285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1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(33%)</a:t>
            </a:r>
            <a:endParaRPr kumimoji="0" lang="ru-RU" sz="16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63" name="Стрелка вниз 62"/>
          <p:cNvSpPr/>
          <p:nvPr/>
        </p:nvSpPr>
        <p:spPr>
          <a:xfrm>
            <a:off x="8844495" y="5875513"/>
            <a:ext cx="1520265" cy="416955"/>
          </a:xfrm>
          <a:prstGeom prst="downArrow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050" b="1" i="0" u="none" strike="noStrike" kern="1200" cap="none" spc="0" normalizeH="0" baseline="0" noProof="0" dirty="0" smtClean="0">
              <a:ln>
                <a:noFill/>
              </a:ln>
              <a:solidFill>
                <a:srgbClr val="1F4E79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00" b="1" i="0" u="none" strike="noStrike" kern="1200" cap="none" spc="0" normalizeH="0" baseline="0" noProof="0" dirty="0" smtClean="0">
              <a:ln>
                <a:noFill/>
              </a:ln>
              <a:solidFill>
                <a:srgbClr val="1F4E79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44 592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6" name="Скругленный прямоугольник 65"/>
          <p:cNvSpPr/>
          <p:nvPr/>
        </p:nvSpPr>
        <p:spPr>
          <a:xfrm>
            <a:off x="11136537" y="6316200"/>
            <a:ext cx="923198" cy="812076"/>
          </a:xfrm>
          <a:prstGeom prst="roundRect">
            <a:avLst>
              <a:gd name="adj" fmla="val 0"/>
            </a:avLst>
          </a:prstGeom>
          <a:solidFill>
            <a:srgbClr val="EDEDED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 anchorCtr="0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аренда</a:t>
            </a:r>
            <a:endParaRPr kumimoji="0" lang="ru-RU" sz="11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63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1" u="none" strike="noStrike" kern="120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1600" b="1" i="1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20%)</a:t>
            </a:r>
            <a:endParaRPr kumimoji="0" lang="ru-RU" sz="16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68" name="Стрелка вниз 67"/>
          <p:cNvSpPr/>
          <p:nvPr/>
        </p:nvSpPr>
        <p:spPr>
          <a:xfrm>
            <a:off x="10840938" y="5875513"/>
            <a:ext cx="1520265" cy="416955"/>
          </a:xfrm>
          <a:prstGeom prst="downArrow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050" b="1" i="0" u="none" strike="noStrike" kern="1200" cap="none" spc="0" normalizeH="0" baseline="0" noProof="0" dirty="0" smtClean="0">
              <a:ln>
                <a:noFill/>
              </a:ln>
              <a:solidFill>
                <a:srgbClr val="1F4E79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00" b="1" i="0" u="none" strike="noStrike" kern="1200" cap="none" spc="0" normalizeH="0" baseline="0" noProof="0" dirty="0" smtClean="0">
              <a:ln>
                <a:noFill/>
              </a:ln>
              <a:solidFill>
                <a:srgbClr val="1F4E79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831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71" name="Рисунок 7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sp>
        <p:nvSpPr>
          <p:cNvPr id="73" name="Прямоугольник 72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1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pic>
        <p:nvPicPr>
          <p:cNvPr id="74" name="Рисунок 7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781083" y="62751"/>
            <a:ext cx="1538243" cy="779651"/>
          </a:xfrm>
          <a:prstGeom prst="rect">
            <a:avLst/>
          </a:prstGeom>
        </p:spPr>
      </p:pic>
      <p:sp>
        <p:nvSpPr>
          <p:cNvPr id="69" name="Прямоугольник 68"/>
          <p:cNvSpPr/>
          <p:nvPr/>
        </p:nvSpPr>
        <p:spPr>
          <a:xfrm>
            <a:off x="7769273" y="3604216"/>
            <a:ext cx="4691372" cy="5118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noAutofit/>
          </a:bodyPr>
          <a:lstStyle/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 </a:t>
            </a:r>
            <a:r>
              <a:rPr kumimoji="0" lang="ru-RU" sz="135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еречни государственного и муниципального имущества включено               </a:t>
            </a:r>
            <a:r>
              <a:rPr kumimoji="0" lang="ru-RU" sz="135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54 790 </a:t>
            </a:r>
            <a:r>
              <a:rPr kumimoji="0" lang="ru-RU" sz="135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бъектов имущества</a:t>
            </a:r>
            <a:endParaRPr kumimoji="0" lang="ru-RU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536197" y="3998688"/>
            <a:ext cx="607523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Число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обращений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субъектов МСП за услугами Корпорации МСП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/>
            </a:r>
            <a:b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в 2015-2019 гг., ед.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(нарастающим итогом)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171648" y="955182"/>
            <a:ext cx="6153852" cy="369332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Услуги Корпорации МСП через МФЦ, ЦУБ, ЦОУ и ЕПГУ</a:t>
            </a:r>
          </a:p>
        </p:txBody>
      </p:sp>
      <p:graphicFrame>
        <p:nvGraphicFramePr>
          <p:cNvPr id="65" name="Диаграмма 64"/>
          <p:cNvGraphicFramePr/>
          <p:nvPr>
            <p:extLst/>
          </p:nvPr>
        </p:nvGraphicFramePr>
        <p:xfrm>
          <a:off x="71918" y="1334108"/>
          <a:ext cx="6049183" cy="33242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67" name="Pentagon 35"/>
          <p:cNvSpPr/>
          <p:nvPr/>
        </p:nvSpPr>
        <p:spPr>
          <a:xfrm>
            <a:off x="324854" y="4969542"/>
            <a:ext cx="959126" cy="345604"/>
          </a:xfrm>
          <a:prstGeom prst="homePlate">
            <a:avLst>
              <a:gd name="adj" fmla="val 22714"/>
            </a:avLst>
          </a:prstGeom>
          <a:solidFill>
            <a:schemeClr val="accent1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lIns="3600" tIns="35100" rIns="36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75" name="Pentagon 35"/>
          <p:cNvSpPr/>
          <p:nvPr/>
        </p:nvSpPr>
        <p:spPr>
          <a:xfrm>
            <a:off x="311397" y="4967599"/>
            <a:ext cx="879420" cy="349960"/>
          </a:xfrm>
          <a:prstGeom prst="homePlate">
            <a:avLst>
              <a:gd name="adj" fmla="val 22714"/>
            </a:avLst>
          </a:prstGeom>
          <a:solidFill>
            <a:schemeClr val="accent1">
              <a:lumMod val="5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lIns="3600" tIns="35100" rIns="36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6 г.</a:t>
            </a:r>
          </a:p>
        </p:txBody>
      </p:sp>
      <p:sp>
        <p:nvSpPr>
          <p:cNvPr id="76" name="Pentagon 35"/>
          <p:cNvSpPr/>
          <p:nvPr/>
        </p:nvSpPr>
        <p:spPr>
          <a:xfrm>
            <a:off x="333708" y="5460343"/>
            <a:ext cx="959126" cy="349490"/>
          </a:xfrm>
          <a:prstGeom prst="homePlate">
            <a:avLst>
              <a:gd name="adj" fmla="val 22714"/>
            </a:avLst>
          </a:prstGeom>
          <a:solidFill>
            <a:schemeClr val="accent1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lIns="3600" tIns="35100" rIns="36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77" name="Pentagon 35"/>
          <p:cNvSpPr/>
          <p:nvPr/>
        </p:nvSpPr>
        <p:spPr>
          <a:xfrm>
            <a:off x="320251" y="5460343"/>
            <a:ext cx="879420" cy="349960"/>
          </a:xfrm>
          <a:prstGeom prst="homePlate">
            <a:avLst>
              <a:gd name="adj" fmla="val 22714"/>
            </a:avLst>
          </a:prstGeom>
          <a:solidFill>
            <a:schemeClr val="accent1">
              <a:lumMod val="5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lIns="3600" tIns="35100" rIns="36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7 г.</a:t>
            </a:r>
          </a:p>
        </p:txBody>
      </p:sp>
      <p:sp>
        <p:nvSpPr>
          <p:cNvPr id="78" name="Pentagon 35"/>
          <p:cNvSpPr/>
          <p:nvPr/>
        </p:nvSpPr>
        <p:spPr>
          <a:xfrm>
            <a:off x="333568" y="6099546"/>
            <a:ext cx="959126" cy="340862"/>
          </a:xfrm>
          <a:prstGeom prst="homePlate">
            <a:avLst>
              <a:gd name="adj" fmla="val 22714"/>
            </a:avLst>
          </a:prstGeom>
          <a:solidFill>
            <a:schemeClr val="accent1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lIns="3600" tIns="35100" rIns="36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87" name="Pentagon 35"/>
          <p:cNvSpPr/>
          <p:nvPr/>
        </p:nvSpPr>
        <p:spPr>
          <a:xfrm>
            <a:off x="320111" y="6092861"/>
            <a:ext cx="879420" cy="349960"/>
          </a:xfrm>
          <a:prstGeom prst="homePlate">
            <a:avLst>
              <a:gd name="adj" fmla="val 22714"/>
            </a:avLst>
          </a:prstGeom>
          <a:solidFill>
            <a:schemeClr val="accent1">
              <a:lumMod val="5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lIns="3600" tIns="35100" rIns="36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8 г.</a:t>
            </a:r>
          </a:p>
        </p:txBody>
      </p:sp>
      <p:sp>
        <p:nvSpPr>
          <p:cNvPr id="89" name="Pentagon 35"/>
          <p:cNvSpPr/>
          <p:nvPr/>
        </p:nvSpPr>
        <p:spPr>
          <a:xfrm>
            <a:off x="324854" y="4514535"/>
            <a:ext cx="959126" cy="345604"/>
          </a:xfrm>
          <a:prstGeom prst="homePlate">
            <a:avLst>
              <a:gd name="adj" fmla="val 22714"/>
            </a:avLst>
          </a:prstGeom>
          <a:solidFill>
            <a:schemeClr val="accent1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lIns="3600" tIns="35100" rIns="36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90" name="Pentagon 35"/>
          <p:cNvSpPr/>
          <p:nvPr/>
        </p:nvSpPr>
        <p:spPr>
          <a:xfrm>
            <a:off x="311397" y="4512592"/>
            <a:ext cx="879420" cy="349960"/>
          </a:xfrm>
          <a:prstGeom prst="homePlate">
            <a:avLst>
              <a:gd name="adj" fmla="val 22714"/>
            </a:avLst>
          </a:prstGeom>
          <a:solidFill>
            <a:schemeClr val="accent1">
              <a:lumMod val="5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lIns="3600" tIns="35100" rIns="36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5 г.*</a:t>
            </a:r>
          </a:p>
        </p:txBody>
      </p:sp>
      <p:sp>
        <p:nvSpPr>
          <p:cNvPr id="91" name="TextBox 66"/>
          <p:cNvSpPr txBox="1">
            <a:spLocks noChangeArrowheads="1"/>
          </p:cNvSpPr>
          <p:nvPr/>
        </p:nvSpPr>
        <p:spPr bwMode="auto">
          <a:xfrm>
            <a:off x="1284880" y="4541828"/>
            <a:ext cx="5213127" cy="300082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16200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35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0</a:t>
            </a:r>
            <a:endParaRPr kumimoji="0" lang="ru-RU" altLang="ru-RU" sz="135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2" name="TextBox 66"/>
          <p:cNvSpPr txBox="1">
            <a:spLocks noChangeArrowheads="1"/>
          </p:cNvSpPr>
          <p:nvPr/>
        </p:nvSpPr>
        <p:spPr bwMode="auto">
          <a:xfrm>
            <a:off x="1283980" y="4864599"/>
            <a:ext cx="5224097" cy="528350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162000">
            <a:spAutoFit/>
          </a:bodyPr>
          <a:lstStyle>
            <a:defPPr>
              <a:defRPr lang="en-US"/>
            </a:defPPr>
            <a:lvl1pPr marL="182563" marR="0" lvl="0" indent="-182563" algn="just" fontAlgn="auto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40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ru-RU" altLang="ru-RU" sz="135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услуги доступны </a:t>
            </a:r>
            <a:r>
              <a:rPr kumimoji="0" lang="ru-RU" altLang="ru-RU" sz="135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в 75 регионах </a:t>
            </a:r>
            <a:r>
              <a:rPr kumimoji="0" lang="ru-RU" altLang="ru-RU" sz="135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на </a:t>
            </a:r>
            <a:r>
              <a:rPr kumimoji="0" lang="ru-RU" altLang="ru-RU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базе </a:t>
            </a:r>
            <a:r>
              <a:rPr kumimoji="0" lang="ru-RU" altLang="ru-RU" sz="13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1.958 МФЦ и 2 ЦУБ </a:t>
            </a:r>
            <a:r>
              <a:rPr kumimoji="0" lang="ru-RU" altLang="ru-RU" sz="1350" b="1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г.Москвы</a:t>
            </a:r>
            <a:r>
              <a:rPr kumimoji="0" lang="ru-RU" altLang="ru-RU" sz="135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; </a:t>
            </a:r>
          </a:p>
          <a:p>
            <a:pPr marL="0" marR="0" lvl="0" indent="0" algn="l" defTabSz="4572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ru-RU" altLang="ru-RU" sz="135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42 186 </a:t>
            </a:r>
            <a:r>
              <a:rPr kumimoji="0" lang="ru-RU" altLang="ru-RU" sz="135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обращений</a:t>
            </a:r>
            <a:r>
              <a:rPr kumimoji="0" lang="ru-RU" altLang="ru-RU" sz="135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altLang="ru-RU" sz="135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субъектов МСП за услугами Корпорации</a:t>
            </a:r>
            <a:endParaRPr kumimoji="0" lang="ru-RU" altLang="ru-RU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3" name="TextBox 66"/>
          <p:cNvSpPr txBox="1">
            <a:spLocks noChangeArrowheads="1"/>
          </p:cNvSpPr>
          <p:nvPr/>
        </p:nvSpPr>
        <p:spPr bwMode="auto">
          <a:xfrm>
            <a:off x="1290303" y="5377246"/>
            <a:ext cx="5132014" cy="553998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162000">
            <a:spAutoFit/>
          </a:bodyPr>
          <a:lstStyle>
            <a:defPPr>
              <a:defRPr lang="en-US"/>
            </a:defPPr>
            <a:lvl1pPr marL="182563" marR="0" lvl="0" indent="-182563" algn="just" fontAlgn="auto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40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ru-RU" altLang="ru-RU" sz="135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услуги доступны </a:t>
            </a:r>
            <a:r>
              <a:rPr kumimoji="0" lang="ru-RU" altLang="ru-RU" sz="135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в 83 </a:t>
            </a:r>
            <a:r>
              <a:rPr kumimoji="0" lang="ru-RU" altLang="ru-RU" sz="13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регионах</a:t>
            </a:r>
            <a:r>
              <a:rPr kumimoji="0" lang="ru-RU" altLang="ru-RU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на базе </a:t>
            </a:r>
            <a:r>
              <a:rPr kumimoji="0" lang="ru-RU" altLang="ru-RU" sz="13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2.568 МФЦ и 12 ЦУБ </a:t>
            </a:r>
            <a:r>
              <a:rPr kumimoji="0" lang="ru-RU" altLang="ru-RU" sz="1350" b="1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г.Москвы</a:t>
            </a:r>
            <a:r>
              <a:rPr kumimoji="0" lang="ru-RU" altLang="ru-RU" sz="135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; 318 143 </a:t>
            </a:r>
            <a:r>
              <a:rPr kumimoji="0" lang="ru-RU" altLang="ru-RU" sz="135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обращений </a:t>
            </a:r>
            <a:r>
              <a:rPr kumimoji="0" lang="ru-RU" altLang="ru-RU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субъектов МСП за услугами Корпорации</a:t>
            </a:r>
          </a:p>
        </p:txBody>
      </p:sp>
      <p:sp>
        <p:nvSpPr>
          <p:cNvPr id="94" name="TextBox 93"/>
          <p:cNvSpPr txBox="1">
            <a:spLocks noChangeArrowheads="1"/>
          </p:cNvSpPr>
          <p:nvPr/>
        </p:nvSpPr>
        <p:spPr bwMode="auto">
          <a:xfrm>
            <a:off x="1288267" y="5884646"/>
            <a:ext cx="5228174" cy="1015663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162000">
            <a:spAutoFit/>
          </a:bodyPr>
          <a:lstStyle>
            <a:defPPr>
              <a:defRPr lang="en-US"/>
            </a:defPPr>
            <a:lvl1pPr marL="182563" marR="0" lvl="0" indent="-182563" algn="just" fontAlgn="auto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40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ru-RU" altLang="ru-RU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услуги доступны </a:t>
            </a:r>
            <a:r>
              <a:rPr kumimoji="0" lang="ru-RU" altLang="ru-RU" sz="13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в 85 регионах </a:t>
            </a:r>
            <a:r>
              <a:rPr kumimoji="0" lang="ru-RU" altLang="ru-RU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на базе </a:t>
            </a:r>
            <a:r>
              <a:rPr kumimoji="0" lang="ru-RU" altLang="ru-RU" sz="13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2.744 МФЦ, 130 Центров услуг для бизнеса и 16 ЦУБ </a:t>
            </a:r>
            <a:r>
              <a:rPr kumimoji="0" lang="ru-RU" altLang="ru-RU" sz="1350" b="1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г.Москвы</a:t>
            </a:r>
            <a:r>
              <a:rPr kumimoji="0" lang="ru-RU" altLang="ru-RU" sz="135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, а также в электронной форме </a:t>
            </a:r>
            <a:r>
              <a:rPr kumimoji="0" lang="ru-RU" altLang="ru-RU" sz="135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через Единый портал </a:t>
            </a:r>
            <a:r>
              <a:rPr kumimoji="0" lang="ru-RU" altLang="ru-RU" sz="135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госуслуг</a:t>
            </a:r>
            <a:r>
              <a:rPr kumimoji="0" lang="ru-RU" altLang="ru-RU" sz="135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и Портал Бизнес-навигатора МСП;               </a:t>
            </a:r>
            <a:br>
              <a:rPr kumimoji="0" lang="ru-RU" altLang="ru-RU" sz="135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en-US" altLang="ru-RU" sz="135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5</a:t>
            </a:r>
            <a:r>
              <a:rPr kumimoji="0" lang="ru-RU" altLang="ru-RU" sz="135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99 376</a:t>
            </a:r>
            <a:r>
              <a:rPr kumimoji="0" lang="ru-RU" altLang="ru-RU" sz="135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altLang="ru-RU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обращений субъектов МСП за услугами Корпорации</a:t>
            </a:r>
            <a:r>
              <a:rPr kumimoji="0" lang="ru-RU" altLang="ru-RU" sz="13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</a:t>
            </a:r>
            <a:endParaRPr kumimoji="0" lang="ru-RU" altLang="ru-RU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5" name="Прямоугольник 94"/>
          <p:cNvSpPr/>
          <p:nvPr/>
        </p:nvSpPr>
        <p:spPr>
          <a:xfrm>
            <a:off x="232992" y="7919587"/>
            <a:ext cx="6221599" cy="6771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50" b="0" i="1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* Внесены </a:t>
            </a:r>
            <a:r>
              <a:rPr kumimoji="0" lang="ru-RU" sz="950" b="0" i="1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изменения в Правила деятельности МФЦ, утвержденные постановлением Правительства РФ № 1376, в части возможности предоставления услуг Корпорации в МФЦ (ППРФ № 1078 от 09.10.2015); утверждена Примерная форма соглашения Корпорации с МФЦ (Приказ Минэкономразвития России № 1005 от 30.12.2015) и Перечень услуг Корпорации, Требования к их предоставлению (протокол Совета директоров № 4 от 08.12.2015)</a:t>
            </a:r>
          </a:p>
        </p:txBody>
      </p:sp>
      <p:sp>
        <p:nvSpPr>
          <p:cNvPr id="96" name="Pentagon 35"/>
          <p:cNvSpPr/>
          <p:nvPr/>
        </p:nvSpPr>
        <p:spPr>
          <a:xfrm>
            <a:off x="335360" y="7086312"/>
            <a:ext cx="959126" cy="345604"/>
          </a:xfrm>
          <a:prstGeom prst="homePlate">
            <a:avLst>
              <a:gd name="adj" fmla="val 22714"/>
            </a:avLst>
          </a:prstGeom>
          <a:solidFill>
            <a:schemeClr val="accent1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lIns="3600" tIns="35100" rIns="36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97" name="Pentagon 35"/>
          <p:cNvSpPr/>
          <p:nvPr/>
        </p:nvSpPr>
        <p:spPr>
          <a:xfrm>
            <a:off x="321903" y="7084369"/>
            <a:ext cx="879420" cy="349960"/>
          </a:xfrm>
          <a:prstGeom prst="homePlate">
            <a:avLst>
              <a:gd name="adj" fmla="val 22714"/>
            </a:avLst>
          </a:prstGeom>
          <a:solidFill>
            <a:schemeClr val="accent1">
              <a:lumMod val="5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lIns="3600" tIns="35100" rIns="36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9 </a:t>
            </a:r>
            <a:r>
              <a:rPr kumimoji="0" lang="ru-RU" sz="1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г.</a:t>
            </a:r>
          </a:p>
        </p:txBody>
      </p:sp>
      <p:sp>
        <p:nvSpPr>
          <p:cNvPr id="51" name="TextBox 50"/>
          <p:cNvSpPr txBox="1">
            <a:spLocks noChangeArrowheads="1"/>
          </p:cNvSpPr>
          <p:nvPr/>
        </p:nvSpPr>
        <p:spPr bwMode="auto">
          <a:xfrm>
            <a:off x="1290059" y="6876154"/>
            <a:ext cx="5132258" cy="1015663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162000">
            <a:spAutoFit/>
          </a:bodyPr>
          <a:lstStyle>
            <a:defPPr>
              <a:defRPr lang="en-US"/>
            </a:defPPr>
            <a:lvl1pPr marL="182563" marR="0" lvl="0" indent="-182563" algn="just" fontAlgn="auto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40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ru-RU" altLang="ru-RU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услуги доступны </a:t>
            </a:r>
            <a:r>
              <a:rPr kumimoji="0" lang="ru-RU" altLang="ru-RU" sz="13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в 85 регионах </a:t>
            </a:r>
            <a:r>
              <a:rPr kumimoji="0" lang="ru-RU" altLang="ru-RU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на базе </a:t>
            </a:r>
            <a:r>
              <a:rPr kumimoji="0" lang="ru-RU" altLang="ru-RU" sz="135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2.721 </a:t>
            </a:r>
            <a:r>
              <a:rPr kumimoji="0" lang="ru-RU" altLang="ru-RU" sz="13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МФЦ, </a:t>
            </a:r>
            <a:r>
              <a:rPr kumimoji="0" lang="ru-RU" altLang="ru-RU" sz="135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163 МФЦ для бизнеса/ЦОУ, 16 </a:t>
            </a:r>
            <a:r>
              <a:rPr kumimoji="0" lang="ru-RU" altLang="ru-RU" sz="13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ЦУБ </a:t>
            </a:r>
            <a:r>
              <a:rPr kumimoji="0" lang="ru-RU" altLang="ru-RU" sz="135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г. Москвы, 22 иных ОИП, а также в электронной форме </a:t>
            </a:r>
            <a:r>
              <a:rPr kumimoji="0" lang="ru-RU" altLang="ru-RU" sz="135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через Единый портал </a:t>
            </a:r>
            <a:r>
              <a:rPr kumimoji="0" lang="ru-RU" altLang="ru-RU" sz="135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госуслуг</a:t>
            </a:r>
            <a:r>
              <a:rPr kumimoji="0" lang="ru-RU" altLang="ru-RU" sz="135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и Портал Бизнес-навигатора МСП;               </a:t>
            </a:r>
            <a:br>
              <a:rPr kumimoji="0" lang="ru-RU" altLang="ru-RU" sz="135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ru-RU" altLang="ru-RU" sz="135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с 01.06.2016 по 13.05.2019 - </a:t>
            </a:r>
            <a:r>
              <a:rPr kumimoji="0" lang="ru-RU" altLang="ru-RU" sz="135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664 298</a:t>
            </a:r>
            <a:r>
              <a:rPr kumimoji="0" lang="ru-RU" altLang="ru-RU" sz="135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обращений субъектов МСП</a:t>
            </a:r>
            <a:endParaRPr kumimoji="0" lang="ru-RU" altLang="ru-RU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226723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Таблица 31"/>
          <p:cNvGraphicFramePr>
            <a:graphicFrameLocks noGrp="1"/>
          </p:cNvGraphicFramePr>
          <p:nvPr>
            <p:extLst/>
          </p:nvPr>
        </p:nvGraphicFramePr>
        <p:xfrm>
          <a:off x="2679043" y="1864793"/>
          <a:ext cx="9660647" cy="65683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8781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59525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07818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9939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916204">
                <a:tc>
                  <a:txBody>
                    <a:bodyPr/>
                    <a:lstStyle/>
                    <a:p>
                      <a:pPr marL="0" indent="0" algn="ctr" defTabSz="914400" rtl="0" eaLnBrk="1" fontAlgn="b" latinLnBrk="0" hangingPunct="1">
                        <a:buClr>
                          <a:srgbClr val="20B2AA"/>
                        </a:buClr>
                        <a:buSzPts val="1100"/>
                        <a:buFont typeface="Arial" panose="020B0604020202020204" pitchFamily="34" charset="0"/>
                        <a:buNone/>
                      </a:pPr>
                      <a:r>
                        <a:rPr lang="ru-RU" sz="1200" b="1" kern="1200" dirty="0">
                          <a:solidFill>
                            <a:srgbClr val="30454F"/>
                          </a:solidFill>
                          <a:latin typeface="Tahoma" panose="020B060403050404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Кредитное </a:t>
                      </a:r>
                      <a:r>
                        <a:rPr lang="ru-RU" sz="1200" b="1" kern="1200" dirty="0" smtClean="0">
                          <a:solidFill>
                            <a:srgbClr val="30454F"/>
                          </a:solidFill>
                          <a:latin typeface="Tahoma" panose="020B060403050404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финансирование </a:t>
                      </a:r>
                      <a:r>
                        <a:rPr lang="ru-RU" sz="1200" b="1" kern="1200" dirty="0">
                          <a:solidFill>
                            <a:srgbClr val="30454F"/>
                          </a:solidFill>
                          <a:latin typeface="Tahoma" panose="020B060403050404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убъектов </a:t>
                      </a:r>
                      <a:r>
                        <a:rPr lang="ru-RU" sz="1200" b="1" kern="1200" dirty="0" smtClean="0">
                          <a:solidFill>
                            <a:srgbClr val="30454F"/>
                          </a:solidFill>
                          <a:latin typeface="Tahoma" panose="020B060403050404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СП</a:t>
                      </a:r>
                    </a:p>
                    <a:p>
                      <a:pPr marL="171450" indent="-171450" algn="l" defTabSz="914400" rtl="0" eaLnBrk="1" fontAlgn="b" latinLnBrk="0" hangingPunct="1">
                        <a:buClr>
                          <a:srgbClr val="20B2AA"/>
                        </a:buClr>
                        <a:buSzPts val="1100"/>
                        <a:buFont typeface="Arial" panose="020B0604020202020204" pitchFamily="34" charset="0"/>
                        <a:buChar char="•"/>
                      </a:pPr>
                      <a:endParaRPr lang="ru-RU" sz="1200" b="0" kern="1200" dirty="0" smtClean="0">
                        <a:solidFill>
                          <a:srgbClr val="30454F"/>
                        </a:solidFill>
                        <a:latin typeface="Tahoma" panose="020B060403050404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171450" indent="-171450" algn="l" defTabSz="914400" rtl="0" eaLnBrk="1" fontAlgn="b" latinLnBrk="0" hangingPunct="1">
                        <a:buClr>
                          <a:srgbClr val="20B2AA"/>
                        </a:buClr>
                        <a:buSzPts val="1100"/>
                        <a:buFont typeface="Arial" panose="020B0604020202020204" pitchFamily="34" charset="0"/>
                        <a:buChar char="•"/>
                      </a:pPr>
                      <a:endParaRPr lang="ru-RU" sz="1200" b="0" kern="1200" dirty="0">
                        <a:solidFill>
                          <a:srgbClr val="30454F"/>
                        </a:solidFill>
                        <a:latin typeface="Tahoma" panose="020B060403050404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45" marR="57145" marT="28572" marB="28572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fontAlgn="b" latinLnBrk="0" hangingPunct="1">
                        <a:buClr>
                          <a:srgbClr val="20B2AA"/>
                        </a:buClr>
                        <a:buSzPts val="1100"/>
                        <a:buFont typeface="Arial" panose="020B0604020202020204" pitchFamily="34" charset="0"/>
                        <a:buNone/>
                      </a:pPr>
                      <a:r>
                        <a:rPr lang="ru-RU" sz="1200" b="1" kern="1200" dirty="0">
                          <a:solidFill>
                            <a:srgbClr val="30454F"/>
                          </a:solidFill>
                          <a:latin typeface="Tahoma" panose="020B060403050404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существление кредитно-гарантийной поддержки </a:t>
                      </a:r>
                      <a:r>
                        <a:rPr lang="ru-RU" sz="1200" b="1" kern="1200" dirty="0" smtClean="0">
                          <a:solidFill>
                            <a:srgbClr val="30454F"/>
                          </a:solidFill>
                          <a:latin typeface="Tahoma" panose="020B060403050404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убъектов МСП</a:t>
                      </a:r>
                    </a:p>
                    <a:p>
                      <a:pPr marL="0" indent="0" algn="ctr" defTabSz="914400" rtl="0" eaLnBrk="1" fontAlgn="b" latinLnBrk="0" hangingPunct="1">
                        <a:buClr>
                          <a:srgbClr val="20B2AA"/>
                        </a:buClr>
                        <a:buSzPts val="1100"/>
                        <a:buFont typeface="Arial" panose="020B0604020202020204" pitchFamily="34" charset="0"/>
                        <a:buNone/>
                      </a:pPr>
                      <a:endParaRPr lang="ru-RU" sz="1200" b="1" kern="1200" dirty="0" smtClean="0">
                        <a:solidFill>
                          <a:srgbClr val="30454F"/>
                        </a:solidFill>
                        <a:latin typeface="Tahoma" panose="020B060403050404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171450" indent="-171450" algn="l" defTabSz="914400" rtl="0" eaLnBrk="1" fontAlgn="b" latinLnBrk="0" hangingPunct="1">
                        <a:buClr>
                          <a:srgbClr val="20B2AA"/>
                        </a:buClr>
                        <a:buSzPts val="1100"/>
                        <a:buFont typeface="Arial" panose="020B0604020202020204" pitchFamily="34" charset="0"/>
                        <a:buChar char="•"/>
                      </a:pPr>
                      <a:endParaRPr lang="ru-RU" sz="1200" b="0" kern="1200" dirty="0">
                        <a:solidFill>
                          <a:srgbClr val="30454F"/>
                        </a:solidFill>
                        <a:latin typeface="Tahoma" panose="020B060403050404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45" marR="57145" marT="28572" marB="28572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fontAlgn="b" latinLnBrk="0" hangingPunct="1">
                        <a:buClr>
                          <a:srgbClr val="20B2AA"/>
                        </a:buClr>
                        <a:buSzPts val="1100"/>
                        <a:buFont typeface="Arial" panose="020B0604020202020204" pitchFamily="34" charset="0"/>
                        <a:buNone/>
                      </a:pPr>
                      <a:r>
                        <a:rPr lang="ru-RU" sz="1200" b="1" kern="1200" dirty="0" smtClean="0">
                          <a:solidFill>
                            <a:srgbClr val="30454F"/>
                          </a:solidFill>
                          <a:latin typeface="Tahoma" panose="020B060403050404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Вхождение в капитал </a:t>
                      </a:r>
                    </a:p>
                    <a:p>
                      <a:pPr marL="0" indent="0" algn="ctr" defTabSz="914400" rtl="0" eaLnBrk="1" fontAlgn="b" latinLnBrk="0" hangingPunct="1">
                        <a:buClr>
                          <a:srgbClr val="20B2AA"/>
                        </a:buClr>
                        <a:buSzPts val="1100"/>
                        <a:buFont typeface="Arial" panose="020B0604020202020204" pitchFamily="34" charset="0"/>
                        <a:buNone/>
                      </a:pPr>
                      <a:r>
                        <a:rPr lang="ru-RU" sz="1200" b="1" kern="1200" dirty="0" smtClean="0">
                          <a:solidFill>
                            <a:srgbClr val="30454F"/>
                          </a:solidFill>
                          <a:latin typeface="Tahoma" panose="020B060403050404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убъектов МСП / </a:t>
                      </a:r>
                      <a:r>
                        <a:rPr lang="ru-RU" sz="1200" b="1" kern="1200" dirty="0">
                          <a:solidFill>
                            <a:srgbClr val="30454F"/>
                          </a:solidFill>
                          <a:latin typeface="Tahoma" panose="020B060403050404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езонинное </a:t>
                      </a:r>
                      <a:r>
                        <a:rPr lang="ru-RU" sz="1200" b="1" kern="1200" dirty="0" smtClean="0">
                          <a:solidFill>
                            <a:srgbClr val="30454F"/>
                          </a:solidFill>
                          <a:latin typeface="Tahoma" panose="020B060403050404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финансирование</a:t>
                      </a:r>
                    </a:p>
                    <a:p>
                      <a:pPr marL="171450" indent="-171450" algn="l" defTabSz="914400" rtl="0" eaLnBrk="1" fontAlgn="b" latinLnBrk="0" hangingPunct="1">
                        <a:buClr>
                          <a:srgbClr val="20B2AA"/>
                        </a:buClr>
                        <a:buSzPts val="1100"/>
                        <a:buFont typeface="Arial" panose="020B0604020202020204" pitchFamily="34" charset="0"/>
                        <a:buChar char="•"/>
                      </a:pPr>
                      <a:endParaRPr lang="ru-RU" sz="1200" b="0" kern="1200" dirty="0">
                        <a:solidFill>
                          <a:srgbClr val="30454F"/>
                        </a:solidFill>
                        <a:latin typeface="Tahoma" panose="020B060403050404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45" marR="57145" marT="28572" marB="28572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fontAlgn="b" latinLnBrk="0" hangingPunct="1">
                        <a:buClr>
                          <a:srgbClr val="20B2AA"/>
                        </a:buClr>
                        <a:buSzPts val="1100"/>
                        <a:buFont typeface="Arial" panose="020B0604020202020204" pitchFamily="34" charset="0"/>
                        <a:buNone/>
                      </a:pPr>
                      <a:r>
                        <a:rPr lang="ru-RU" sz="1200" b="1" kern="1200" dirty="0">
                          <a:solidFill>
                            <a:srgbClr val="30454F"/>
                          </a:solidFill>
                          <a:latin typeface="Tahoma" panose="020B060403050404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опровождение и поддержка субъектов МСП с экспортным </a:t>
                      </a:r>
                      <a:r>
                        <a:rPr lang="ru-RU" sz="1200" b="1" kern="1200" dirty="0" smtClean="0">
                          <a:solidFill>
                            <a:srgbClr val="30454F"/>
                          </a:solidFill>
                          <a:latin typeface="Tahoma" panose="020B060403050404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отенциалом</a:t>
                      </a:r>
                    </a:p>
                    <a:p>
                      <a:pPr marL="0" indent="0" algn="l" defTabSz="914400" rtl="0" eaLnBrk="1" fontAlgn="b" latinLnBrk="0" hangingPunct="1">
                        <a:buClr>
                          <a:srgbClr val="20B2AA"/>
                        </a:buClr>
                        <a:buSzPts val="1100"/>
                        <a:buFont typeface="Arial" panose="020B0604020202020204" pitchFamily="34" charset="0"/>
                        <a:buNone/>
                      </a:pPr>
                      <a:endParaRPr lang="ru-RU" sz="1200" b="0" kern="1200" dirty="0">
                        <a:solidFill>
                          <a:srgbClr val="30454F"/>
                        </a:solidFill>
                        <a:latin typeface="Tahoma" panose="020B060403050404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45" marR="57145" marT="28572" marB="28572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41889">
                <a:tc>
                  <a:txBody>
                    <a:bodyPr/>
                    <a:lstStyle/>
                    <a:p>
                      <a:pPr marL="171450" indent="-171450" algn="l" defTabSz="914400" rtl="0" eaLnBrk="1" fontAlgn="b" latinLnBrk="0" hangingPunct="1">
                        <a:buClr>
                          <a:srgbClr val="20B2AA"/>
                        </a:buClr>
                        <a:buSzPts val="1100"/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kern="1200" dirty="0" smtClean="0">
                          <a:solidFill>
                            <a:srgbClr val="30454F"/>
                          </a:solidFill>
                          <a:latin typeface="Tahoma" panose="020B060403050404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сновной фокус - </a:t>
                      </a:r>
                      <a:r>
                        <a:rPr lang="ru-RU" sz="1200" b="0" kern="1200" dirty="0" err="1" smtClean="0">
                          <a:solidFill>
                            <a:srgbClr val="30454F"/>
                          </a:solidFill>
                          <a:latin typeface="Tahoma" panose="020B060403050404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импортозамещение</a:t>
                      </a:r>
                      <a:r>
                        <a:rPr lang="ru-RU" sz="1200" b="0" kern="1200" dirty="0" smtClean="0">
                          <a:solidFill>
                            <a:srgbClr val="30454F"/>
                          </a:solidFill>
                          <a:latin typeface="Tahoma" panose="020B060403050404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, высокотехнологичные компании. </a:t>
                      </a:r>
                    </a:p>
                    <a:p>
                      <a:pPr marL="171450" indent="-171450" algn="l" defTabSz="914400" rtl="0" eaLnBrk="1" fontAlgn="b" latinLnBrk="0" hangingPunct="1">
                        <a:buClr>
                          <a:srgbClr val="20B2AA"/>
                        </a:buClr>
                        <a:buSzPts val="1100"/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kern="1200" dirty="0" smtClean="0">
                          <a:solidFill>
                            <a:srgbClr val="30454F"/>
                          </a:solidFill>
                          <a:latin typeface="Tahoma" panose="020B060403050404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0% - </a:t>
                      </a:r>
                      <a:r>
                        <a:rPr lang="ru-RU" sz="1200" b="0" kern="1200" dirty="0" err="1" smtClean="0">
                          <a:solidFill>
                            <a:srgbClr val="30454F"/>
                          </a:solidFill>
                          <a:latin typeface="Tahoma" panose="020B060403050404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офинансирование</a:t>
                      </a:r>
                      <a:r>
                        <a:rPr lang="ru-RU" sz="1200" b="0" kern="1200" dirty="0" smtClean="0">
                          <a:solidFill>
                            <a:srgbClr val="30454F"/>
                          </a:solidFill>
                          <a:latin typeface="Tahoma" panose="020B060403050404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от заемщика (включая банковские кредиты).</a:t>
                      </a:r>
                    </a:p>
                    <a:p>
                      <a:pPr marL="171450" indent="-171450" algn="l" defTabSz="914400" rtl="0" eaLnBrk="1" fontAlgn="b" latinLnBrk="0" hangingPunct="1">
                        <a:buClr>
                          <a:srgbClr val="20B2AA"/>
                        </a:buClr>
                        <a:buSzPts val="1100"/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kern="1200" dirty="0" smtClean="0">
                          <a:solidFill>
                            <a:srgbClr val="30454F"/>
                          </a:solidFill>
                          <a:latin typeface="Tahoma" panose="020B060403050404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Не менее 15% средств предоставляет акционер.</a:t>
                      </a:r>
                    </a:p>
                    <a:p>
                      <a:pPr marL="171450" indent="-171450" algn="l" defTabSz="914400" rtl="0" eaLnBrk="1" fontAlgn="b" latinLnBrk="0" hangingPunct="1">
                        <a:buClr>
                          <a:srgbClr val="20B2AA"/>
                        </a:buClr>
                        <a:buSzPts val="1100"/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kern="1200" dirty="0" smtClean="0">
                          <a:solidFill>
                            <a:srgbClr val="30454F"/>
                          </a:solidFill>
                          <a:latin typeface="Tahoma" panose="020B060403050404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беспечение: гарантия, залог, поручительство.</a:t>
                      </a:r>
                      <a:endParaRPr lang="ru-RU" sz="1200" b="0" kern="1200" dirty="0">
                        <a:solidFill>
                          <a:srgbClr val="30454F"/>
                        </a:solidFill>
                        <a:latin typeface="Tahoma" panose="020B060403050404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45" marR="57145" marT="28572" marB="28572" anchor="ctr"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defTabSz="914400" rtl="0" eaLnBrk="1" fontAlgn="b" latinLnBrk="0" hangingPunct="1">
                        <a:buClr>
                          <a:srgbClr val="20B2AA"/>
                        </a:buClr>
                        <a:buSzPts val="1100"/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kern="1200" dirty="0">
                          <a:solidFill>
                            <a:srgbClr val="30454F"/>
                          </a:solidFill>
                          <a:latin typeface="Tahoma" panose="020B060403050404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оответствие требованиям ст.4 Федерального закона №</a:t>
                      </a:r>
                      <a:r>
                        <a:rPr lang="ru-RU" sz="1200" b="0" kern="1200" dirty="0" smtClean="0">
                          <a:solidFill>
                            <a:srgbClr val="30454F"/>
                          </a:solidFill>
                          <a:latin typeface="Tahoma" panose="020B060403050404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9-ФЗ.</a:t>
                      </a:r>
                    </a:p>
                    <a:p>
                      <a:pPr marL="171450" indent="-171450" algn="l" defTabSz="914400" rtl="0" eaLnBrk="1" fontAlgn="b" latinLnBrk="0" hangingPunct="1">
                        <a:buClr>
                          <a:srgbClr val="20B2AA"/>
                        </a:buClr>
                        <a:buSzPts val="1100"/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kern="1200" dirty="0" smtClean="0">
                          <a:solidFill>
                            <a:srgbClr val="30454F"/>
                          </a:solidFill>
                          <a:latin typeface="Tahoma" panose="020B060403050404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Регистрация </a:t>
                      </a:r>
                      <a:r>
                        <a:rPr lang="ru-RU" sz="1200" b="0" kern="1200" dirty="0">
                          <a:solidFill>
                            <a:srgbClr val="30454F"/>
                          </a:solidFill>
                          <a:latin typeface="Tahoma" panose="020B060403050404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изнеса на территории </a:t>
                      </a:r>
                      <a:r>
                        <a:rPr lang="ru-RU" sz="1200" b="0" kern="1200" dirty="0" smtClean="0">
                          <a:solidFill>
                            <a:srgbClr val="30454F"/>
                          </a:solidFill>
                          <a:latin typeface="Tahoma" panose="020B060403050404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РФ.</a:t>
                      </a:r>
                    </a:p>
                    <a:p>
                      <a:pPr marL="171450" indent="-171450" algn="l" defTabSz="914400" rtl="0" eaLnBrk="1" fontAlgn="b" latinLnBrk="0" hangingPunct="1">
                        <a:buClr>
                          <a:srgbClr val="20B2AA"/>
                        </a:buClr>
                        <a:buSzPts val="1100"/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kern="1200" dirty="0" smtClean="0">
                          <a:solidFill>
                            <a:srgbClr val="30454F"/>
                          </a:solidFill>
                          <a:latin typeface="Tahoma" panose="020B060403050404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тсутствие </a:t>
                      </a:r>
                      <a:r>
                        <a:rPr lang="ru-RU" sz="1200" b="0" kern="1200" dirty="0">
                          <a:solidFill>
                            <a:srgbClr val="30454F"/>
                          </a:solidFill>
                          <a:latin typeface="Tahoma" panose="020B060403050404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трицательной кредитной истории и отсутствие просроченной задолженности</a:t>
                      </a:r>
                      <a:r>
                        <a:rPr lang="ru-RU" sz="1200" b="0" kern="1200" dirty="0" smtClean="0">
                          <a:solidFill>
                            <a:srgbClr val="30454F"/>
                          </a:solidFill>
                          <a:latin typeface="Tahoma" panose="020B060403050404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.</a:t>
                      </a:r>
                    </a:p>
                    <a:p>
                      <a:pPr marL="171450" indent="-171450" algn="l" defTabSz="914400" rtl="0" eaLnBrk="1" fontAlgn="b" latinLnBrk="0" hangingPunct="1">
                        <a:buClr>
                          <a:srgbClr val="20B2AA"/>
                        </a:buClr>
                        <a:buSzPts val="1100"/>
                        <a:buFont typeface="Arial" panose="020B0604020202020204" pitchFamily="34" charset="0"/>
                        <a:buChar char="•"/>
                      </a:pPr>
                      <a:endParaRPr lang="ru-RU" sz="1200" b="0" kern="1200" dirty="0" smtClean="0">
                        <a:solidFill>
                          <a:srgbClr val="30454F"/>
                        </a:solidFill>
                        <a:latin typeface="Tahoma" panose="020B060403050404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171450" indent="-171450" algn="l" defTabSz="914400" rtl="0" eaLnBrk="1" fontAlgn="b" latinLnBrk="0" hangingPunct="1">
                        <a:buClr>
                          <a:srgbClr val="20B2AA"/>
                        </a:buClr>
                        <a:buSzPts val="1100"/>
                        <a:buFont typeface="Arial" panose="020B0604020202020204" pitchFamily="34" charset="0"/>
                        <a:buChar char="•"/>
                      </a:pPr>
                      <a:endParaRPr lang="ru-RU" sz="1200" b="0" kern="1200" dirty="0" smtClean="0">
                        <a:solidFill>
                          <a:srgbClr val="30454F"/>
                        </a:solidFill>
                        <a:latin typeface="Tahoma" panose="020B060403050404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171450" indent="-171450" algn="l" defTabSz="914400" rtl="0" eaLnBrk="1" fontAlgn="b" latinLnBrk="0" hangingPunct="1">
                        <a:buClr>
                          <a:srgbClr val="20B2AA"/>
                        </a:buClr>
                        <a:buSzPts val="1100"/>
                        <a:buFont typeface="Arial" panose="020B0604020202020204" pitchFamily="34" charset="0"/>
                        <a:buChar char="•"/>
                      </a:pPr>
                      <a:endParaRPr lang="ru-RU" sz="1200" b="0" kern="1200" dirty="0" smtClean="0">
                        <a:solidFill>
                          <a:srgbClr val="30454F"/>
                        </a:solidFill>
                        <a:latin typeface="Tahoma" panose="020B060403050404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171450" indent="-171450" algn="l" defTabSz="914400" rtl="0" eaLnBrk="1" fontAlgn="b" latinLnBrk="0" hangingPunct="1">
                        <a:buClr>
                          <a:srgbClr val="20B2AA"/>
                        </a:buClr>
                        <a:buSzPts val="1100"/>
                        <a:buFont typeface="Arial" panose="020B0604020202020204" pitchFamily="34" charset="0"/>
                        <a:buChar char="•"/>
                      </a:pPr>
                      <a:endParaRPr lang="ru-RU" sz="1200" b="0" kern="1200" dirty="0" smtClean="0">
                        <a:solidFill>
                          <a:srgbClr val="30454F"/>
                        </a:solidFill>
                        <a:latin typeface="Tahoma" panose="020B060403050404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171450" indent="-171450" algn="l" defTabSz="914400" rtl="0" eaLnBrk="1" fontAlgn="b" latinLnBrk="0" hangingPunct="1">
                        <a:buClr>
                          <a:srgbClr val="20B2AA"/>
                        </a:buClr>
                        <a:buSzPts val="1100"/>
                        <a:buFont typeface="Arial" panose="020B0604020202020204" pitchFamily="34" charset="0"/>
                        <a:buChar char="•"/>
                      </a:pPr>
                      <a:endParaRPr lang="ru-RU" sz="1200" b="0" kern="1200" dirty="0" smtClean="0">
                        <a:solidFill>
                          <a:srgbClr val="30454F"/>
                        </a:solidFill>
                        <a:latin typeface="Tahoma" panose="020B060403050404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171450" indent="-171450" algn="l" defTabSz="914400" rtl="0" eaLnBrk="1" fontAlgn="b" latinLnBrk="0" hangingPunct="1">
                        <a:buClr>
                          <a:srgbClr val="20B2AA"/>
                        </a:buClr>
                        <a:buSzPts val="1100"/>
                        <a:buFont typeface="Arial" panose="020B0604020202020204" pitchFamily="34" charset="0"/>
                        <a:buChar char="•"/>
                      </a:pPr>
                      <a:endParaRPr lang="ru-RU" sz="1200" b="0" kern="1200" dirty="0">
                        <a:solidFill>
                          <a:srgbClr val="30454F"/>
                        </a:solidFill>
                        <a:latin typeface="Tahoma" panose="020B060403050404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45" marR="57145" marT="28572" marB="28572" anchor="ctr"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defTabSz="914400" rtl="0" eaLnBrk="1" fontAlgn="b" latinLnBrk="0" hangingPunct="1">
                        <a:buClr>
                          <a:srgbClr val="20B2AA"/>
                        </a:buClr>
                        <a:buSzPts val="1100"/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kern="1200" dirty="0" err="1" smtClean="0">
                          <a:solidFill>
                            <a:srgbClr val="30454F"/>
                          </a:solidFill>
                          <a:latin typeface="Tahoma" panose="020B060403050404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Несырьевой</a:t>
                      </a:r>
                      <a:r>
                        <a:rPr lang="ru-RU" sz="1200" b="0" kern="1200" dirty="0" smtClean="0">
                          <a:solidFill>
                            <a:srgbClr val="30454F"/>
                          </a:solidFill>
                          <a:latin typeface="Tahoma" panose="020B060403050404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0" kern="1200" dirty="0">
                          <a:solidFill>
                            <a:srgbClr val="30454F"/>
                          </a:solidFill>
                          <a:latin typeface="Tahoma" panose="020B060403050404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ектор </a:t>
                      </a:r>
                      <a:r>
                        <a:rPr lang="ru-RU" sz="1200" b="0" kern="1200" dirty="0" smtClean="0">
                          <a:solidFill>
                            <a:srgbClr val="30454F"/>
                          </a:solidFill>
                          <a:latin typeface="Tahoma" panose="020B060403050404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экономики.</a:t>
                      </a:r>
                    </a:p>
                    <a:p>
                      <a:pPr marL="171450" indent="-171450" algn="l" defTabSz="914400" rtl="0" eaLnBrk="1" fontAlgn="b" latinLnBrk="0" hangingPunct="1">
                        <a:buClr>
                          <a:srgbClr val="20B2AA"/>
                        </a:buClr>
                        <a:buSzPts val="1100"/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kern="1200" dirty="0" smtClean="0">
                          <a:solidFill>
                            <a:srgbClr val="30454F"/>
                          </a:solidFill>
                          <a:latin typeface="Tahoma" panose="020B060403050404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Наличие </a:t>
                      </a:r>
                      <a:r>
                        <a:rPr lang="ru-RU" sz="1200" b="0" kern="1200" dirty="0">
                          <a:solidFill>
                            <a:srgbClr val="30454F"/>
                          </a:solidFill>
                          <a:latin typeface="Tahoma" panose="020B060403050404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экспортной </a:t>
                      </a:r>
                      <a:r>
                        <a:rPr lang="ru-RU" sz="1200" b="0" kern="1200" dirty="0" smtClean="0">
                          <a:solidFill>
                            <a:srgbClr val="30454F"/>
                          </a:solidFill>
                          <a:latin typeface="Tahoma" panose="020B060403050404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выручки.</a:t>
                      </a:r>
                    </a:p>
                    <a:p>
                      <a:pPr marL="171450" indent="-171450" algn="l" defTabSz="914400" rtl="0" eaLnBrk="1" fontAlgn="b" latinLnBrk="0" hangingPunct="1">
                        <a:buClr>
                          <a:srgbClr val="20B2AA"/>
                        </a:buClr>
                        <a:buSzPts val="1100"/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kern="1200" dirty="0" smtClean="0">
                          <a:solidFill>
                            <a:srgbClr val="30454F"/>
                          </a:solidFill>
                          <a:latin typeface="Tahoma" panose="020B060403050404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Выручка </a:t>
                      </a:r>
                      <a:r>
                        <a:rPr lang="ru-RU" sz="1200" b="0" kern="1200" dirty="0">
                          <a:solidFill>
                            <a:srgbClr val="30454F"/>
                          </a:solidFill>
                          <a:latin typeface="Tahoma" panose="020B060403050404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компании от 0,5 </a:t>
                      </a:r>
                      <a:r>
                        <a:rPr lang="ru-RU" sz="1200" b="0" kern="1200" dirty="0" smtClean="0">
                          <a:solidFill>
                            <a:srgbClr val="30454F"/>
                          </a:solidFill>
                          <a:latin typeface="Tahoma" panose="020B060403050404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/>
                      </a:r>
                      <a:br>
                        <a:rPr lang="ru-RU" sz="1200" b="0" kern="1200" dirty="0" smtClean="0">
                          <a:solidFill>
                            <a:srgbClr val="30454F"/>
                          </a:solidFill>
                          <a:latin typeface="Tahoma" panose="020B060403050404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</a:br>
                      <a:r>
                        <a:rPr lang="ru-RU" sz="1200" b="0" kern="1200" dirty="0" smtClean="0">
                          <a:solidFill>
                            <a:srgbClr val="30454F"/>
                          </a:solidFill>
                          <a:latin typeface="Tahoma" panose="020B060403050404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до 5 </a:t>
                      </a:r>
                      <a:r>
                        <a:rPr lang="ru-RU" sz="1200" b="0" kern="1200" dirty="0">
                          <a:solidFill>
                            <a:srgbClr val="30454F"/>
                          </a:solidFill>
                          <a:latin typeface="Tahoma" panose="020B060403050404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лрд </a:t>
                      </a:r>
                      <a:r>
                        <a:rPr lang="ru-RU" sz="1200" b="0" kern="1200" dirty="0" smtClean="0">
                          <a:solidFill>
                            <a:srgbClr val="30454F"/>
                          </a:solidFill>
                          <a:latin typeface="Tahoma" panose="020B060403050404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руб.</a:t>
                      </a:r>
                    </a:p>
                    <a:p>
                      <a:pPr marL="171450" indent="-171450" algn="l" defTabSz="914400" rtl="0" eaLnBrk="1" fontAlgn="b" latinLnBrk="0" hangingPunct="1">
                        <a:buClr>
                          <a:srgbClr val="20B2AA"/>
                        </a:buClr>
                        <a:buSzPts val="1100"/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kern="1200" dirty="0" smtClean="0">
                          <a:solidFill>
                            <a:srgbClr val="30454F"/>
                          </a:solidFill>
                          <a:latin typeface="Tahoma" panose="020B060403050404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юджет проекта от 500 млн </a:t>
                      </a:r>
                      <a:br>
                        <a:rPr lang="ru-RU" sz="1200" b="0" kern="1200" dirty="0" smtClean="0">
                          <a:solidFill>
                            <a:srgbClr val="30454F"/>
                          </a:solidFill>
                          <a:latin typeface="Tahoma" panose="020B060403050404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</a:br>
                      <a:r>
                        <a:rPr lang="ru-RU" sz="1200" b="0" kern="1200" dirty="0" smtClean="0">
                          <a:solidFill>
                            <a:srgbClr val="30454F"/>
                          </a:solidFill>
                          <a:latin typeface="Tahoma" panose="020B060403050404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до 20 млрд руб.</a:t>
                      </a:r>
                    </a:p>
                    <a:p>
                      <a:pPr marL="171450" indent="-171450" algn="l" defTabSz="914400" rtl="0" eaLnBrk="1" fontAlgn="b" latinLnBrk="0" hangingPunct="1">
                        <a:buClr>
                          <a:srgbClr val="20B2AA"/>
                        </a:buClr>
                        <a:buSzPts val="1100"/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kern="1200" dirty="0" smtClean="0">
                          <a:solidFill>
                            <a:srgbClr val="30454F"/>
                          </a:solidFill>
                          <a:latin typeface="Tahoma" panose="020B060403050404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Конечные бенефициары – резиденты РФ.</a:t>
                      </a:r>
                      <a:endParaRPr lang="ru-RU" sz="1200" b="0" kern="1200" dirty="0">
                        <a:solidFill>
                          <a:srgbClr val="30454F"/>
                        </a:solidFill>
                        <a:latin typeface="Tahoma" panose="020B060403050404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45" marR="57145" marT="28572" marB="28572" anchor="ctr"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defTabSz="914400" rtl="0" eaLnBrk="1" fontAlgn="b" latinLnBrk="0" hangingPunct="1">
                        <a:buClr>
                          <a:srgbClr val="20B2AA"/>
                        </a:buClr>
                        <a:buSzPts val="1100"/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kern="1200" dirty="0">
                          <a:solidFill>
                            <a:srgbClr val="30454F"/>
                          </a:solidFill>
                          <a:latin typeface="Tahoma" panose="020B060403050404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Ведение экспортной </a:t>
                      </a:r>
                      <a:r>
                        <a:rPr lang="ru-RU" sz="1200" b="0" kern="1200" dirty="0" smtClean="0">
                          <a:solidFill>
                            <a:srgbClr val="30454F"/>
                          </a:solidFill>
                          <a:latin typeface="Tahoma" panose="020B060403050404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деятельности.</a:t>
                      </a:r>
                    </a:p>
                    <a:p>
                      <a:pPr marL="171450" indent="-171450" algn="l" defTabSz="914400" rtl="0" eaLnBrk="1" fontAlgn="b" latinLnBrk="0" hangingPunct="1">
                        <a:buClr>
                          <a:srgbClr val="20B2AA"/>
                        </a:buClr>
                        <a:buSzPts val="1100"/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kern="1200" dirty="0" smtClean="0">
                          <a:solidFill>
                            <a:srgbClr val="30454F"/>
                          </a:solidFill>
                          <a:latin typeface="Tahoma" panose="020B060403050404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оддержка </a:t>
                      </a:r>
                      <a:r>
                        <a:rPr lang="ru-RU" sz="1200" b="0" kern="1200" dirty="0">
                          <a:solidFill>
                            <a:srgbClr val="30454F"/>
                          </a:solidFill>
                          <a:latin typeface="Tahoma" panose="020B060403050404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олько </a:t>
                      </a:r>
                      <a:r>
                        <a:rPr lang="ru-RU" sz="1200" b="0" kern="1200" dirty="0" err="1" smtClean="0">
                          <a:solidFill>
                            <a:srgbClr val="30454F"/>
                          </a:solidFill>
                          <a:latin typeface="Tahoma" panose="020B060403050404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несырьевого</a:t>
                      </a:r>
                      <a:r>
                        <a:rPr lang="ru-RU" sz="1200" b="0" kern="1200" dirty="0" smtClean="0">
                          <a:solidFill>
                            <a:srgbClr val="30454F"/>
                          </a:solidFill>
                          <a:latin typeface="Tahoma" panose="020B060403050404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сектора.</a:t>
                      </a:r>
                    </a:p>
                    <a:p>
                      <a:pPr marL="171450" indent="-171450" algn="l" defTabSz="914400" rtl="0" eaLnBrk="1" fontAlgn="b" latinLnBrk="0" hangingPunct="1">
                        <a:buClr>
                          <a:srgbClr val="20B2AA"/>
                        </a:buClr>
                        <a:buSzPts val="1100"/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kern="1200" dirty="0" smtClean="0">
                          <a:solidFill>
                            <a:srgbClr val="30454F"/>
                          </a:solidFill>
                          <a:latin typeface="Tahoma" panose="020B060403050404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Доля российской составляющей в экспортном контракте – не менее 30%.</a:t>
                      </a:r>
                    </a:p>
                  </a:txBody>
                  <a:tcPr marL="57145" marR="57145" marT="28572" marB="28572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45132">
                <a:tc>
                  <a:txBody>
                    <a:bodyPr/>
                    <a:lstStyle/>
                    <a:p>
                      <a:pPr marL="171450" indent="-171450" algn="l" defTabSz="914400" rtl="0" eaLnBrk="1" fontAlgn="b" latinLnBrk="0" hangingPunct="1">
                        <a:buClr>
                          <a:srgbClr val="20B2AA"/>
                        </a:buClr>
                        <a:buSzPts val="1100"/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kern="1200" dirty="0">
                          <a:solidFill>
                            <a:srgbClr val="30454F"/>
                          </a:solidFill>
                          <a:latin typeface="Tahoma" panose="020B060403050404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Финансирование на проектной основе. </a:t>
                      </a:r>
                      <a:endParaRPr lang="ru-RU" sz="1200" b="0" kern="1200" dirty="0" smtClean="0">
                        <a:solidFill>
                          <a:srgbClr val="30454F"/>
                        </a:solidFill>
                        <a:latin typeface="Tahoma" panose="020B060403050404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171450" indent="-171450" algn="l" defTabSz="914400" rtl="0" eaLnBrk="1" fontAlgn="b" latinLnBrk="0" hangingPunct="1">
                        <a:buClr>
                          <a:srgbClr val="20B2AA"/>
                        </a:buClr>
                        <a:buSzPts val="1100"/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kern="1200" dirty="0" smtClean="0">
                          <a:solidFill>
                            <a:srgbClr val="30454F"/>
                          </a:solidFill>
                          <a:latin typeface="Tahoma" panose="020B060403050404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тоимость </a:t>
                      </a:r>
                      <a:r>
                        <a:rPr lang="ru-RU" sz="1200" b="0" kern="1200" dirty="0">
                          <a:solidFill>
                            <a:srgbClr val="30454F"/>
                          </a:solidFill>
                          <a:latin typeface="Tahoma" panose="020B060403050404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финансирования: </a:t>
                      </a:r>
                      <a:r>
                        <a:rPr lang="ru-RU" sz="1200" b="0" kern="1200" dirty="0" smtClean="0">
                          <a:solidFill>
                            <a:srgbClr val="30454F"/>
                          </a:solidFill>
                          <a:latin typeface="Tahoma" panose="020B060403050404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т 1% до 5% годовых (в зависимости от Программы финансирования) </a:t>
                      </a:r>
                    </a:p>
                    <a:p>
                      <a:pPr marL="171450" indent="-171450" algn="l" defTabSz="914400" rtl="0" eaLnBrk="1" fontAlgn="b" latinLnBrk="0" hangingPunct="1">
                        <a:buClr>
                          <a:srgbClr val="20B2AA"/>
                        </a:buClr>
                        <a:buSzPts val="1100"/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kern="1200" dirty="0" smtClean="0">
                          <a:solidFill>
                            <a:srgbClr val="30454F"/>
                          </a:solidFill>
                          <a:latin typeface="Tahoma" panose="020B060403050404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рок </a:t>
                      </a:r>
                      <a:r>
                        <a:rPr lang="ru-RU" sz="1200" b="0" kern="1200" dirty="0">
                          <a:solidFill>
                            <a:srgbClr val="30454F"/>
                          </a:solidFill>
                          <a:latin typeface="Tahoma" panose="020B060403050404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кредита: </a:t>
                      </a:r>
                      <a:r>
                        <a:rPr lang="ru-RU" sz="1200" b="0" kern="1200" dirty="0" smtClean="0">
                          <a:solidFill>
                            <a:srgbClr val="30454F"/>
                          </a:solidFill>
                          <a:latin typeface="Tahoma" panose="020B060403050404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-7 </a:t>
                      </a:r>
                      <a:r>
                        <a:rPr lang="ru-RU" sz="1200" b="0" kern="1200" dirty="0">
                          <a:solidFill>
                            <a:srgbClr val="30454F"/>
                          </a:solidFill>
                          <a:latin typeface="Tahoma" panose="020B060403050404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лет. </a:t>
                      </a:r>
                      <a:endParaRPr lang="ru-RU" sz="1200" b="0" kern="1200" dirty="0" smtClean="0">
                        <a:solidFill>
                          <a:srgbClr val="30454F"/>
                        </a:solidFill>
                        <a:latin typeface="Tahoma" panose="020B060403050404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171450" indent="-171450" algn="l" defTabSz="914400" rtl="0" eaLnBrk="1" fontAlgn="b" latinLnBrk="0" hangingPunct="1">
                        <a:buClr>
                          <a:srgbClr val="20B2AA"/>
                        </a:buClr>
                        <a:buSzPts val="1100"/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kern="1200" dirty="0" smtClean="0">
                          <a:solidFill>
                            <a:srgbClr val="30454F"/>
                          </a:solidFill>
                          <a:latin typeface="Tahoma" panose="020B060403050404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бъем финансирования: до </a:t>
                      </a:r>
                      <a:br>
                        <a:rPr lang="ru-RU" sz="1200" b="0" kern="1200" dirty="0" smtClean="0">
                          <a:solidFill>
                            <a:srgbClr val="30454F"/>
                          </a:solidFill>
                          <a:latin typeface="Tahoma" panose="020B060403050404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</a:br>
                      <a:r>
                        <a:rPr lang="ru-RU" sz="1200" b="0" kern="1200" dirty="0" smtClean="0">
                          <a:solidFill>
                            <a:srgbClr val="30454F"/>
                          </a:solidFill>
                          <a:latin typeface="Tahoma" panose="020B060403050404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50 млн </a:t>
                      </a:r>
                      <a:r>
                        <a:rPr lang="ru-RU" sz="1200" b="0" kern="1200" dirty="0">
                          <a:solidFill>
                            <a:srgbClr val="30454F"/>
                          </a:solidFill>
                          <a:latin typeface="Tahoma" panose="020B060403050404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руб. на одну сделку</a:t>
                      </a:r>
                      <a:r>
                        <a:rPr lang="ru-RU" sz="1200" b="0" kern="1200" dirty="0" smtClean="0">
                          <a:solidFill>
                            <a:srgbClr val="30454F"/>
                          </a:solidFill>
                          <a:latin typeface="Tahoma" panose="020B060403050404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.</a:t>
                      </a:r>
                    </a:p>
                    <a:p>
                      <a:pPr marL="171450" indent="-171450" algn="l" defTabSz="914400" rtl="0" eaLnBrk="1" fontAlgn="b" latinLnBrk="0" hangingPunct="1">
                        <a:buClr>
                          <a:srgbClr val="20B2AA"/>
                        </a:buClr>
                        <a:buSzPts val="1100"/>
                        <a:buFont typeface="Arial" panose="020B0604020202020204" pitchFamily="34" charset="0"/>
                        <a:buChar char="•"/>
                      </a:pPr>
                      <a:endParaRPr lang="ru-RU" sz="1200" b="0" kern="1200" dirty="0" smtClean="0">
                        <a:solidFill>
                          <a:srgbClr val="30454F"/>
                        </a:solidFill>
                        <a:latin typeface="Tahoma" panose="020B060403050404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171450" indent="-171450" algn="l" defTabSz="914400" rtl="0" eaLnBrk="1" fontAlgn="b" latinLnBrk="0" hangingPunct="1">
                        <a:buClr>
                          <a:srgbClr val="20B2AA"/>
                        </a:buClr>
                        <a:buSzPts val="1100"/>
                        <a:buFont typeface="Arial" panose="020B0604020202020204" pitchFamily="34" charset="0"/>
                        <a:buChar char="•"/>
                      </a:pPr>
                      <a:endParaRPr lang="ru-RU" sz="1200" b="0" kern="1200" dirty="0" smtClean="0">
                        <a:solidFill>
                          <a:srgbClr val="30454F"/>
                        </a:solidFill>
                        <a:latin typeface="Tahoma" panose="020B060403050404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171450" indent="-171450" algn="l" defTabSz="914400" rtl="0" eaLnBrk="1" fontAlgn="b" latinLnBrk="0" hangingPunct="1">
                        <a:buClr>
                          <a:srgbClr val="20B2AA"/>
                        </a:buClr>
                        <a:buSzPts val="1100"/>
                        <a:buFont typeface="Arial" panose="020B0604020202020204" pitchFamily="34" charset="0"/>
                        <a:buChar char="•"/>
                      </a:pPr>
                      <a:endParaRPr lang="ru-RU" sz="1200" b="0" kern="1200" dirty="0" smtClean="0">
                        <a:solidFill>
                          <a:srgbClr val="30454F"/>
                        </a:solidFill>
                        <a:latin typeface="Tahoma" panose="020B060403050404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171450" indent="-171450" algn="l" defTabSz="914400" rtl="0" eaLnBrk="1" fontAlgn="b" latinLnBrk="0" hangingPunct="1">
                        <a:buClr>
                          <a:srgbClr val="20B2AA"/>
                        </a:buClr>
                        <a:buSzPts val="1100"/>
                        <a:buFont typeface="Arial" panose="020B0604020202020204" pitchFamily="34" charset="0"/>
                        <a:buChar char="•"/>
                      </a:pPr>
                      <a:endParaRPr lang="ru-RU" sz="1200" b="0" kern="1200" dirty="0" smtClean="0">
                        <a:solidFill>
                          <a:srgbClr val="30454F"/>
                        </a:solidFill>
                        <a:latin typeface="Tahoma" panose="020B060403050404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171450" indent="-171450" algn="l" defTabSz="914400" rtl="0" eaLnBrk="1" fontAlgn="b" latinLnBrk="0" hangingPunct="1">
                        <a:buClr>
                          <a:srgbClr val="20B2AA"/>
                        </a:buClr>
                        <a:buSzPts val="1100"/>
                        <a:buFont typeface="Arial" panose="020B0604020202020204" pitchFamily="34" charset="0"/>
                        <a:buChar char="•"/>
                      </a:pPr>
                      <a:endParaRPr lang="ru-RU" sz="1200" b="0" kern="1200" dirty="0">
                        <a:solidFill>
                          <a:srgbClr val="30454F"/>
                        </a:solidFill>
                        <a:latin typeface="Tahoma" panose="020B060403050404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45" marR="57145" marT="28572" marB="28572" anchor="ctr"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defTabSz="914400" rtl="0" eaLnBrk="1" fontAlgn="b" latinLnBrk="0" hangingPunct="1">
                        <a:buClr>
                          <a:srgbClr val="20B2AA"/>
                        </a:buClr>
                        <a:buSzPts val="1100"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ru-RU" sz="1200" b="0" kern="1200" dirty="0">
                          <a:solidFill>
                            <a:srgbClr val="30454F"/>
                          </a:solidFill>
                          <a:latin typeface="Tahoma" panose="020B060403050404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рок гарантии: до 15 </a:t>
                      </a:r>
                      <a:r>
                        <a:rPr lang="ru-RU" sz="1200" b="0" kern="1200" dirty="0" smtClean="0">
                          <a:solidFill>
                            <a:srgbClr val="30454F"/>
                          </a:solidFill>
                          <a:latin typeface="Tahoma" panose="020B060403050404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лет.</a:t>
                      </a:r>
                    </a:p>
                    <a:p>
                      <a:pPr marL="171450" indent="-171450" algn="l" defTabSz="914400" rtl="0" eaLnBrk="1" fontAlgn="b" latinLnBrk="0" hangingPunct="1">
                        <a:buClr>
                          <a:srgbClr val="20B2AA"/>
                        </a:buClr>
                        <a:buSzPts val="1100"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ru-RU" sz="1200" b="0" kern="1200" dirty="0" smtClean="0">
                          <a:solidFill>
                            <a:srgbClr val="30454F"/>
                          </a:solidFill>
                          <a:latin typeface="Tahoma" panose="020B060403050404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Вознаграждение </a:t>
                      </a:r>
                      <a:r>
                        <a:rPr lang="ru-RU" sz="1200" b="0" kern="1200" dirty="0">
                          <a:solidFill>
                            <a:srgbClr val="30454F"/>
                          </a:solidFill>
                          <a:latin typeface="Tahoma" panose="020B060403050404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за гарантию: </a:t>
                      </a:r>
                      <a:r>
                        <a:rPr lang="ru-RU" sz="1200" b="0" kern="1200" dirty="0" smtClean="0">
                          <a:solidFill>
                            <a:srgbClr val="30454F"/>
                          </a:solidFill>
                          <a:latin typeface="Tahoma" panose="020B060403050404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/>
                      </a:r>
                      <a:br>
                        <a:rPr lang="ru-RU" sz="1200" b="0" kern="1200" dirty="0" smtClean="0">
                          <a:solidFill>
                            <a:srgbClr val="30454F"/>
                          </a:solidFill>
                          <a:latin typeface="Tahoma" panose="020B060403050404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</a:br>
                      <a:r>
                        <a:rPr lang="ru-RU" sz="1200" b="0" kern="1200" dirty="0" smtClean="0">
                          <a:solidFill>
                            <a:srgbClr val="30454F"/>
                          </a:solidFill>
                          <a:latin typeface="Tahoma" panose="020B060403050404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,75</a:t>
                      </a:r>
                      <a:r>
                        <a:rPr lang="ru-RU" sz="1200" b="0" kern="1200" dirty="0">
                          <a:solidFill>
                            <a:srgbClr val="30454F"/>
                          </a:solidFill>
                          <a:latin typeface="Tahoma" panose="020B060403050404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% годовых от суммы </a:t>
                      </a:r>
                      <a:r>
                        <a:rPr lang="ru-RU" sz="1200" b="0" kern="1200" dirty="0" smtClean="0">
                          <a:solidFill>
                            <a:srgbClr val="30454F"/>
                          </a:solidFill>
                          <a:latin typeface="Tahoma" panose="020B060403050404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гарантии.</a:t>
                      </a:r>
                    </a:p>
                    <a:p>
                      <a:pPr marL="171450" indent="-171450" algn="l" defTabSz="914400" rtl="0" eaLnBrk="1" fontAlgn="b" latinLnBrk="0" hangingPunct="1">
                        <a:buClr>
                          <a:srgbClr val="20B2AA"/>
                        </a:buClr>
                        <a:buSzPts val="1100"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ru-RU" sz="1200" b="0" kern="1200" dirty="0" smtClean="0">
                          <a:solidFill>
                            <a:srgbClr val="30454F"/>
                          </a:solidFill>
                          <a:latin typeface="Tahoma" panose="020B060403050404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умма </a:t>
                      </a:r>
                      <a:r>
                        <a:rPr lang="ru-RU" sz="1200" b="0" kern="1200" dirty="0">
                          <a:solidFill>
                            <a:srgbClr val="30454F"/>
                          </a:solidFill>
                          <a:latin typeface="Tahoma" panose="020B060403050404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гарантии: </a:t>
                      </a:r>
                      <a:r>
                        <a:rPr lang="ru-RU" sz="1200" b="0" kern="1200" dirty="0" smtClean="0">
                          <a:solidFill>
                            <a:srgbClr val="30454F"/>
                          </a:solidFill>
                          <a:latin typeface="Tahoma" panose="020B060403050404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т 50</a:t>
                      </a:r>
                      <a:r>
                        <a:rPr lang="ru-RU" sz="1200" b="0" kern="1200" dirty="0">
                          <a:solidFill>
                            <a:srgbClr val="30454F"/>
                          </a:solidFill>
                          <a:latin typeface="Tahoma" panose="020B060403050404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% </a:t>
                      </a:r>
                      <a:r>
                        <a:rPr lang="ru-RU" sz="1200" b="0" kern="1200" dirty="0" smtClean="0">
                          <a:solidFill>
                            <a:srgbClr val="30454F"/>
                          </a:solidFill>
                          <a:latin typeface="Tahoma" panose="020B060403050404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до 100% от </a:t>
                      </a:r>
                      <a:r>
                        <a:rPr lang="ru-RU" sz="1200" b="0" kern="1200" dirty="0">
                          <a:solidFill>
                            <a:srgbClr val="30454F"/>
                          </a:solidFill>
                          <a:latin typeface="Tahoma" panose="020B060403050404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уммы </a:t>
                      </a:r>
                      <a:r>
                        <a:rPr lang="ru-RU" sz="1200" b="0" kern="1200" dirty="0" smtClean="0">
                          <a:solidFill>
                            <a:srgbClr val="30454F"/>
                          </a:solidFill>
                          <a:latin typeface="Tahoma" panose="020B060403050404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кредита в соответствии с каталогом гарантийных продуктов, в том числе гарантии для «</a:t>
                      </a:r>
                      <a:r>
                        <a:rPr lang="ru-RU" sz="1200" b="0" kern="1200" dirty="0" err="1" smtClean="0">
                          <a:solidFill>
                            <a:srgbClr val="30454F"/>
                          </a:solidFill>
                          <a:latin typeface="Tahoma" panose="020B060403050404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тартапов</a:t>
                      </a:r>
                      <a:r>
                        <a:rPr lang="ru-RU" sz="1200" b="0" kern="1200" dirty="0" smtClean="0">
                          <a:solidFill>
                            <a:srgbClr val="30454F"/>
                          </a:solidFill>
                          <a:latin typeface="Tahoma" panose="020B060403050404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» и «быстрорастущих» инновационных, высокотехнологичных субъектов МСП («газелей»)</a:t>
                      </a:r>
                    </a:p>
                    <a:p>
                      <a:pPr marL="171450" indent="-171450" algn="l" defTabSz="914400" rtl="0" eaLnBrk="1" fontAlgn="b" latinLnBrk="0" hangingPunct="1">
                        <a:buClr>
                          <a:srgbClr val="20B2AA"/>
                        </a:buClr>
                        <a:buSzPts val="1100"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ru-RU" sz="1200" b="0" kern="1200" dirty="0" smtClean="0">
                          <a:solidFill>
                            <a:srgbClr val="30454F"/>
                          </a:solidFill>
                          <a:latin typeface="Tahoma" panose="020B060403050404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рограмма стимулирования кредитования</a:t>
                      </a:r>
                      <a:r>
                        <a:rPr lang="en-US" sz="1200" b="0" kern="1200" dirty="0" smtClean="0">
                          <a:solidFill>
                            <a:srgbClr val="30454F"/>
                          </a:solidFill>
                          <a:latin typeface="Tahoma" panose="020B060403050404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0" kern="1200" dirty="0" smtClean="0">
                          <a:solidFill>
                            <a:srgbClr val="30454F"/>
                          </a:solidFill>
                          <a:latin typeface="Tahoma" panose="020B060403050404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СП (не более 9,6%</a:t>
                      </a:r>
                      <a:r>
                        <a:rPr lang="en-US" sz="1200" b="0" kern="1200" dirty="0" smtClean="0">
                          <a:solidFill>
                            <a:srgbClr val="30454F"/>
                          </a:solidFill>
                          <a:latin typeface="Tahoma" panose="020B060403050404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/</a:t>
                      </a:r>
                      <a:r>
                        <a:rPr lang="ru-RU" sz="1200" b="0" kern="1200" dirty="0" smtClean="0">
                          <a:solidFill>
                            <a:srgbClr val="30454F"/>
                          </a:solidFill>
                          <a:latin typeface="Tahoma" panose="020B060403050404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,6% для приоритетных </a:t>
                      </a:r>
                      <a:r>
                        <a:rPr lang="en-US" sz="1200" b="0" kern="1200" dirty="0" smtClean="0">
                          <a:solidFill>
                            <a:srgbClr val="30454F"/>
                          </a:solidFill>
                          <a:latin typeface="Tahoma" panose="020B060403050404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/</a:t>
                      </a:r>
                      <a:r>
                        <a:rPr lang="ru-RU" sz="1200" b="0" kern="1200" dirty="0" smtClean="0">
                          <a:solidFill>
                            <a:srgbClr val="30454F"/>
                          </a:solidFill>
                          <a:latin typeface="Tahoma" panose="020B060403050404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неприоритетных отраслей).</a:t>
                      </a:r>
                    </a:p>
                    <a:p>
                      <a:pPr marL="171450" marR="0" lvl="0" indent="-17145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20B2AA"/>
                        </a:buClr>
                        <a:buSzPts val="11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b="0" kern="1200" dirty="0" smtClean="0">
                          <a:solidFill>
                            <a:srgbClr val="30454F"/>
                          </a:solidFill>
                          <a:latin typeface="Tahoma" panose="020B060403050404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рограмма субсидирования 1764 (ключевая ставка + 2 %, но не более 8,5 % с 2019 г.)</a:t>
                      </a:r>
                    </a:p>
                  </a:txBody>
                  <a:tcPr marL="57145" marR="57145" marT="28572" marB="28572" anchor="ctr"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defTabSz="914400" rtl="0" eaLnBrk="1" fontAlgn="b" latinLnBrk="0" hangingPunct="1">
                        <a:buClr>
                          <a:srgbClr val="20B2AA"/>
                        </a:buClr>
                        <a:buSzPts val="1100"/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kern="1200" dirty="0" smtClean="0">
                          <a:solidFill>
                            <a:srgbClr val="30454F"/>
                          </a:solidFill>
                          <a:latin typeface="Tahoma" panose="020B060403050404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Участие в акционерном капитале до 50%.</a:t>
                      </a:r>
                    </a:p>
                    <a:p>
                      <a:pPr marL="171450" indent="-171450" algn="l" defTabSz="914400" rtl="0" eaLnBrk="1" fontAlgn="b" latinLnBrk="0" hangingPunct="1">
                        <a:buClr>
                          <a:srgbClr val="20B2AA"/>
                        </a:buClr>
                        <a:buSzPts val="1100"/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kern="1200" dirty="0" smtClean="0">
                          <a:solidFill>
                            <a:srgbClr val="30454F"/>
                          </a:solidFill>
                          <a:latin typeface="Tahoma" panose="020B060403050404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бъем инвестирования: до </a:t>
                      </a:r>
                      <a:br>
                        <a:rPr lang="ru-RU" sz="1200" b="0" kern="1200" dirty="0" smtClean="0">
                          <a:solidFill>
                            <a:srgbClr val="30454F"/>
                          </a:solidFill>
                          <a:latin typeface="Tahoma" panose="020B060403050404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</a:br>
                      <a:r>
                        <a:rPr lang="ru-RU" sz="1200" b="0" kern="1200" dirty="0" smtClean="0">
                          <a:solidFill>
                            <a:srgbClr val="30454F"/>
                          </a:solidFill>
                          <a:latin typeface="Tahoma" panose="020B060403050404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 млрд руб. в один проект.</a:t>
                      </a:r>
                    </a:p>
                    <a:p>
                      <a:pPr marL="171450" indent="-171450" algn="l" defTabSz="914400" rtl="0" eaLnBrk="1" fontAlgn="b" latinLnBrk="0" hangingPunct="1">
                        <a:buClr>
                          <a:srgbClr val="20B2AA"/>
                        </a:buClr>
                        <a:buSzPts val="1100"/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kern="1200" dirty="0" smtClean="0">
                          <a:solidFill>
                            <a:srgbClr val="30454F"/>
                          </a:solidFill>
                          <a:latin typeface="Tahoma" panose="020B060403050404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Внутренняя норма доходности превышает 13,5% в рублях.</a:t>
                      </a:r>
                    </a:p>
                    <a:p>
                      <a:pPr marL="171450" indent="-171450" algn="l" defTabSz="914400" rtl="0" eaLnBrk="1" fontAlgn="b" latinLnBrk="0" hangingPunct="1">
                        <a:buClr>
                          <a:srgbClr val="20B2AA"/>
                        </a:buClr>
                        <a:buSzPts val="1100"/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kern="1200" dirty="0" smtClean="0">
                          <a:solidFill>
                            <a:srgbClr val="30454F"/>
                          </a:solidFill>
                          <a:latin typeface="Tahoma" panose="020B060403050404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Выход РФПИ из инвестиции через </a:t>
                      </a:r>
                      <a:br>
                        <a:rPr lang="ru-RU" sz="1200" b="0" kern="1200" dirty="0" smtClean="0">
                          <a:solidFill>
                            <a:srgbClr val="30454F"/>
                          </a:solidFill>
                          <a:latin typeface="Tahoma" panose="020B060403050404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</a:br>
                      <a:r>
                        <a:rPr lang="ru-RU" sz="1200" b="0" kern="1200" dirty="0" smtClean="0">
                          <a:solidFill>
                            <a:srgbClr val="30454F"/>
                          </a:solidFill>
                          <a:latin typeface="Tahoma" panose="020B060403050404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-7 лет.</a:t>
                      </a:r>
                    </a:p>
                    <a:p>
                      <a:pPr marL="171450" indent="-171450" algn="l" defTabSz="914400" rtl="0" eaLnBrk="1" fontAlgn="b" latinLnBrk="0" hangingPunct="1">
                        <a:buClr>
                          <a:srgbClr val="20B2AA"/>
                        </a:buClr>
                        <a:buSzPts val="1100"/>
                        <a:buFont typeface="Arial" panose="020B0604020202020204" pitchFamily="34" charset="0"/>
                        <a:buChar char="•"/>
                      </a:pPr>
                      <a:endParaRPr lang="ru-RU" sz="1200" b="0" kern="1200" dirty="0" smtClean="0">
                        <a:solidFill>
                          <a:srgbClr val="30454F"/>
                        </a:solidFill>
                        <a:latin typeface="Tahoma" panose="020B060403050404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171450" indent="-171450" algn="l" defTabSz="914400" rtl="0" eaLnBrk="1" fontAlgn="b" latinLnBrk="0" hangingPunct="1">
                        <a:buClr>
                          <a:srgbClr val="20B2AA"/>
                        </a:buClr>
                        <a:buSzPts val="1100"/>
                        <a:buFont typeface="Arial" panose="020B0604020202020204" pitchFamily="34" charset="0"/>
                        <a:buChar char="•"/>
                      </a:pPr>
                      <a:endParaRPr lang="ru-RU" sz="1200" b="0" kern="1200" dirty="0" smtClean="0">
                        <a:solidFill>
                          <a:srgbClr val="30454F"/>
                        </a:solidFill>
                        <a:latin typeface="Tahoma" panose="020B060403050404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171450" indent="-171450" algn="l" defTabSz="914400" rtl="0" eaLnBrk="1" fontAlgn="b" latinLnBrk="0" hangingPunct="1">
                        <a:buClr>
                          <a:srgbClr val="20B2AA"/>
                        </a:buClr>
                        <a:buSzPts val="1100"/>
                        <a:buFont typeface="Arial" panose="020B0604020202020204" pitchFamily="34" charset="0"/>
                        <a:buChar char="•"/>
                      </a:pPr>
                      <a:endParaRPr lang="ru-RU" sz="1200" b="0" kern="1200" dirty="0" smtClean="0">
                        <a:solidFill>
                          <a:srgbClr val="30454F"/>
                        </a:solidFill>
                        <a:latin typeface="Tahoma" panose="020B060403050404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171450" indent="-171450" algn="l" defTabSz="914400" rtl="0" eaLnBrk="1" fontAlgn="b" latinLnBrk="0" hangingPunct="1">
                        <a:buClr>
                          <a:srgbClr val="20B2AA"/>
                        </a:buClr>
                        <a:buSzPts val="1100"/>
                        <a:buFont typeface="Arial" panose="020B0604020202020204" pitchFamily="34" charset="0"/>
                        <a:buChar char="•"/>
                      </a:pPr>
                      <a:endParaRPr lang="ru-RU" sz="1200" b="0" kern="1200" dirty="0">
                        <a:solidFill>
                          <a:srgbClr val="30454F"/>
                        </a:solidFill>
                        <a:latin typeface="Tahoma" panose="020B060403050404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45" marR="57145" marT="28572" marB="28572" anchor="ctr"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defTabSz="914400" rtl="0" eaLnBrk="1" fontAlgn="b" latinLnBrk="0" hangingPunct="1">
                        <a:buClr>
                          <a:srgbClr val="20B2AA"/>
                        </a:buClr>
                        <a:buSzPts val="1100"/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kern="1200" dirty="0" smtClean="0">
                          <a:solidFill>
                            <a:srgbClr val="30454F"/>
                          </a:solidFill>
                          <a:latin typeface="Tahoma" panose="020B060403050404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 страховых продуктов ЭКСАР.</a:t>
                      </a:r>
                    </a:p>
                    <a:p>
                      <a:pPr marL="171450" indent="-171450" algn="l" defTabSz="914400" rtl="0" eaLnBrk="1" fontAlgn="b" latinLnBrk="0" hangingPunct="1">
                        <a:buClr>
                          <a:srgbClr val="20B2AA"/>
                        </a:buClr>
                        <a:buSzPts val="1100"/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kern="1200" dirty="0" smtClean="0">
                          <a:solidFill>
                            <a:srgbClr val="30454F"/>
                          </a:solidFill>
                          <a:latin typeface="Tahoma" panose="020B060403050404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Кредитование: Размер кредита – до 100% от суммы экспортного контракта.</a:t>
                      </a:r>
                    </a:p>
                    <a:p>
                      <a:pPr marL="171450" indent="-171450" algn="l" defTabSz="914400" rtl="0" eaLnBrk="1" fontAlgn="b" latinLnBrk="0" hangingPunct="1">
                        <a:buClr>
                          <a:srgbClr val="20B2AA"/>
                        </a:buClr>
                        <a:buSzPts val="1100"/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kern="1200" dirty="0" smtClean="0">
                          <a:solidFill>
                            <a:srgbClr val="30454F"/>
                          </a:solidFill>
                          <a:latin typeface="Tahoma" panose="020B060403050404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Валюта кредита – российский рубль или валюта экспортного контракта.</a:t>
                      </a:r>
                    </a:p>
                    <a:p>
                      <a:pPr marL="171450" indent="-171450" algn="l" defTabSz="914400" rtl="0" eaLnBrk="1" fontAlgn="b" latinLnBrk="0" hangingPunct="1">
                        <a:buClr>
                          <a:srgbClr val="20B2AA"/>
                        </a:buClr>
                        <a:buSzPts val="1100"/>
                        <a:buFont typeface="Arial" panose="020B0604020202020204" pitchFamily="34" charset="0"/>
                        <a:buChar char="•"/>
                      </a:pPr>
                      <a:endParaRPr lang="ru-RU" sz="1200" b="0" kern="1200" dirty="0" smtClean="0">
                        <a:solidFill>
                          <a:srgbClr val="30454F"/>
                        </a:solidFill>
                        <a:latin typeface="Tahoma" panose="020B060403050404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171450" indent="-171450" algn="l" defTabSz="914400" rtl="0" eaLnBrk="1" fontAlgn="b" latinLnBrk="0" hangingPunct="1">
                        <a:buClr>
                          <a:srgbClr val="20B2AA"/>
                        </a:buClr>
                        <a:buSzPts val="1100"/>
                        <a:buFont typeface="Arial" panose="020B0604020202020204" pitchFamily="34" charset="0"/>
                        <a:buChar char="•"/>
                      </a:pPr>
                      <a:endParaRPr lang="ru-RU" sz="1200" b="0" kern="1200" dirty="0" smtClean="0">
                        <a:solidFill>
                          <a:srgbClr val="30454F"/>
                        </a:solidFill>
                        <a:latin typeface="Tahoma" panose="020B060403050404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171450" indent="-171450" algn="l" defTabSz="914400" rtl="0" eaLnBrk="1" fontAlgn="b" latinLnBrk="0" hangingPunct="1">
                        <a:buClr>
                          <a:srgbClr val="20B2AA"/>
                        </a:buClr>
                        <a:buSzPts val="1100"/>
                        <a:buFont typeface="Arial" panose="020B0604020202020204" pitchFamily="34" charset="0"/>
                        <a:buChar char="•"/>
                      </a:pPr>
                      <a:endParaRPr lang="ru-RU" sz="1200" b="0" kern="1200" dirty="0" smtClean="0">
                        <a:solidFill>
                          <a:srgbClr val="30454F"/>
                        </a:solidFill>
                        <a:latin typeface="Tahoma" panose="020B060403050404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171450" indent="-171450" algn="l" defTabSz="914400" rtl="0" eaLnBrk="1" fontAlgn="b" latinLnBrk="0" hangingPunct="1">
                        <a:buClr>
                          <a:srgbClr val="20B2AA"/>
                        </a:buClr>
                        <a:buSzPts val="1100"/>
                        <a:buFont typeface="Arial" panose="020B0604020202020204" pitchFamily="34" charset="0"/>
                        <a:buChar char="•"/>
                      </a:pPr>
                      <a:endParaRPr lang="ru-RU" sz="1200" b="0" kern="1200" dirty="0">
                        <a:solidFill>
                          <a:srgbClr val="30454F"/>
                        </a:solidFill>
                        <a:latin typeface="Tahoma" panose="020B060403050404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45" marR="57145" marT="28572" marB="28572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pic>
        <p:nvPicPr>
          <p:cNvPr id="36" name="Рисунок 3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3781625" y="4577"/>
            <a:ext cx="8431652" cy="915716"/>
          </a:xfrm>
          <a:prstGeom prst="rect">
            <a:avLst/>
          </a:prstGeom>
          <a:noFill/>
        </p:spPr>
        <p:txBody>
          <a:bodyPr wrap="square" lIns="59057" tIns="29528" rIns="0" bIns="29528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Tahoma" pitchFamily="34" charset="0"/>
                <a:cs typeface="Tahoma" pitchFamily="34" charset="0"/>
              </a:rPr>
              <a:t>Координация </a:t>
            </a:r>
            <a:r>
              <a:rPr kumimoji="0" lang="ru-RU" alt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Tahoma" pitchFamily="34" charset="0"/>
                <a:cs typeface="Tahoma" pitchFamily="34" charset="0"/>
              </a:rPr>
              <a:t>мер поддержки </a:t>
            </a:r>
            <a:endParaRPr kumimoji="0" lang="ru-RU" altLang="ru-RU" sz="2000" b="1" i="0" u="none" strike="noStrike" kern="1200" cap="none" spc="0" normalizeH="0" baseline="0" noProof="0" dirty="0" smtClean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Tahoma" pitchFamily="34" charset="0"/>
              <a:cs typeface="Tahoma" pitchFamily="34" charset="0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Tahoma" pitchFamily="34" charset="0"/>
                <a:cs typeface="Tahoma" pitchFamily="34" charset="0"/>
              </a:rPr>
              <a:t>институтов </a:t>
            </a:r>
            <a:r>
              <a:rPr kumimoji="0" lang="ru-RU" alt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Tahoma" pitchFamily="34" charset="0"/>
                <a:cs typeface="Tahoma" pitchFamily="34" charset="0"/>
              </a:rPr>
              <a:t>развития – Инвестиционный </a:t>
            </a:r>
            <a:r>
              <a:rPr kumimoji="0" lang="ru-RU" alt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Tahoma" pitchFamily="34" charset="0"/>
                <a:cs typeface="Tahoma" pitchFamily="34" charset="0"/>
              </a:rPr>
              <a:t>лифт</a:t>
            </a:r>
            <a:endParaRPr kumimoji="0" lang="ru-RU" altLang="ru-RU" sz="2000" b="0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57" name="Скругленный прямоугольник 56"/>
          <p:cNvSpPr/>
          <p:nvPr/>
        </p:nvSpPr>
        <p:spPr>
          <a:xfrm>
            <a:off x="276006" y="5315929"/>
            <a:ext cx="2305242" cy="2857654"/>
          </a:xfrm>
          <a:prstGeom prst="roundRect">
            <a:avLst>
              <a:gd name="adj" fmla="val 4144"/>
            </a:avLst>
          </a:prstGeom>
          <a:solidFill>
            <a:schemeClr val="accent1">
              <a:lumMod val="60000"/>
              <a:lumOff val="4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lIns="72000" tIns="72000" rIns="72000" bIns="72000" rtlCol="0" anchor="ctr"/>
          <a:lstStyle/>
          <a:p>
            <a:pPr marL="0" marR="0" lvl="0" indent="0" algn="r" defTabSz="9143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араметры финансирования                           </a:t>
            </a:r>
            <a:endParaRPr kumimoji="0" lang="ru-RU" sz="2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pSp>
        <p:nvGrpSpPr>
          <p:cNvPr id="58" name="Группа 57"/>
          <p:cNvGrpSpPr/>
          <p:nvPr/>
        </p:nvGrpSpPr>
        <p:grpSpPr>
          <a:xfrm>
            <a:off x="373801" y="5918964"/>
            <a:ext cx="651922" cy="753426"/>
            <a:chOff x="504944" y="4355696"/>
            <a:chExt cx="499365" cy="563436"/>
          </a:xfrm>
        </p:grpSpPr>
        <p:pic>
          <p:nvPicPr>
            <p:cNvPr id="59" name="Рисунок 58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04944" y="4355696"/>
              <a:ext cx="360820" cy="360820"/>
            </a:xfrm>
            <a:prstGeom prst="rect">
              <a:avLst/>
            </a:prstGeom>
          </p:spPr>
        </p:pic>
        <p:grpSp>
          <p:nvGrpSpPr>
            <p:cNvPr id="60" name="Group 629"/>
            <p:cNvGrpSpPr/>
            <p:nvPr/>
          </p:nvGrpSpPr>
          <p:grpSpPr>
            <a:xfrm>
              <a:off x="657808" y="4451532"/>
              <a:ext cx="346501" cy="467600"/>
              <a:chOff x="8731241" y="4262438"/>
              <a:chExt cx="458788" cy="619125"/>
            </a:xfrm>
            <a:solidFill>
              <a:schemeClr val="tx1"/>
            </a:solidFill>
          </p:grpSpPr>
          <p:sp>
            <p:nvSpPr>
              <p:cNvPr id="61" name="Freeform 857"/>
              <p:cNvSpPr>
                <a:spLocks noEditPoints="1"/>
              </p:cNvSpPr>
              <p:nvPr/>
            </p:nvSpPr>
            <p:spPr bwMode="auto">
              <a:xfrm>
                <a:off x="8731241" y="4262438"/>
                <a:ext cx="458788" cy="619125"/>
              </a:xfrm>
              <a:custGeom>
                <a:avLst/>
                <a:gdLst>
                  <a:gd name="T0" fmla="*/ 90 w 157"/>
                  <a:gd name="T1" fmla="*/ 212 h 212"/>
                  <a:gd name="T2" fmla="*/ 18 w 157"/>
                  <a:gd name="T3" fmla="*/ 212 h 212"/>
                  <a:gd name="T4" fmla="*/ 0 w 157"/>
                  <a:gd name="T5" fmla="*/ 194 h 212"/>
                  <a:gd name="T6" fmla="*/ 0 w 157"/>
                  <a:gd name="T7" fmla="*/ 17 h 212"/>
                  <a:gd name="T8" fmla="*/ 18 w 157"/>
                  <a:gd name="T9" fmla="*/ 0 h 212"/>
                  <a:gd name="T10" fmla="*/ 140 w 157"/>
                  <a:gd name="T11" fmla="*/ 0 h 212"/>
                  <a:gd name="T12" fmla="*/ 157 w 157"/>
                  <a:gd name="T13" fmla="*/ 17 h 212"/>
                  <a:gd name="T14" fmla="*/ 157 w 157"/>
                  <a:gd name="T15" fmla="*/ 145 h 212"/>
                  <a:gd name="T16" fmla="*/ 90 w 157"/>
                  <a:gd name="T17" fmla="*/ 212 h 212"/>
                  <a:gd name="T18" fmla="*/ 18 w 157"/>
                  <a:gd name="T19" fmla="*/ 12 h 212"/>
                  <a:gd name="T20" fmla="*/ 12 w 157"/>
                  <a:gd name="T21" fmla="*/ 17 h 212"/>
                  <a:gd name="T22" fmla="*/ 12 w 157"/>
                  <a:gd name="T23" fmla="*/ 194 h 212"/>
                  <a:gd name="T24" fmla="*/ 18 w 157"/>
                  <a:gd name="T25" fmla="*/ 200 h 212"/>
                  <a:gd name="T26" fmla="*/ 85 w 157"/>
                  <a:gd name="T27" fmla="*/ 200 h 212"/>
                  <a:gd name="T28" fmla="*/ 145 w 157"/>
                  <a:gd name="T29" fmla="*/ 140 h 212"/>
                  <a:gd name="T30" fmla="*/ 145 w 157"/>
                  <a:gd name="T31" fmla="*/ 17 h 212"/>
                  <a:gd name="T32" fmla="*/ 140 w 157"/>
                  <a:gd name="T33" fmla="*/ 12 h 212"/>
                  <a:gd name="T34" fmla="*/ 18 w 157"/>
                  <a:gd name="T35" fmla="*/ 12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57" h="212">
                    <a:moveTo>
                      <a:pt x="90" y="212"/>
                    </a:moveTo>
                    <a:cubicBezTo>
                      <a:pt x="18" y="212"/>
                      <a:pt x="18" y="212"/>
                      <a:pt x="18" y="212"/>
                    </a:cubicBezTo>
                    <a:cubicBezTo>
                      <a:pt x="8" y="212"/>
                      <a:pt x="0" y="204"/>
                      <a:pt x="0" y="194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8"/>
                      <a:pt x="8" y="0"/>
                      <a:pt x="18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49" y="0"/>
                      <a:pt x="157" y="8"/>
                      <a:pt x="157" y="17"/>
                    </a:cubicBezTo>
                    <a:cubicBezTo>
                      <a:pt x="157" y="145"/>
                      <a:pt x="157" y="145"/>
                      <a:pt x="157" y="145"/>
                    </a:cubicBezTo>
                    <a:lnTo>
                      <a:pt x="90" y="212"/>
                    </a:lnTo>
                    <a:close/>
                    <a:moveTo>
                      <a:pt x="18" y="12"/>
                    </a:moveTo>
                    <a:cubicBezTo>
                      <a:pt x="15" y="12"/>
                      <a:pt x="12" y="14"/>
                      <a:pt x="12" y="17"/>
                    </a:cubicBezTo>
                    <a:cubicBezTo>
                      <a:pt x="12" y="194"/>
                      <a:pt x="12" y="194"/>
                      <a:pt x="12" y="194"/>
                    </a:cubicBezTo>
                    <a:cubicBezTo>
                      <a:pt x="12" y="197"/>
                      <a:pt x="15" y="200"/>
                      <a:pt x="18" y="200"/>
                    </a:cubicBezTo>
                    <a:cubicBezTo>
                      <a:pt x="85" y="200"/>
                      <a:pt x="85" y="200"/>
                      <a:pt x="85" y="200"/>
                    </a:cubicBezTo>
                    <a:cubicBezTo>
                      <a:pt x="145" y="140"/>
                      <a:pt x="145" y="140"/>
                      <a:pt x="145" y="140"/>
                    </a:cubicBezTo>
                    <a:cubicBezTo>
                      <a:pt x="145" y="17"/>
                      <a:pt x="145" y="17"/>
                      <a:pt x="145" y="17"/>
                    </a:cubicBezTo>
                    <a:cubicBezTo>
                      <a:pt x="145" y="14"/>
                      <a:pt x="143" y="12"/>
                      <a:pt x="140" y="12"/>
                    </a:cubicBezTo>
                    <a:lnTo>
                      <a:pt x="18" y="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00000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02083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73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62" name="Freeform 858"/>
              <p:cNvSpPr>
                <a:spLocks/>
              </p:cNvSpPr>
              <p:nvPr/>
            </p:nvSpPr>
            <p:spPr bwMode="auto">
              <a:xfrm>
                <a:off x="8970963" y="4659313"/>
                <a:ext cx="201613" cy="204788"/>
              </a:xfrm>
              <a:custGeom>
                <a:avLst/>
                <a:gdLst>
                  <a:gd name="T0" fmla="*/ 12 w 69"/>
                  <a:gd name="T1" fmla="*/ 70 h 70"/>
                  <a:gd name="T2" fmla="*/ 0 w 69"/>
                  <a:gd name="T3" fmla="*/ 70 h 70"/>
                  <a:gd name="T4" fmla="*/ 0 w 69"/>
                  <a:gd name="T5" fmla="*/ 18 h 70"/>
                  <a:gd name="T6" fmla="*/ 18 w 69"/>
                  <a:gd name="T7" fmla="*/ 0 h 70"/>
                  <a:gd name="T8" fmla="*/ 69 w 69"/>
                  <a:gd name="T9" fmla="*/ 0 h 70"/>
                  <a:gd name="T10" fmla="*/ 69 w 69"/>
                  <a:gd name="T11" fmla="*/ 12 h 70"/>
                  <a:gd name="T12" fmla="*/ 18 w 69"/>
                  <a:gd name="T13" fmla="*/ 12 h 70"/>
                  <a:gd name="T14" fmla="*/ 12 w 69"/>
                  <a:gd name="T15" fmla="*/ 18 h 70"/>
                  <a:gd name="T16" fmla="*/ 12 w 69"/>
                  <a:gd name="T17" fmla="*/ 7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9" h="70">
                    <a:moveTo>
                      <a:pt x="12" y="70"/>
                    </a:moveTo>
                    <a:cubicBezTo>
                      <a:pt x="0" y="70"/>
                      <a:pt x="0" y="70"/>
                      <a:pt x="0" y="70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8"/>
                      <a:pt x="8" y="0"/>
                      <a:pt x="18" y="0"/>
                    </a:cubicBezTo>
                    <a:cubicBezTo>
                      <a:pt x="69" y="0"/>
                      <a:pt x="69" y="0"/>
                      <a:pt x="69" y="0"/>
                    </a:cubicBezTo>
                    <a:cubicBezTo>
                      <a:pt x="69" y="12"/>
                      <a:pt x="69" y="12"/>
                      <a:pt x="69" y="12"/>
                    </a:cubicBezTo>
                    <a:cubicBezTo>
                      <a:pt x="18" y="12"/>
                      <a:pt x="18" y="12"/>
                      <a:pt x="18" y="12"/>
                    </a:cubicBezTo>
                    <a:cubicBezTo>
                      <a:pt x="14" y="12"/>
                      <a:pt x="12" y="15"/>
                      <a:pt x="12" y="18"/>
                    </a:cubicBezTo>
                    <a:lnTo>
                      <a:pt x="12" y="7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00000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02083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73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</p:grpSp>
      </p:grpSp>
      <p:pic>
        <p:nvPicPr>
          <p:cNvPr id="63" name="Изображение 2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72813" y="1166460"/>
            <a:ext cx="981883" cy="272924"/>
          </a:xfrm>
          <a:prstGeom prst="rect">
            <a:avLst/>
          </a:prstGeom>
        </p:spPr>
      </p:pic>
      <p:pic>
        <p:nvPicPr>
          <p:cNvPr id="65" name="Рисунок 6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97191" y="1084265"/>
            <a:ext cx="1808018" cy="385414"/>
          </a:xfrm>
          <a:prstGeom prst="rect">
            <a:avLst/>
          </a:prstGeom>
        </p:spPr>
      </p:pic>
      <p:sp>
        <p:nvSpPr>
          <p:cNvPr id="69" name="Скругленный прямоугольник 68"/>
          <p:cNvSpPr/>
          <p:nvPr/>
        </p:nvSpPr>
        <p:spPr>
          <a:xfrm>
            <a:off x="288370" y="3041842"/>
            <a:ext cx="2310468" cy="2128872"/>
          </a:xfrm>
          <a:prstGeom prst="roundRect">
            <a:avLst>
              <a:gd name="adj" fmla="val 4144"/>
            </a:avLst>
          </a:prstGeom>
          <a:solidFill>
            <a:schemeClr val="accent1">
              <a:lumMod val="60000"/>
              <a:lumOff val="4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lIns="72000" tIns="72000" rIns="72000" bIns="72000" rtlCol="0" anchor="ctr"/>
          <a:lstStyle/>
          <a:p>
            <a:pPr marL="0" marR="0" lvl="0" indent="0" algn="r" defTabSz="9143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лючевые </a:t>
            </a:r>
            <a:br>
              <a:rPr kumimoji="0" lang="ru-RU" sz="20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</a:br>
            <a:r>
              <a:rPr kumimoji="0" lang="ru-RU" sz="20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требования </a:t>
            </a:r>
            <a:br>
              <a:rPr kumimoji="0" lang="ru-RU" sz="20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</a:br>
            <a:r>
              <a:rPr kumimoji="0" lang="ru-RU" sz="20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 проектам</a:t>
            </a:r>
            <a:endParaRPr kumimoji="0" lang="ru-RU" sz="2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pic>
        <p:nvPicPr>
          <p:cNvPr id="70" name="Рисунок 6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801" y="3127223"/>
            <a:ext cx="810502" cy="801980"/>
          </a:xfrm>
          <a:prstGeom prst="rect">
            <a:avLst/>
          </a:prstGeom>
        </p:spPr>
      </p:pic>
      <p:sp>
        <p:nvSpPr>
          <p:cNvPr id="71" name="Скругленный прямоугольник 70"/>
          <p:cNvSpPr/>
          <p:nvPr/>
        </p:nvSpPr>
        <p:spPr>
          <a:xfrm>
            <a:off x="287767" y="1828800"/>
            <a:ext cx="2311674" cy="1104900"/>
          </a:xfrm>
          <a:prstGeom prst="roundRect">
            <a:avLst>
              <a:gd name="adj" fmla="val 4144"/>
            </a:avLst>
          </a:prstGeom>
          <a:solidFill>
            <a:schemeClr val="accent1">
              <a:lumMod val="60000"/>
              <a:lumOff val="4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lIns="72000" tIns="72000" rIns="72000" bIns="72000" rtlCol="0" anchor="ctr"/>
          <a:lstStyle/>
          <a:p>
            <a:pPr marL="0" marR="0" lvl="0" indent="0" algn="r" defTabSz="9143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озможная </a:t>
            </a:r>
          </a:p>
          <a:p>
            <a:pPr marL="0" marR="0" lvl="0" indent="0" algn="r" defTabSz="9143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оль </a:t>
            </a:r>
          </a:p>
          <a:p>
            <a:pPr marL="0" marR="0" lvl="0" indent="0" algn="r" defTabSz="9143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участников</a:t>
            </a:r>
            <a:endParaRPr kumimoji="0" lang="ru-RU" sz="2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pSp>
        <p:nvGrpSpPr>
          <p:cNvPr id="7" name="Группа 6"/>
          <p:cNvGrpSpPr/>
          <p:nvPr/>
        </p:nvGrpSpPr>
        <p:grpSpPr>
          <a:xfrm>
            <a:off x="388597" y="1937397"/>
            <a:ext cx="795705" cy="694604"/>
            <a:chOff x="313839" y="1649215"/>
            <a:chExt cx="520522" cy="458283"/>
          </a:xfrm>
        </p:grpSpPr>
        <p:sp>
          <p:nvSpPr>
            <p:cNvPr id="73" name="Овал 72"/>
            <p:cNvSpPr/>
            <p:nvPr/>
          </p:nvSpPr>
          <p:spPr>
            <a:xfrm>
              <a:off x="427368" y="1737517"/>
              <a:ext cx="182489" cy="182489"/>
            </a:xfrm>
            <a:prstGeom prst="ellipse">
              <a:avLst/>
            </a:prstGeom>
            <a:noFill/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₽</a:t>
              </a:r>
              <a:endPara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Овал 73"/>
            <p:cNvSpPr/>
            <p:nvPr/>
          </p:nvSpPr>
          <p:spPr>
            <a:xfrm>
              <a:off x="630993" y="1878531"/>
              <a:ext cx="182489" cy="182489"/>
            </a:xfrm>
            <a:prstGeom prst="ellipse">
              <a:avLst/>
            </a:prstGeom>
            <a:noFill/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€</a:t>
              </a:r>
              <a:endPara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Овал 74"/>
            <p:cNvSpPr/>
            <p:nvPr/>
          </p:nvSpPr>
          <p:spPr>
            <a:xfrm>
              <a:off x="651872" y="1649215"/>
              <a:ext cx="182489" cy="182489"/>
            </a:xfrm>
            <a:prstGeom prst="ellipse">
              <a:avLst/>
            </a:prstGeom>
            <a:noFill/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£</a:t>
              </a:r>
              <a:endPara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Стрелка вниз 75"/>
            <p:cNvSpPr/>
            <p:nvPr/>
          </p:nvSpPr>
          <p:spPr>
            <a:xfrm rot="16200000">
              <a:off x="373704" y="1886190"/>
              <a:ext cx="161443" cy="281174"/>
            </a:xfrm>
            <a:prstGeom prst="downArrow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28" name="Рисунок 27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324" b="15160"/>
          <a:stretch/>
        </p:blipFill>
        <p:spPr>
          <a:xfrm>
            <a:off x="5829300" y="1072212"/>
            <a:ext cx="1685638" cy="548385"/>
          </a:xfrm>
          <a:prstGeom prst="rect">
            <a:avLst/>
          </a:prstGeom>
        </p:spPr>
      </p:pic>
      <p:cxnSp>
        <p:nvCxnSpPr>
          <p:cNvPr id="37" name="Прямая соединительная линия 36"/>
          <p:cNvCxnSpPr/>
          <p:nvPr/>
        </p:nvCxnSpPr>
        <p:spPr>
          <a:xfrm>
            <a:off x="282290" y="1765721"/>
            <a:ext cx="1203642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Прямая соединительная линия 39"/>
          <p:cNvCxnSpPr/>
          <p:nvPr/>
        </p:nvCxnSpPr>
        <p:spPr>
          <a:xfrm>
            <a:off x="303265" y="8272654"/>
            <a:ext cx="1203642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единительная линия 33"/>
          <p:cNvCxnSpPr/>
          <p:nvPr/>
        </p:nvCxnSpPr>
        <p:spPr>
          <a:xfrm flipH="1" flipV="1">
            <a:off x="2698138" y="1795380"/>
            <a:ext cx="1188" cy="6174779"/>
          </a:xfrm>
          <a:prstGeom prst="line">
            <a:avLst/>
          </a:prstGeom>
          <a:ln w="12700">
            <a:solidFill>
              <a:srgbClr val="A2C9F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Рисунок 7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65080" y="1038494"/>
            <a:ext cx="1451495" cy="636782"/>
          </a:xfrm>
          <a:prstGeom prst="rect">
            <a:avLst/>
          </a:prstGeom>
        </p:spPr>
      </p:pic>
      <p:sp>
        <p:nvSpPr>
          <p:cNvPr id="44" name="Прямоугольник 43"/>
          <p:cNvSpPr/>
          <p:nvPr/>
        </p:nvSpPr>
        <p:spPr>
          <a:xfrm>
            <a:off x="11917775" y="8268937"/>
            <a:ext cx="591005" cy="3877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2</a:t>
            </a:r>
          </a:p>
          <a:p>
            <a:pPr marL="0" marR="0" lvl="0" indent="0" algn="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pic>
        <p:nvPicPr>
          <p:cNvPr id="31" name="Рисунок 30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781083" y="62751"/>
            <a:ext cx="1538243" cy="779651"/>
          </a:xfrm>
          <a:prstGeom prst="rect">
            <a:avLst/>
          </a:prstGeom>
        </p:spPr>
      </p:pic>
      <p:cxnSp>
        <p:nvCxnSpPr>
          <p:cNvPr id="33" name="Прямая соединительная линия 32"/>
          <p:cNvCxnSpPr/>
          <p:nvPr/>
        </p:nvCxnSpPr>
        <p:spPr>
          <a:xfrm flipH="1" flipV="1">
            <a:off x="4973163" y="1807455"/>
            <a:ext cx="1188" cy="6174779"/>
          </a:xfrm>
          <a:prstGeom prst="line">
            <a:avLst/>
          </a:prstGeom>
          <a:ln w="12700">
            <a:solidFill>
              <a:srgbClr val="A2C9F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Прямая соединительная линия 37"/>
          <p:cNvCxnSpPr/>
          <p:nvPr/>
        </p:nvCxnSpPr>
        <p:spPr>
          <a:xfrm flipH="1" flipV="1">
            <a:off x="8578814" y="1794755"/>
            <a:ext cx="1188" cy="6174779"/>
          </a:xfrm>
          <a:prstGeom prst="line">
            <a:avLst/>
          </a:prstGeom>
          <a:ln w="12700">
            <a:solidFill>
              <a:srgbClr val="A2C9F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Прямая соединительная линия 40"/>
          <p:cNvCxnSpPr/>
          <p:nvPr/>
        </p:nvCxnSpPr>
        <p:spPr>
          <a:xfrm flipH="1" flipV="1">
            <a:off x="10665080" y="1807455"/>
            <a:ext cx="1188" cy="6174779"/>
          </a:xfrm>
          <a:prstGeom prst="line">
            <a:avLst/>
          </a:prstGeom>
          <a:ln w="12700">
            <a:solidFill>
              <a:srgbClr val="A2C9F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единительная линия 34"/>
          <p:cNvCxnSpPr/>
          <p:nvPr/>
        </p:nvCxnSpPr>
        <p:spPr>
          <a:xfrm>
            <a:off x="373801" y="5296638"/>
            <a:ext cx="1203642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Прямая соединительная линия 38"/>
          <p:cNvCxnSpPr/>
          <p:nvPr/>
        </p:nvCxnSpPr>
        <p:spPr>
          <a:xfrm>
            <a:off x="312946" y="2941365"/>
            <a:ext cx="1203642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077155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Диаграмма 28"/>
          <p:cNvGraphicFramePr>
            <a:graphicFrameLocks/>
          </p:cNvGraphicFramePr>
          <p:nvPr>
            <p:extLst/>
          </p:nvPr>
        </p:nvGraphicFramePr>
        <p:xfrm>
          <a:off x="-2670884" y="2034084"/>
          <a:ext cx="10368774" cy="35055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3" name="Прямоугольник 32"/>
          <p:cNvSpPr/>
          <p:nvPr/>
        </p:nvSpPr>
        <p:spPr>
          <a:xfrm>
            <a:off x="342219" y="4225961"/>
            <a:ext cx="2063624" cy="663163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 cmpd="dbl"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:</a:t>
            </a:r>
            <a:endParaRPr kumimoji="0" lang="ru-RU" sz="1200" b="0" i="0" u="none" strike="noStrike" kern="1200" cap="none" spc="0" normalizeH="0" baseline="0" noProof="0" dirty="0">
              <a:ln cmpd="dbl"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215219" y="5334885"/>
            <a:ext cx="1208426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ln cmpd="dbl">
                  <a:noFill/>
                </a:ln>
                <a:solidFill>
                  <a:schemeClr val="accent1">
                    <a:lumMod val="75000"/>
                  </a:schemeClr>
                </a:solidFill>
                <a:latin typeface="Arial Narrow" panose="020B0606020202030204" pitchFamily="34" charset="0"/>
              </a:defRPr>
            </a:lvl1pPr>
          </a:lstStyle>
          <a:p>
            <a:pPr marL="0" marR="0" lvl="0" indent="0" algn="just" defTabSz="3750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 cmpd="dbl"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а рассмотрении в рамках механизма Инвестиционный лифт находятся </a:t>
            </a:r>
            <a:r>
              <a:rPr kumimoji="0" lang="ru-RU" sz="1400" b="1" i="0" u="none" strike="noStrike" kern="1200" cap="none" spc="0" normalizeH="0" baseline="0" noProof="0" dirty="0">
                <a:ln cmpd="dbl"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1600" b="1" i="0" u="none" strike="noStrike" kern="1200" cap="none" spc="0" normalizeH="0" baseline="0" noProof="0" dirty="0" smtClean="0">
                <a:ln cmpd="dbl"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1 </a:t>
            </a:r>
            <a:r>
              <a:rPr kumimoji="0" lang="ru-RU" sz="1600" b="1" i="0" u="none" strike="noStrike" kern="1200" cap="none" spc="0" normalizeH="0" baseline="0" noProof="0" dirty="0">
                <a:ln cmpd="dbl"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оектов</a:t>
            </a:r>
            <a:r>
              <a:rPr kumimoji="0" lang="ru-RU" sz="1400" b="1" i="0" u="none" strike="noStrike" kern="1200" cap="none" spc="0" normalizeH="0" baseline="0" noProof="0" dirty="0">
                <a:ln cmpd="dbl"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1400" b="1" i="0" u="none" strike="noStrike" kern="1200" cap="none" spc="0" normalizeH="0" baseline="0" noProof="0" dirty="0">
                <a:ln cmpd="dbl"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ищевой, лесной промышленности, производство высокотехнологичных протезов верхних конечностей, разработка продуктов и технологических решений на базе </a:t>
            </a:r>
            <a:r>
              <a:rPr kumimoji="0" lang="ru-RU" sz="1400" b="1" i="0" u="none" strike="noStrike" kern="1200" cap="none" spc="0" normalizeH="0" baseline="0" noProof="0" dirty="0" err="1">
                <a:ln cmpd="dbl"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ейротехнологий</a:t>
            </a:r>
            <a:r>
              <a:rPr kumimoji="0" lang="ru-RU" sz="1400" b="1" i="0" u="none" strike="noStrike" kern="1200" cap="none" spc="0" normalizeH="0" baseline="0" noProof="0" dirty="0">
                <a:ln cmpd="dbl"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. Общий бюджет рассматриваемых проектов составляет </a:t>
            </a:r>
            <a:r>
              <a:rPr kumimoji="0" lang="ru-RU" sz="1600" b="1" i="0" u="none" strike="noStrike" kern="1200" cap="none" spc="0" normalizeH="0" baseline="0" noProof="0" dirty="0">
                <a:ln cmpd="dbl"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9 </a:t>
            </a:r>
            <a:r>
              <a:rPr kumimoji="0" lang="ru-RU" sz="1600" b="1" i="0" u="none" strike="noStrike" kern="1200" cap="none" spc="0" normalizeH="0" baseline="0" noProof="0" dirty="0" smtClean="0">
                <a:ln cmpd="dbl"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380 </a:t>
            </a:r>
            <a:r>
              <a:rPr kumimoji="0" lang="ru-RU" sz="1600" b="1" i="0" u="none" strike="noStrike" kern="1200" cap="none" spc="0" normalizeH="0" baseline="0" noProof="0" dirty="0">
                <a:ln cmpd="dbl"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млн рублей.</a:t>
            </a:r>
            <a:r>
              <a:rPr kumimoji="0" lang="ru-RU" sz="1400" b="1" i="0" u="none" strike="noStrike" kern="1200" cap="none" spc="0" normalizeH="0" baseline="0" noProof="0" dirty="0">
                <a:ln cmpd="dbl"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 </a:t>
            </a:r>
          </a:p>
        </p:txBody>
      </p:sp>
      <p:pic>
        <p:nvPicPr>
          <p:cNvPr id="19" name="Изображение 2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0039" y="7816060"/>
            <a:ext cx="981883" cy="272924"/>
          </a:xfrm>
          <a:prstGeom prst="rect">
            <a:avLst/>
          </a:prstGeom>
        </p:spPr>
      </p:pic>
      <p:pic>
        <p:nvPicPr>
          <p:cNvPr id="20" name="Рисунок 1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7287" y="7789606"/>
            <a:ext cx="1898729" cy="385414"/>
          </a:xfrm>
          <a:prstGeom prst="rect">
            <a:avLst/>
          </a:prstGeom>
        </p:spPr>
      </p:pic>
      <p:pic>
        <p:nvPicPr>
          <p:cNvPr id="23" name="Рисунок 22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324" b="15160"/>
          <a:stretch/>
        </p:blipFill>
        <p:spPr>
          <a:xfrm>
            <a:off x="3266278" y="7754903"/>
            <a:ext cx="1398036" cy="454820"/>
          </a:xfrm>
          <a:prstGeom prst="rect">
            <a:avLst/>
          </a:prstGeom>
        </p:spPr>
      </p:pic>
      <p:pic>
        <p:nvPicPr>
          <p:cNvPr id="24" name="Рисунок 2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77790" y="7658407"/>
            <a:ext cx="1592409" cy="636782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232702" y="1730946"/>
            <a:ext cx="746518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оля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ысокотехнологичных </a:t>
            </a:r>
            <a:r>
              <a:rPr kumimoji="0" lang="ru-RU" sz="14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экспортно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риентированных и импортозамещающих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оектов в объеме оказанной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нститутами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азвития финансовой поддержки, общий объем 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3 152 млн рублей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aphicFrame>
        <p:nvGraphicFramePr>
          <p:cNvPr id="22" name="Таблица 21"/>
          <p:cNvGraphicFramePr>
            <a:graphicFrameLocks noGrp="1"/>
          </p:cNvGraphicFramePr>
          <p:nvPr>
            <p:extLst/>
          </p:nvPr>
        </p:nvGraphicFramePr>
        <p:xfrm>
          <a:off x="278719" y="6090529"/>
          <a:ext cx="12020764" cy="148507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80640">
                  <a:extLst>
                    <a:ext uri="{9D8B030D-6E8A-4147-A177-3AD203B41FA5}">
                      <a16:colId xmlns:a16="http://schemas.microsoft.com/office/drawing/2014/main" val="1257486032"/>
                    </a:ext>
                  </a:extLst>
                </a:gridCol>
                <a:gridCol w="8267697">
                  <a:extLst>
                    <a:ext uri="{9D8B030D-6E8A-4147-A177-3AD203B41FA5}">
                      <a16:colId xmlns:a16="http://schemas.microsoft.com/office/drawing/2014/main" val="1229927789"/>
                    </a:ext>
                  </a:extLst>
                </a:gridCol>
                <a:gridCol w="2249802">
                  <a:extLst>
                    <a:ext uri="{9D8B030D-6E8A-4147-A177-3AD203B41FA5}">
                      <a16:colId xmlns:a16="http://schemas.microsoft.com/office/drawing/2014/main" val="475062311"/>
                    </a:ext>
                  </a:extLst>
                </a:gridCol>
                <a:gridCol w="1222625">
                  <a:extLst>
                    <a:ext uri="{9D8B030D-6E8A-4147-A177-3AD203B41FA5}">
                      <a16:colId xmlns:a16="http://schemas.microsoft.com/office/drawing/2014/main" val="1000927343"/>
                    </a:ext>
                  </a:extLst>
                </a:gridCol>
              </a:tblGrid>
              <a:tr h="34383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№</a:t>
                      </a:r>
                      <a:r>
                        <a:rPr lang="ru-RU" sz="1100" b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                                    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римеры проектов на стадии рассмотрения</a:t>
                      </a:r>
                      <a:endParaRPr lang="ru-RU" sz="12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трасль</a:t>
                      </a:r>
                      <a:endParaRPr lang="ru-RU" sz="12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юджет, млн руб.</a:t>
                      </a:r>
                      <a:endParaRPr lang="ru-RU" sz="12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45469"/>
                  </a:ext>
                </a:extLst>
              </a:tr>
              <a:tr h="52538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1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Производство по выпуску первичной фармацевтической упаковки для инъекционных препаратов в виде ампул, флаконов, картриджей, шприцев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5214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Производство посуды из стекла для фармацевтических целей</a:t>
                      </a:r>
                    </a:p>
                  </a:txBody>
                  <a:tcPr marL="36000" marR="36000" marT="18000" marB="1800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152144" rtl="0" eaLnBrk="1" fontAlgn="ctr" latinLnBrk="0" hangingPunct="1"/>
                      <a:r>
                        <a:rPr lang="ru-RU" sz="1600" b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 431</a:t>
                      </a:r>
                      <a:endParaRPr lang="ru-RU" sz="1600" b="0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0792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2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1521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 smtClean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Строительство завода по производству древесных топливных гранул </a:t>
                      </a: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521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Лесная промышленность</a:t>
                      </a: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200</a:t>
                      </a:r>
                      <a:endParaRPr lang="ru-RU" sz="1600" b="0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0792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3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0" dirty="0" smtClean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Строительство завода по производству полимерных покрытий промышленного и специального назначения</a:t>
                      </a:r>
                      <a:endParaRPr lang="ru-RU" sz="1200" b="0" dirty="0"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28572" marR="28572" marT="14286" marB="14286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Производство </a:t>
                      </a:r>
                      <a:endParaRPr lang="ru-RU" sz="1200" b="0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28572" marR="28572" marT="14286" marB="14286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 600</a:t>
                      </a:r>
                      <a:endParaRPr lang="ru-RU" sz="1600" b="0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26" name="Прямоугольник 25"/>
          <p:cNvSpPr/>
          <p:nvPr/>
        </p:nvSpPr>
        <p:spPr>
          <a:xfrm>
            <a:off x="282575" y="951476"/>
            <a:ext cx="12023725" cy="70788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 cmpd="dbl"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 рамках </a:t>
            </a:r>
            <a:r>
              <a:rPr kumimoji="0" lang="ru-RU" sz="2000" b="0" i="0" u="none" strike="noStrike" kern="1200" cap="none" spc="0" normalizeH="0" baseline="0" noProof="0" dirty="0" smtClean="0">
                <a:ln cmpd="dbl"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рядка </a:t>
            </a:r>
            <a:r>
              <a:rPr kumimoji="0" lang="ru-RU" sz="2000" b="0" i="0" u="none" strike="noStrike" kern="1200" cap="none" spc="0" normalizeH="0" baseline="0" noProof="0" dirty="0">
                <a:ln cmpd="dbl"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заимодействия </a:t>
            </a:r>
            <a:r>
              <a:rPr kumimoji="0" lang="ru-RU" sz="2000" b="0" i="0" u="none" strike="noStrike" kern="1200" cap="none" spc="0" normalizeH="0" baseline="0" noProof="0" dirty="0" smtClean="0">
                <a:ln cmpd="dbl"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нститутов развития </a:t>
            </a:r>
            <a:r>
              <a:rPr kumimoji="0" lang="ru-RU" sz="2000" b="0" i="0" u="none" strike="noStrike" kern="1200" cap="none" spc="0" normalizeH="0" baseline="0" noProof="0" dirty="0">
                <a:ln cmpd="dbl"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 </a:t>
            </a:r>
            <a:r>
              <a:rPr kumimoji="0" lang="ru-RU" sz="2000" b="0" i="0" u="none" strike="noStrike" kern="1200" cap="none" spc="0" normalizeH="0" baseline="0" noProof="0" dirty="0" smtClean="0">
                <a:ln cmpd="dbl"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6-2019 </a:t>
            </a:r>
            <a:r>
              <a:rPr kumimoji="0" lang="ru-RU" sz="2000" b="0" i="0" u="none" strike="noStrike" kern="1200" cap="none" spc="0" normalizeH="0" baseline="0" noProof="0" dirty="0">
                <a:ln cmpd="dbl"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гг. </a:t>
            </a:r>
            <a:r>
              <a:rPr kumimoji="0" lang="ru-RU" sz="2000" b="0" i="0" u="none" strike="noStrike" kern="1200" cap="none" spc="0" normalizeH="0" baseline="0" noProof="0" dirty="0" smtClean="0">
                <a:ln cmpd="dbl"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добрено финансирование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 smtClean="0">
                <a:ln cmpd="dbl"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7 проектов общим бюджетом </a:t>
            </a:r>
            <a:r>
              <a:rPr kumimoji="0" lang="ru-RU" sz="2000" b="1" i="0" u="none" strike="noStrike" kern="1200" cap="none" spc="0" normalizeH="0" baseline="0" noProof="0" dirty="0" smtClean="0">
                <a:ln cmpd="dbl"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7 305 </a:t>
            </a:r>
            <a:r>
              <a:rPr kumimoji="0" lang="ru-RU" sz="2000" b="1" i="0" u="none" strike="noStrike" kern="1200" cap="none" spc="0" normalizeH="0" baseline="0" noProof="0" dirty="0">
                <a:ln cmpd="dbl"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млн рублей</a:t>
            </a:r>
            <a:r>
              <a:rPr kumimoji="0" lang="ru-RU" sz="2000" b="0" i="0" u="none" strike="noStrike" kern="1200" cap="none" spc="0" normalizeH="0" baseline="0" noProof="0" dirty="0" smtClean="0">
                <a:ln cmpd="dbl"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, </a:t>
            </a:r>
            <a:r>
              <a:rPr kumimoji="0" lang="ru-RU" sz="2000" b="0" i="0" u="none" strike="noStrike" kern="1200" cap="none" spc="0" normalizeH="0" baseline="0" noProof="0" dirty="0">
                <a:ln cmpd="dbl"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азмер оказанной поддержки составил </a:t>
            </a:r>
            <a:r>
              <a:rPr kumimoji="0" lang="ru-RU" sz="2000" b="1" i="0" u="none" strike="noStrike" kern="1200" cap="none" spc="0" normalizeH="0" baseline="0" noProof="0" dirty="0" smtClean="0">
                <a:ln cmpd="dbl"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3 152 </a:t>
            </a:r>
            <a:r>
              <a:rPr kumimoji="0" lang="ru-RU" sz="2000" b="1" i="0" u="none" strike="noStrike" kern="1200" cap="none" spc="0" normalizeH="0" baseline="0" noProof="0" dirty="0">
                <a:ln cmpd="dbl"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млн </a:t>
            </a:r>
            <a:r>
              <a:rPr kumimoji="0" lang="ru-RU" sz="2000" b="1" i="0" u="none" strike="noStrike" kern="1200" cap="none" spc="0" normalizeH="0" baseline="0" noProof="0" dirty="0" smtClean="0">
                <a:ln cmpd="dbl"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ублей</a:t>
            </a:r>
            <a:endParaRPr kumimoji="0" lang="ru-RU" sz="1800" b="0" i="0" u="none" strike="noStrike" kern="1200" cap="none" spc="0" normalizeH="0" baseline="0" noProof="0" dirty="0">
              <a:ln cmpd="dbl"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4840497" y="2823438"/>
            <a:ext cx="361738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аспределение объема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казанной поддержки </a:t>
            </a:r>
            <a:r>
              <a:rPr kumimoji="0" lang="ru-RU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экспортно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ориентированных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оектов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9532691" y="2745412"/>
            <a:ext cx="2559705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аспределение объема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казанной поддержки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мпортозамещающих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оектов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25" name="Рисунок 24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sp>
        <p:nvSpPr>
          <p:cNvPr id="28" name="TextBox 27"/>
          <p:cNvSpPr txBox="1"/>
          <p:nvPr/>
        </p:nvSpPr>
        <p:spPr>
          <a:xfrm>
            <a:off x="3781625" y="4577"/>
            <a:ext cx="8431652" cy="915716"/>
          </a:xfrm>
          <a:prstGeom prst="rect">
            <a:avLst/>
          </a:prstGeom>
          <a:noFill/>
        </p:spPr>
        <p:txBody>
          <a:bodyPr wrap="square" lIns="59057" tIns="29528" rIns="0" bIns="29528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Tahoma" pitchFamily="34" charset="0"/>
                <a:cs typeface="Tahoma" pitchFamily="34" charset="0"/>
              </a:rPr>
              <a:t>Координация </a:t>
            </a:r>
            <a:r>
              <a:rPr kumimoji="0" lang="ru-RU" alt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Tahoma" pitchFamily="34" charset="0"/>
                <a:cs typeface="Tahoma" pitchFamily="34" charset="0"/>
              </a:rPr>
              <a:t>мер поддержки </a:t>
            </a:r>
            <a:endParaRPr kumimoji="0" lang="ru-RU" altLang="ru-RU" sz="2000" b="1" i="0" u="none" strike="noStrike" kern="1200" cap="none" spc="0" normalizeH="0" baseline="0" noProof="0" dirty="0" smtClean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Tahoma" pitchFamily="34" charset="0"/>
              <a:cs typeface="Tahoma" pitchFamily="34" charset="0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Tahoma" pitchFamily="34" charset="0"/>
                <a:cs typeface="Tahoma" pitchFamily="34" charset="0"/>
              </a:rPr>
              <a:t>институтов </a:t>
            </a:r>
            <a:r>
              <a:rPr kumimoji="0" lang="ru-RU" alt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Tahoma" pitchFamily="34" charset="0"/>
                <a:cs typeface="Tahoma" pitchFamily="34" charset="0"/>
              </a:rPr>
              <a:t>развития – Инвестиционный </a:t>
            </a:r>
            <a:r>
              <a:rPr kumimoji="0" lang="ru-RU" alt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Tahoma" pitchFamily="34" charset="0"/>
                <a:cs typeface="Tahoma" pitchFamily="34" charset="0"/>
              </a:rPr>
              <a:t>лифт</a:t>
            </a:r>
            <a:endParaRPr kumimoji="0" lang="ru-RU" altLang="ru-RU" sz="2000" b="0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11917775" y="8268937"/>
            <a:ext cx="591005" cy="3877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3</a:t>
            </a:r>
          </a:p>
          <a:p>
            <a:pPr marL="0" marR="0" lvl="0" indent="0" algn="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pic>
        <p:nvPicPr>
          <p:cNvPr id="32" name="Рисунок 3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781083" y="62751"/>
            <a:ext cx="1538243" cy="779651"/>
          </a:xfrm>
          <a:prstGeom prst="rect">
            <a:avLst/>
          </a:prstGeom>
        </p:spPr>
      </p:pic>
      <p:sp>
        <p:nvSpPr>
          <p:cNvPr id="39" name="Прямоугольник 38"/>
          <p:cNvSpPr/>
          <p:nvPr/>
        </p:nvSpPr>
        <p:spPr>
          <a:xfrm>
            <a:off x="2738797" y="3158622"/>
            <a:ext cx="1198601" cy="3904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4 256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млн рублей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40" name="Прямоугольник 39"/>
          <p:cNvSpPr/>
          <p:nvPr/>
        </p:nvSpPr>
        <p:spPr>
          <a:xfrm>
            <a:off x="1768798" y="4042966"/>
            <a:ext cx="1198601" cy="3904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8 896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млн рублей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aphicFrame>
        <p:nvGraphicFramePr>
          <p:cNvPr id="41" name="Диаграмма 40"/>
          <p:cNvGraphicFramePr>
            <a:graphicFrameLocks/>
          </p:cNvGraphicFramePr>
          <p:nvPr>
            <p:extLst/>
          </p:nvPr>
        </p:nvGraphicFramePr>
        <p:xfrm>
          <a:off x="4672311" y="3304769"/>
          <a:ext cx="3737502" cy="17546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42" name="Диаграмма 41"/>
          <p:cNvGraphicFramePr>
            <a:graphicFrameLocks/>
          </p:cNvGraphicFramePr>
          <p:nvPr>
            <p:extLst/>
          </p:nvPr>
        </p:nvGraphicFramePr>
        <p:xfrm>
          <a:off x="8816834" y="3425032"/>
          <a:ext cx="3243314" cy="16596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</p:spTree>
    <p:extLst>
      <p:ext uri="{BB962C8B-B14F-4D97-AF65-F5344CB8AC3E}">
        <p14:creationId xmlns:p14="http://schemas.microsoft.com/office/powerpoint/2010/main" val="33192365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TextBox 84"/>
          <p:cNvSpPr txBox="1"/>
          <p:nvPr/>
        </p:nvSpPr>
        <p:spPr>
          <a:xfrm>
            <a:off x="3781625" y="4577"/>
            <a:ext cx="8431652" cy="915716"/>
          </a:xfrm>
          <a:prstGeom prst="rect">
            <a:avLst/>
          </a:prstGeom>
          <a:noFill/>
        </p:spPr>
        <p:txBody>
          <a:bodyPr wrap="square" lIns="59057" tIns="29528" rIns="0" bIns="29528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Tahoma" pitchFamily="34" charset="0"/>
                <a:cs typeface="Tahoma" pitchFamily="34" charset="0"/>
              </a:rPr>
              <a:t>Поддержка </a:t>
            </a:r>
            <a:r>
              <a:rPr kumimoji="0" lang="ru-RU" alt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Tahoma" pitchFamily="34" charset="0"/>
                <a:cs typeface="Tahoma" pitchFamily="34" charset="0"/>
              </a:rPr>
              <a:t>стартап-проектов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2000" b="1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26" name="TextBox 125"/>
          <p:cNvSpPr txBox="1"/>
          <p:nvPr/>
        </p:nvSpPr>
        <p:spPr>
          <a:xfrm>
            <a:off x="342943" y="1878152"/>
            <a:ext cx="5866337" cy="486993"/>
          </a:xfrm>
          <a:prstGeom prst="rect">
            <a:avLst/>
          </a:prstGeom>
          <a:solidFill>
            <a:sysClr val="window" lastClr="FFFFFF"/>
          </a:solidFill>
        </p:spPr>
        <p:txBody>
          <a:bodyPr wrap="square" lIns="0" rtlCol="0">
            <a:spAutoFit/>
          </a:bodyPr>
          <a:lstStyle/>
          <a:p>
            <a:pPr marL="11903" marR="0" lvl="0" indent="0" algn="l" defTabSz="457200" rtl="0" eaLnBrk="1" fontAlgn="base" latinLnBrk="0" hangingPunct="1">
              <a:lnSpc>
                <a:spcPts val="1668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41" b="1" i="0" u="none" strike="noStrike" kern="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itchFamily="34" charset="0"/>
              </a:rPr>
              <a:t>Продукт: гарантия для стартапов</a:t>
            </a:r>
          </a:p>
          <a:p>
            <a:pPr marL="0" marR="0" lvl="0" indent="0" algn="l" defTabSz="9144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48" b="0" i="0" u="none" strike="noStrike" kern="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itchFamily="34" charset="0"/>
            </a:endParaRPr>
          </a:p>
        </p:txBody>
      </p:sp>
      <p:sp>
        <p:nvSpPr>
          <p:cNvPr id="156" name="TextBox 155"/>
          <p:cNvSpPr txBox="1"/>
          <p:nvPr/>
        </p:nvSpPr>
        <p:spPr>
          <a:xfrm>
            <a:off x="6476154" y="1883388"/>
            <a:ext cx="5866337" cy="495007"/>
          </a:xfrm>
          <a:prstGeom prst="rect">
            <a:avLst/>
          </a:prstGeom>
          <a:solidFill>
            <a:sysClr val="window" lastClr="FFFFFF"/>
          </a:solidFill>
        </p:spPr>
        <p:txBody>
          <a:bodyPr wrap="square" lIns="0" rtlCol="0">
            <a:spAutoFit/>
          </a:bodyPr>
          <a:lstStyle/>
          <a:p>
            <a:pPr marL="11903" marR="0" lvl="0" indent="0" algn="l" defTabSz="457200" rtl="0" eaLnBrk="1" fontAlgn="base" latinLnBrk="0" hangingPunct="1">
              <a:lnSpc>
                <a:spcPts val="1668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41" b="1" i="0" u="none" strike="noStrike" kern="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itchFamily="34" charset="0"/>
              </a:rPr>
              <a:t>Поддержка, оказанная стартап-проектам</a:t>
            </a:r>
          </a:p>
          <a:p>
            <a:pPr marL="0" marR="0" lvl="0" indent="0" algn="l" defTabSz="9144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itchFamily="34" charset="0"/>
              </a:rPr>
              <a:t>по состоянию на </a:t>
            </a: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itchFamily="34" charset="0"/>
              </a:rPr>
              <a:t>13 мая 2019 </a:t>
            </a: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itchFamily="34" charset="0"/>
              </a:rPr>
              <a:t>г</a:t>
            </a: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itchFamily="34" charset="0"/>
              </a:rPr>
              <a:t>.</a:t>
            </a:r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itchFamily="34" charset="0"/>
            </a:endParaRPr>
          </a:p>
        </p:txBody>
      </p:sp>
      <p:cxnSp>
        <p:nvCxnSpPr>
          <p:cNvPr id="157" name="Прямая соединительная линия 156"/>
          <p:cNvCxnSpPr/>
          <p:nvPr/>
        </p:nvCxnSpPr>
        <p:spPr>
          <a:xfrm>
            <a:off x="6457248" y="2346466"/>
            <a:ext cx="5760000" cy="0"/>
          </a:xfrm>
          <a:prstGeom prst="line">
            <a:avLst/>
          </a:prstGeom>
          <a:noFill/>
          <a:ln w="19050" cap="flat" cmpd="sng" algn="ctr">
            <a:solidFill>
              <a:srgbClr val="5B9BD5">
                <a:lumMod val="50000"/>
              </a:srgbClr>
            </a:solidFill>
            <a:prstDash val="solid"/>
            <a:miter lim="800000"/>
          </a:ln>
          <a:effectLst/>
        </p:spPr>
      </p:cxnSp>
      <p:sp>
        <p:nvSpPr>
          <p:cNvPr id="141" name="TextBox 140"/>
          <p:cNvSpPr txBox="1"/>
          <p:nvPr/>
        </p:nvSpPr>
        <p:spPr>
          <a:xfrm>
            <a:off x="6528682" y="4463428"/>
            <a:ext cx="5603434" cy="529504"/>
          </a:xfrm>
          <a:prstGeom prst="rect">
            <a:avLst/>
          </a:prstGeom>
          <a:solidFill>
            <a:sysClr val="window" lastClr="FFFFFF"/>
          </a:solidFill>
        </p:spPr>
        <p:txBody>
          <a:bodyPr wrap="square" lIns="0" rtlCol="0">
            <a:spAutoFit/>
          </a:bodyPr>
          <a:lstStyle/>
          <a:p>
            <a:pPr marL="0" marR="0" lvl="0" indent="0" algn="l" defTabSz="9144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41" b="1" i="0" u="none" strike="noStrike" kern="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itchFamily="34" charset="0"/>
              </a:rPr>
              <a:t>Отраслевая специализация стартап-проектов</a:t>
            </a:r>
          </a:p>
          <a:p>
            <a:pPr marL="0" marR="0" lvl="0" indent="0" algn="l" defTabSz="9144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itchFamily="34" charset="0"/>
              </a:rPr>
              <a:t>по состоянию на </a:t>
            </a: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itchFamily="34" charset="0"/>
              </a:rPr>
              <a:t>13 мая </a:t>
            </a: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itchFamily="34" charset="0"/>
              </a:rPr>
              <a:t>2019 г.</a:t>
            </a:r>
          </a:p>
        </p:txBody>
      </p:sp>
      <p:grpSp>
        <p:nvGrpSpPr>
          <p:cNvPr id="26" name="Группа 25"/>
          <p:cNvGrpSpPr/>
          <p:nvPr/>
        </p:nvGrpSpPr>
        <p:grpSpPr>
          <a:xfrm>
            <a:off x="319449" y="900647"/>
            <a:ext cx="12058924" cy="926466"/>
            <a:chOff x="313824" y="539280"/>
            <a:chExt cx="14701039" cy="971534"/>
          </a:xfrm>
        </p:grpSpPr>
        <p:sp>
          <p:nvSpPr>
            <p:cNvPr id="60" name="Скругленный прямоугольник 59"/>
            <p:cNvSpPr/>
            <p:nvPr/>
          </p:nvSpPr>
          <p:spPr>
            <a:xfrm>
              <a:off x="313824" y="613631"/>
              <a:ext cx="14665429" cy="843203"/>
            </a:xfrm>
            <a:prstGeom prst="roundRect">
              <a:avLst>
                <a:gd name="adj" fmla="val 7540"/>
              </a:avLst>
            </a:prstGeom>
            <a:solidFill>
              <a:srgbClr val="5B9BD5">
                <a:lumMod val="5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65" name="Прямоугольник 64"/>
            <p:cNvSpPr/>
            <p:nvPr/>
          </p:nvSpPr>
          <p:spPr>
            <a:xfrm>
              <a:off x="1147027" y="539280"/>
              <a:ext cx="1839313" cy="971534"/>
            </a:xfrm>
            <a:prstGeom prst="rect">
              <a:avLst/>
            </a:prstGeom>
          </p:spPr>
          <p:txBody>
            <a:bodyPr wrap="none" anchor="ctr">
              <a:no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Narrow" panose="020B0606020202030204" pitchFamily="34" charset="0"/>
                  <a:ea typeface="Calibri" panose="020F0502020204030204" pitchFamily="34" charset="0"/>
                  <a:cs typeface="Arial" pitchFamily="34" charset="0"/>
                </a:rPr>
                <a:t>2017 </a:t>
              </a:r>
            </a:p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 pitchFamily="34" charset="0"/>
                </a:rPr>
                <a:t>2018</a:t>
              </a:r>
            </a:p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 pitchFamily="34" charset="0"/>
                </a:rPr>
                <a:t>2019 </a:t>
              </a: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66" name="Прямоугольник 65"/>
            <p:cNvSpPr/>
            <p:nvPr/>
          </p:nvSpPr>
          <p:spPr>
            <a:xfrm>
              <a:off x="1937011" y="629275"/>
              <a:ext cx="13077852" cy="794901"/>
            </a:xfrm>
            <a:prstGeom prst="rect">
              <a:avLst/>
            </a:prstGeom>
          </p:spPr>
          <p:txBody>
            <a:bodyPr wrap="square" anchor="ctr">
              <a:noAutofit/>
            </a:bodyPr>
            <a:lstStyle/>
            <a:p>
              <a:pPr marL="285766" marR="0" lvl="0" indent="-285766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Ø"/>
                <a:tabLst/>
                <a:defRPr/>
              </a:pPr>
              <a:r>
                <a:rPr kumimoji="0" 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Narrow" panose="020B0606020202030204" pitchFamily="34" charset="0"/>
                  <a:ea typeface="Calibri" panose="020F0502020204030204" pitchFamily="34" charset="0"/>
                  <a:cs typeface="Arial" pitchFamily="34" charset="0"/>
                </a:rPr>
                <a:t>Активное развитие направления поддержки высокотехнологичных стартап-проектов </a:t>
              </a:r>
            </a:p>
            <a:p>
              <a:pPr marL="285766" marR="0" lvl="0" indent="-285766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Ø"/>
                <a:tabLst/>
                <a:defRPr/>
              </a:pPr>
              <a:r>
                <a:rPr kumimoji="0" 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Narrow" panose="020B0606020202030204" pitchFamily="34" charset="0"/>
                  <a:ea typeface="Calibri" panose="020F0502020204030204" pitchFamily="34" charset="0"/>
                  <a:cs typeface="Arial" pitchFamily="34" charset="0"/>
                </a:rPr>
                <a:t>Специальный гарантийный продукт для высокотехнологичных </a:t>
              </a:r>
              <a:r>
                <a:rPr kumimoji="0" lang="ru-RU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Narrow" panose="020B0606020202030204" pitchFamily="34" charset="0"/>
                  <a:ea typeface="Calibri" panose="020F0502020204030204" pitchFamily="34" charset="0"/>
                  <a:cs typeface="Arial" pitchFamily="34" charset="0"/>
                </a:rPr>
                <a:t>стартапов</a:t>
              </a:r>
            </a:p>
            <a:p>
              <a:pPr marL="285766" marR="0" lvl="0" indent="-285766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Ø"/>
                <a:tabLst/>
                <a:defRPr/>
              </a:pPr>
              <a:r>
                <a:rPr kumimoji="0" 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Narrow" panose="020B0606020202030204" pitchFamily="34" charset="0"/>
                  <a:ea typeface="Calibri" panose="020F0502020204030204" pitchFamily="34" charset="0"/>
                  <a:cs typeface="Arial" pitchFamily="34" charset="0"/>
                </a:rPr>
                <a:t>Поддержка стартапов – приоритетное направление деятельности АО «Корпорация «МСП</a:t>
              </a:r>
              <a:r>
                <a:rPr kumimoji="0" lang="ru-RU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Narrow" panose="020B0606020202030204" pitchFamily="34" charset="0"/>
                  <a:ea typeface="Calibri" panose="020F0502020204030204" pitchFamily="34" charset="0"/>
                  <a:cs typeface="Arial" pitchFamily="34" charset="0"/>
                </a:rPr>
                <a:t>»</a:t>
              </a:r>
              <a:endPara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Arial" pitchFamily="34" charset="0"/>
              </a:endParaRPr>
            </a:p>
          </p:txBody>
        </p:sp>
      </p:grpSp>
      <p:cxnSp>
        <p:nvCxnSpPr>
          <p:cNvPr id="124" name="Прямая соединительная линия 123"/>
          <p:cNvCxnSpPr/>
          <p:nvPr/>
        </p:nvCxnSpPr>
        <p:spPr>
          <a:xfrm>
            <a:off x="6458907" y="5016634"/>
            <a:ext cx="5760000" cy="0"/>
          </a:xfrm>
          <a:prstGeom prst="line">
            <a:avLst/>
          </a:prstGeom>
          <a:noFill/>
          <a:ln w="19050" cap="flat" cmpd="sng" algn="ctr">
            <a:solidFill>
              <a:srgbClr val="5B9BD5">
                <a:lumMod val="50000"/>
              </a:srgbClr>
            </a:solidFill>
            <a:prstDash val="solid"/>
            <a:miter lim="800000"/>
          </a:ln>
          <a:effectLst/>
        </p:spPr>
      </p:cxnSp>
      <p:sp>
        <p:nvSpPr>
          <p:cNvPr id="136" name="Скругленный прямоугольник 135"/>
          <p:cNvSpPr/>
          <p:nvPr/>
        </p:nvSpPr>
        <p:spPr>
          <a:xfrm>
            <a:off x="352209" y="3837823"/>
            <a:ext cx="5758344" cy="413420"/>
          </a:xfrm>
          <a:prstGeom prst="roundRect">
            <a:avLst>
              <a:gd name="adj" fmla="val 2995"/>
            </a:avLst>
          </a:prstGeom>
          <a:solidFill>
            <a:srgbClr val="F3F3F3"/>
          </a:solidFill>
          <a:ln>
            <a:noFill/>
          </a:ln>
        </p:spPr>
        <p:txBody>
          <a:bodyPr wrap="square" lIns="0" tIns="0" rIns="0" bIns="0" rtlCol="0"/>
          <a:lstStyle/>
          <a:p>
            <a:pPr marL="0" marR="0" lvl="0" indent="0" algn="l" defTabSz="7500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77" b="0" i="0" u="none" strike="noStrike" kern="1200" cap="none" spc="-82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37" name="Прямоугольник 136"/>
          <p:cNvSpPr/>
          <p:nvPr/>
        </p:nvSpPr>
        <p:spPr>
          <a:xfrm>
            <a:off x="346013" y="3860297"/>
            <a:ext cx="1546935" cy="380239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tIns="0" rtlCol="0" anchor="ctr"/>
          <a:lstStyle/>
          <a:p>
            <a:pPr marL="0" marR="0" lvl="0" indent="0" algn="r" defTabSz="6365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48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</a:rPr>
              <a:t>ЦЕЛЕВОЕ</a:t>
            </a:r>
          </a:p>
          <a:p>
            <a:pPr marL="0" marR="0" lvl="0" indent="0" algn="r" defTabSz="6365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48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</a:rPr>
              <a:t>НАЗНАЧЕНИЕ</a:t>
            </a:r>
          </a:p>
        </p:txBody>
      </p:sp>
      <p:sp>
        <p:nvSpPr>
          <p:cNvPr id="138" name="Прямоугольник 137"/>
          <p:cNvSpPr/>
          <p:nvPr/>
        </p:nvSpPr>
        <p:spPr>
          <a:xfrm>
            <a:off x="2119272" y="3847634"/>
            <a:ext cx="3465468" cy="403608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tIns="0" bIns="0" rtlCol="0" anchor="ctr"/>
          <a:lstStyle/>
          <a:p>
            <a:pPr marL="148454" marR="0" lvl="0" indent="-148454" algn="l" defTabSz="6365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148" b="0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rebuchet MS"/>
              </a:rPr>
              <a:t>Инвестиционные цели </a:t>
            </a:r>
          </a:p>
          <a:p>
            <a:pPr marL="148454" marR="0" lvl="0" indent="-148454" algn="l" defTabSz="6365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148" b="0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rebuchet MS"/>
              </a:rPr>
              <a:t>Пополнение оборотных средств</a:t>
            </a:r>
          </a:p>
        </p:txBody>
      </p:sp>
      <p:sp>
        <p:nvSpPr>
          <p:cNvPr id="140" name="Скругленный прямоугольник 139"/>
          <p:cNvSpPr/>
          <p:nvPr/>
        </p:nvSpPr>
        <p:spPr>
          <a:xfrm>
            <a:off x="351620" y="3401574"/>
            <a:ext cx="5758344" cy="413420"/>
          </a:xfrm>
          <a:prstGeom prst="roundRect">
            <a:avLst>
              <a:gd name="adj" fmla="val 2995"/>
            </a:avLst>
          </a:prstGeom>
          <a:solidFill>
            <a:srgbClr val="F3F3F3"/>
          </a:solidFill>
        </p:spPr>
        <p:txBody>
          <a:bodyPr wrap="square" lIns="0" tIns="0" rIns="0" bIns="0" rtlCol="0"/>
          <a:lstStyle/>
          <a:p>
            <a:pPr marL="0" marR="0" lvl="0" indent="0" algn="l" defTabSz="7500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77" b="0" i="0" u="none" strike="noStrike" kern="1200" cap="none" spc="-82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44" name="Прямоугольник 143"/>
          <p:cNvSpPr/>
          <p:nvPr/>
        </p:nvSpPr>
        <p:spPr>
          <a:xfrm>
            <a:off x="334222" y="3407121"/>
            <a:ext cx="1547164" cy="403412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tIns="0" rtlCol="0" anchor="ctr"/>
          <a:lstStyle/>
          <a:p>
            <a:pPr marL="0" marR="0" lvl="0" indent="0" algn="r" defTabSz="6365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48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</a:rPr>
              <a:t>СРОК</a:t>
            </a:r>
          </a:p>
          <a:p>
            <a:pPr marL="0" marR="0" lvl="0" indent="0" algn="r" defTabSz="6365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48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</a:rPr>
              <a:t>ГАРАНТИИ</a:t>
            </a:r>
          </a:p>
        </p:txBody>
      </p:sp>
      <p:sp>
        <p:nvSpPr>
          <p:cNvPr id="145" name="Прямоугольник 144"/>
          <p:cNvSpPr/>
          <p:nvPr/>
        </p:nvSpPr>
        <p:spPr>
          <a:xfrm>
            <a:off x="2120649" y="3407461"/>
            <a:ext cx="1185398" cy="40903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tIns="0" bIns="88590" rtlCol="0" anchor="ctr"/>
          <a:lstStyle/>
          <a:p>
            <a:pPr marL="0" marR="0" lvl="0" indent="0" algn="l" defTabSz="6365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48" b="0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rebuchet MS"/>
              </a:rPr>
              <a:t>до</a:t>
            </a:r>
            <a:r>
              <a:rPr kumimoji="0" lang="ru-RU" sz="2297" b="1" i="0" u="none" strike="noStrike" kern="1200" cap="none" spc="-82" normalizeH="0" baseline="0" noProof="0" dirty="0">
                <a:ln>
                  <a:noFill/>
                </a:ln>
                <a:solidFill>
                  <a:srgbClr val="DB843C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</a:rPr>
              <a:t> </a:t>
            </a:r>
            <a:r>
              <a:rPr kumimoji="0" lang="ru-RU" sz="1477" b="1" i="0" u="none" strike="noStrike" kern="1200" cap="none" spc="-82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</a:rPr>
              <a:t>15</a:t>
            </a:r>
            <a:r>
              <a:rPr kumimoji="0" lang="ru-RU" sz="2297" b="1" i="0" u="none" strike="noStrike" kern="1200" cap="none" spc="-82" normalizeH="0" baseline="0" noProof="0" dirty="0">
                <a:ln>
                  <a:noFill/>
                </a:ln>
                <a:solidFill>
                  <a:srgbClr val="E5581F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</a:rPr>
              <a:t> </a:t>
            </a:r>
            <a:r>
              <a:rPr kumimoji="0" lang="ru-RU" sz="1148" b="0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rebuchet MS"/>
              </a:rPr>
              <a:t>лет </a:t>
            </a:r>
          </a:p>
        </p:txBody>
      </p:sp>
      <p:sp>
        <p:nvSpPr>
          <p:cNvPr id="133" name="Скругленный прямоугольник 132"/>
          <p:cNvSpPr/>
          <p:nvPr/>
        </p:nvSpPr>
        <p:spPr>
          <a:xfrm>
            <a:off x="352227" y="2473853"/>
            <a:ext cx="5758344" cy="909526"/>
          </a:xfrm>
          <a:prstGeom prst="roundRect">
            <a:avLst>
              <a:gd name="adj" fmla="val 2995"/>
            </a:avLst>
          </a:prstGeom>
          <a:solidFill>
            <a:srgbClr val="F3F3F3"/>
          </a:solidFill>
        </p:spPr>
        <p:txBody>
          <a:bodyPr wrap="square" lIns="0" tIns="0" rIns="0" bIns="0" rtlCol="0"/>
          <a:lstStyle/>
          <a:p>
            <a:pPr marL="0" marR="0" lvl="0" indent="0" algn="l" defTabSz="7500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77" b="0" i="0" u="none" strike="noStrike" kern="1200" cap="none" spc="-82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46" name="Прямоугольник 145"/>
          <p:cNvSpPr/>
          <p:nvPr/>
        </p:nvSpPr>
        <p:spPr>
          <a:xfrm>
            <a:off x="578506" y="2467447"/>
            <a:ext cx="1337312" cy="913172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tIns="0" rtlCol="0" anchor="ctr"/>
          <a:lstStyle/>
          <a:p>
            <a:pPr marL="0" marR="0" lvl="0" indent="0" algn="r" defTabSz="6365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48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</a:rPr>
              <a:t>ОБЪЕМ</a:t>
            </a:r>
          </a:p>
          <a:p>
            <a:pPr marL="0" marR="0" lvl="0" indent="0" algn="r" defTabSz="6365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48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</a:rPr>
              <a:t>ОБЕСПЕЧЕНИЯ</a:t>
            </a:r>
          </a:p>
        </p:txBody>
      </p:sp>
      <p:sp>
        <p:nvSpPr>
          <p:cNvPr id="147" name="Прямоугольник 146"/>
          <p:cNvSpPr/>
          <p:nvPr/>
        </p:nvSpPr>
        <p:spPr>
          <a:xfrm>
            <a:off x="2108409" y="2467718"/>
            <a:ext cx="3998282" cy="9129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l" defTabSz="6365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77" b="1" i="0" u="none" strike="noStrike" kern="1200" cap="none" spc="-82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</a:rPr>
              <a:t>до 70% </a:t>
            </a:r>
            <a:r>
              <a:rPr kumimoji="0" lang="ru-RU" sz="1148" b="0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rebuchet MS"/>
              </a:rPr>
              <a:t>от суммы кредита / займа, </a:t>
            </a:r>
            <a:r>
              <a:rPr kumimoji="0" lang="ru-RU" sz="1148" b="1" i="0" u="sng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rebuchet MS"/>
              </a:rPr>
              <a:t>но не более 500 млн рублей </a:t>
            </a:r>
            <a:r>
              <a:rPr kumimoji="0" lang="ru-RU" sz="1148" b="0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rebuchet MS"/>
              </a:rPr>
              <a:t>по обязательствам одного стартапа</a:t>
            </a:r>
          </a:p>
          <a:p>
            <a:pPr marL="0" marR="0" lvl="0" indent="0" algn="l" defTabSz="6365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574" b="0" i="0" u="none" strike="noStrike" kern="0" cap="none" spc="0" normalizeH="0" baseline="0" noProof="0" dirty="0">
              <a:ln>
                <a:noFill/>
              </a:ln>
              <a:solidFill>
                <a:srgbClr val="1F4E79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itchFamily="34" charset="0"/>
            </a:endParaRPr>
          </a:p>
          <a:p>
            <a:pPr marL="0" marR="0" lvl="0" indent="0" algn="l" defTabSz="6365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77" b="1" i="0" u="none" strike="noStrike" kern="1200" cap="none" spc="-82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</a:rPr>
              <a:t>до 100% </a:t>
            </a:r>
            <a:r>
              <a:rPr kumimoji="0" lang="ru-RU" sz="1148" b="0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rebuchet MS"/>
              </a:rPr>
              <a:t>от суммы кредита / займа, </a:t>
            </a:r>
            <a:r>
              <a:rPr kumimoji="0" lang="ru-RU" sz="1148" b="1" i="0" u="sng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rebuchet MS"/>
              </a:rPr>
              <a:t>но не более 50 млн рублей</a:t>
            </a:r>
            <a:r>
              <a:rPr kumimoji="0" lang="ru-RU" sz="1148" b="0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rebuchet MS"/>
              </a:rPr>
              <a:t> для проектов в отдельных приоритетных отраслях</a:t>
            </a:r>
          </a:p>
        </p:txBody>
      </p:sp>
      <p:cxnSp>
        <p:nvCxnSpPr>
          <p:cNvPr id="155" name="Прямая соединительная линия 154"/>
          <p:cNvCxnSpPr/>
          <p:nvPr/>
        </p:nvCxnSpPr>
        <p:spPr>
          <a:xfrm>
            <a:off x="325499" y="2342251"/>
            <a:ext cx="5760000" cy="0"/>
          </a:xfrm>
          <a:prstGeom prst="line">
            <a:avLst/>
          </a:prstGeom>
          <a:noFill/>
          <a:ln w="19050" cap="flat" cmpd="sng" algn="ctr">
            <a:solidFill>
              <a:srgbClr val="5B9BD5">
                <a:lumMod val="50000"/>
              </a:srgbClr>
            </a:solidFill>
            <a:prstDash val="solid"/>
            <a:miter lim="800000"/>
          </a:ln>
          <a:effectLst/>
        </p:spPr>
      </p:cxnSp>
      <p:sp>
        <p:nvSpPr>
          <p:cNvPr id="71" name="TextBox 70"/>
          <p:cNvSpPr txBox="1"/>
          <p:nvPr/>
        </p:nvSpPr>
        <p:spPr>
          <a:xfrm>
            <a:off x="330112" y="4460462"/>
            <a:ext cx="5993980" cy="529504"/>
          </a:xfrm>
          <a:prstGeom prst="rect">
            <a:avLst/>
          </a:prstGeom>
          <a:solidFill>
            <a:sysClr val="window" lastClr="FFFFFF"/>
          </a:solidFill>
        </p:spPr>
        <p:txBody>
          <a:bodyPr wrap="square" lIns="0" rtlCol="0">
            <a:spAutoFit/>
          </a:bodyPr>
          <a:lstStyle/>
          <a:p>
            <a:pPr marL="0" marR="0" lvl="0" indent="0" algn="l" defTabSz="9144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41" b="1" i="0" u="none" strike="noStrike" kern="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itchFamily="34" charset="0"/>
              </a:rPr>
              <a:t>Поддержка проектов по федеральным округам </a:t>
            </a:r>
            <a:endParaRPr kumimoji="0" lang="ru-RU" sz="1641" b="1" i="0" u="none" strike="noStrike" kern="0" cap="none" spc="0" normalizeH="0" baseline="0" noProof="0" dirty="0" smtClean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itchFamily="34" charset="0"/>
            </a:endParaRPr>
          </a:p>
          <a:p>
            <a:pPr marL="0" marR="0" lvl="0" indent="0" algn="l" defTabSz="9144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itchFamily="34" charset="0"/>
              </a:rPr>
              <a:t>по </a:t>
            </a: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itchFamily="34" charset="0"/>
              </a:rPr>
              <a:t>состоянию на </a:t>
            </a: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itchFamily="34" charset="0"/>
              </a:rPr>
              <a:t>13 мая </a:t>
            </a: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itchFamily="34" charset="0"/>
              </a:rPr>
              <a:t>2019 г.</a:t>
            </a:r>
          </a:p>
        </p:txBody>
      </p:sp>
      <p:pic>
        <p:nvPicPr>
          <p:cNvPr id="62" name="Рисунок 6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sp>
        <p:nvSpPr>
          <p:cNvPr id="67" name="Прямоугольник 66"/>
          <p:cNvSpPr/>
          <p:nvPr/>
        </p:nvSpPr>
        <p:spPr>
          <a:xfrm>
            <a:off x="11917775" y="8268937"/>
            <a:ext cx="591005" cy="3877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4</a:t>
            </a:r>
          </a:p>
          <a:p>
            <a:pPr marL="0" marR="0" lvl="0" indent="0" algn="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86" name="Скругленный прямоугольник 85"/>
          <p:cNvSpPr/>
          <p:nvPr/>
        </p:nvSpPr>
        <p:spPr>
          <a:xfrm>
            <a:off x="6539023" y="3406000"/>
            <a:ext cx="5667154" cy="594346"/>
          </a:xfrm>
          <a:prstGeom prst="roundRect">
            <a:avLst>
              <a:gd name="adj" fmla="val 14473"/>
            </a:avLst>
          </a:prstGeom>
          <a:noFill/>
          <a:ln w="19050" cap="flat" cmpd="sng" algn="ctr">
            <a:solidFill>
              <a:schemeClr val="accent2"/>
            </a:solidFill>
            <a:prstDash val="solid"/>
            <a:miter lim="800000"/>
          </a:ln>
          <a:effectLst/>
        </p:spPr>
        <p:txBody>
          <a:bodyPr tIns="0" rtlCol="0" anchor="ctr"/>
          <a:lstStyle/>
          <a:p>
            <a:pPr marL="0" marR="0" lvl="0" indent="0" algn="ctr" defTabSz="72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70" b="1" i="0" u="none" strike="noStrike" kern="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лан поддержки стартап-проектов на 2019 </a:t>
            </a:r>
            <a:r>
              <a:rPr kumimoji="0" lang="ru-RU" sz="1270" b="1" i="0" u="none" strike="noStrike" kern="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год: </a:t>
            </a:r>
            <a:r>
              <a:rPr kumimoji="0" lang="ru-RU" sz="1480" b="1" i="0" u="none" strike="noStrike" kern="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е менее 3 400 млн рублей</a:t>
            </a:r>
            <a:endParaRPr kumimoji="0" lang="ru-RU" sz="1480" b="1" i="0" u="none" strike="noStrike" kern="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pSp>
        <p:nvGrpSpPr>
          <p:cNvPr id="87" name="Группа 86"/>
          <p:cNvGrpSpPr/>
          <p:nvPr/>
        </p:nvGrpSpPr>
        <p:grpSpPr>
          <a:xfrm>
            <a:off x="6691781" y="2601124"/>
            <a:ext cx="5274056" cy="748489"/>
            <a:chOff x="8053668" y="2553876"/>
            <a:chExt cx="5231049" cy="943061"/>
          </a:xfrm>
        </p:grpSpPr>
        <p:sp>
          <p:nvSpPr>
            <p:cNvPr id="88" name="Прямоугольник 87"/>
            <p:cNvSpPr/>
            <p:nvPr/>
          </p:nvSpPr>
          <p:spPr>
            <a:xfrm>
              <a:off x="12184773" y="2572291"/>
              <a:ext cx="1098987" cy="432000"/>
            </a:xfrm>
            <a:prstGeom prst="rect">
              <a:avLst/>
            </a:prstGeom>
          </p:spPr>
          <p:txBody>
            <a:bodyPr wrap="square" lIns="0" tIns="0" rIns="0" bIns="0" anchor="ctr">
              <a:noAutofit/>
            </a:bodyPr>
            <a:lstStyle/>
            <a:p>
              <a:pPr marL="0" marR="0" lvl="0" indent="0" algn="just" defTabSz="528950" rtl="0" eaLnBrk="1" fontAlgn="base" latinLnBrk="0" hangingPunct="1">
                <a:lnSpc>
                  <a:spcPct val="8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29" b="1" i="0" u="none" strike="noStrike" kern="1200" cap="none" spc="0" normalizeH="0" baseline="0" noProof="0" dirty="0">
                  <a:ln>
                    <a:noFill/>
                  </a:ln>
                  <a:solidFill>
                    <a:srgbClr val="1F4E79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/>
                </a:rPr>
                <a:t>1 454 </a:t>
              </a:r>
              <a:r>
                <a:rPr kumimoji="0" lang="ru-RU" sz="1111" b="0" i="0" u="none" strike="noStrike" kern="1200" cap="none" spc="0" normalizeH="0" baseline="0" noProof="0" dirty="0">
                  <a:ln>
                    <a:noFill/>
                  </a:ln>
                  <a:solidFill>
                    <a:srgbClr val="1F4E79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Trebuchet MS"/>
                </a:rPr>
                <a:t>млн рублей</a:t>
              </a:r>
              <a:endParaRPr kumimoji="0" lang="ru-RU" sz="1270" b="0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rebuchet MS"/>
              </a:endParaRPr>
            </a:p>
          </p:txBody>
        </p:sp>
        <p:sp>
          <p:nvSpPr>
            <p:cNvPr id="89" name="Стрелка вправо 88"/>
            <p:cNvSpPr/>
            <p:nvPr/>
          </p:nvSpPr>
          <p:spPr>
            <a:xfrm>
              <a:off x="8053668" y="2553876"/>
              <a:ext cx="3996000" cy="432000"/>
            </a:xfrm>
            <a:prstGeom prst="rightArrow">
              <a:avLst>
                <a:gd name="adj1" fmla="val 100000"/>
                <a:gd name="adj2" fmla="val 32068"/>
              </a:avLst>
            </a:prstGeom>
            <a:solidFill>
              <a:srgbClr val="DEEBF7"/>
            </a:solidFill>
            <a:ln>
              <a:solidFill>
                <a:srgbClr val="25406F"/>
              </a:solidFill>
            </a:ln>
          </p:spPr>
          <p:txBody>
            <a:bodyPr wrap="square" lIns="46875" tIns="0" rIns="0" bIns="0" rtlCol="0" anchor="ctr"/>
            <a:lstStyle/>
            <a:p>
              <a:pPr marL="0" marR="0" lvl="0" indent="0" algn="l" defTabSz="5953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70" b="1" i="0" u="none" strike="noStrike" kern="1200" cap="none" spc="0" normalizeH="0" baseline="0" noProof="0" dirty="0">
                  <a:ln>
                    <a:noFill/>
                  </a:ln>
                  <a:solidFill>
                    <a:srgbClr val="1F4E79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Выдано гарантий в 2017 году:</a:t>
              </a:r>
              <a:endParaRPr kumimoji="0" lang="ru-RU" sz="1270" b="0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90" name="Прямоугольник 89"/>
            <p:cNvSpPr/>
            <p:nvPr/>
          </p:nvSpPr>
          <p:spPr>
            <a:xfrm>
              <a:off x="12185730" y="3064937"/>
              <a:ext cx="1098987" cy="432000"/>
            </a:xfrm>
            <a:prstGeom prst="rect">
              <a:avLst/>
            </a:prstGeom>
          </p:spPr>
          <p:txBody>
            <a:bodyPr wrap="square" lIns="0" tIns="0" rIns="0" bIns="0" anchor="ctr">
              <a:noAutofit/>
            </a:bodyPr>
            <a:lstStyle/>
            <a:p>
              <a:pPr marL="0" marR="0" lvl="0" indent="0" algn="just" defTabSz="528950" rtl="0" eaLnBrk="1" fontAlgn="base" latinLnBrk="0" hangingPunct="1">
                <a:lnSpc>
                  <a:spcPct val="8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29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F4E79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/>
                </a:rPr>
                <a:t>3 196 </a:t>
              </a:r>
              <a:r>
                <a:rPr kumimoji="0" lang="ru-RU" sz="1111" b="0" i="0" u="none" strike="noStrike" kern="1200" cap="none" spc="0" normalizeH="0" baseline="0" noProof="0" dirty="0">
                  <a:ln>
                    <a:noFill/>
                  </a:ln>
                  <a:solidFill>
                    <a:srgbClr val="1F4E79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Trebuchet MS"/>
                </a:rPr>
                <a:t>млн рублей</a:t>
              </a:r>
              <a:endParaRPr kumimoji="0" lang="ru-RU" sz="1270" b="0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rebuchet MS"/>
              </a:endParaRPr>
            </a:p>
          </p:txBody>
        </p:sp>
      </p:grpSp>
      <p:sp>
        <p:nvSpPr>
          <p:cNvPr id="91" name="Стрелка вправо 90"/>
          <p:cNvSpPr/>
          <p:nvPr/>
        </p:nvSpPr>
        <p:spPr>
          <a:xfrm>
            <a:off x="6701007" y="2992127"/>
            <a:ext cx="4028093" cy="342870"/>
          </a:xfrm>
          <a:prstGeom prst="rightArrow">
            <a:avLst>
              <a:gd name="adj1" fmla="val 100000"/>
              <a:gd name="adj2" fmla="val 32068"/>
            </a:avLst>
          </a:prstGeom>
          <a:solidFill>
            <a:srgbClr val="DEEBF7"/>
          </a:solidFill>
          <a:ln>
            <a:solidFill>
              <a:srgbClr val="25406F"/>
            </a:solidFill>
          </a:ln>
        </p:spPr>
        <p:txBody>
          <a:bodyPr wrap="square" lIns="46875" tIns="0" rIns="0" bIns="0" rtlCol="0" anchor="ctr"/>
          <a:lstStyle/>
          <a:p>
            <a:pPr marL="0" marR="0" lvl="0" indent="0" algn="l" defTabSz="5953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70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ыдано гарантий в 2018 году:</a:t>
            </a:r>
          </a:p>
        </p:txBody>
      </p:sp>
      <p:graphicFrame>
        <p:nvGraphicFramePr>
          <p:cNvPr id="173" name="Таблица 172"/>
          <p:cNvGraphicFramePr>
            <a:graphicFrameLocks noGrp="1"/>
          </p:cNvGraphicFramePr>
          <p:nvPr>
            <p:extLst/>
          </p:nvPr>
        </p:nvGraphicFramePr>
        <p:xfrm>
          <a:off x="6448056" y="5157200"/>
          <a:ext cx="5741093" cy="2979420"/>
        </p:xfrm>
        <a:graphic>
          <a:graphicData uri="http://schemas.openxmlformats.org/drawingml/2006/table">
            <a:tbl>
              <a:tblPr firstRow="1" bandRow="1"/>
              <a:tblGrid>
                <a:gridCol w="26683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3638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3638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766695">
                <a:tc>
                  <a:txBody>
                    <a:bodyPr/>
                    <a:lstStyle>
                      <a:lvl1pPr marL="0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546662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1093324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639986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2186649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733311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3279973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826635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4373297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1152144" rtl="0" eaLnBrk="1" latinLnBrk="0" hangingPunct="1"/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Отраслевая специализация</a:t>
                      </a:r>
                      <a:endParaRPr lang="ru-RU" sz="1200" b="1" kern="1200" dirty="0">
                        <a:solidFill>
                          <a:schemeClr val="bg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45720" marR="45720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lumMod val="5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546662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1093324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639986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2186649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733311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3279973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826635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4373297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1152144" rtl="0" eaLnBrk="1" fontAlgn="ctr" latinLnBrk="0" hangingPunct="1"/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Объем гарантийной поддержки</a:t>
                      </a:r>
                    </a:p>
                    <a:p>
                      <a:pPr marL="0" algn="ctr" defTabSz="1152144" rtl="0" eaLnBrk="1" fontAlgn="ctr" latinLnBrk="0" hangingPunct="1"/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млн рублей</a:t>
                      </a:r>
                    </a:p>
                  </a:txBody>
                  <a:tcPr marL="45720" marR="45720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lumMod val="5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546662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1093324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639986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2186649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733311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3279973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826635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4373297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sz="1200" b="1" dirty="0" smtClean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Привлеченное финансирование,</a:t>
                      </a:r>
                    </a:p>
                    <a:p>
                      <a:pPr algn="ctr"/>
                      <a:r>
                        <a:rPr lang="ru-RU" sz="1200" b="1" dirty="0" smtClean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млн рублей</a:t>
                      </a:r>
                      <a:endParaRPr lang="ru-RU" sz="1200" b="1" dirty="0">
                        <a:solidFill>
                          <a:schemeClr val="bg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 marL="45720" marR="45720" marT="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lumMod val="5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1112">
                <a:tc>
                  <a:txBody>
                    <a:bodyPr/>
                    <a:lstStyle/>
                    <a:p>
                      <a:pPr marL="0" algn="l" defTabSz="1093324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solidFill>
                            <a:srgbClr val="1F4E79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Raavi" panose="020B0502040204020203" pitchFamily="34" charset="0"/>
                        </a:rPr>
                        <a:t>Обрабатывающее производство</a:t>
                      </a:r>
                      <a:endParaRPr lang="ru-RU" sz="1200" kern="1200" dirty="0">
                        <a:solidFill>
                          <a:srgbClr val="1F4E79"/>
                        </a:solidFill>
                        <a:effectLst/>
                        <a:latin typeface="Arial Narrow" panose="020B0606020202030204" pitchFamily="34" charset="0"/>
                        <a:ea typeface="Times New Roman" panose="02020603050405020304" pitchFamily="18" charset="0"/>
                        <a:cs typeface="Raavi" panose="020B0502040204020203" pitchFamily="34" charset="0"/>
                      </a:endParaRPr>
                    </a:p>
                  </a:txBody>
                  <a:tcPr marL="45720" marR="45720" marT="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EBF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93324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solidFill>
                            <a:srgbClr val="1F4E79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Raavi" panose="020B0502040204020203" pitchFamily="34" charset="0"/>
                        </a:rPr>
                        <a:t>3 298</a:t>
                      </a:r>
                      <a:endParaRPr lang="ru-RU" sz="1200" kern="1200" dirty="0">
                        <a:solidFill>
                          <a:srgbClr val="1F4E79"/>
                        </a:solidFill>
                        <a:effectLst/>
                        <a:latin typeface="Arial Narrow" panose="020B0606020202030204" pitchFamily="34" charset="0"/>
                        <a:ea typeface="Times New Roman" panose="02020603050405020304" pitchFamily="18" charset="0"/>
                        <a:cs typeface="Raavi" panose="020B0502040204020203" pitchFamily="34" charset="0"/>
                      </a:endParaRPr>
                    </a:p>
                  </a:txBody>
                  <a:tcPr marL="45720" marR="45720" marT="9525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EBF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93324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solidFill>
                            <a:srgbClr val="1F4E79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Raavi" panose="020B0502040204020203" pitchFamily="34" charset="0"/>
                        </a:rPr>
                        <a:t>6 807</a:t>
                      </a:r>
                      <a:endParaRPr lang="ru-RU" sz="1200" kern="1200" dirty="0">
                        <a:solidFill>
                          <a:srgbClr val="1F4E79"/>
                        </a:solidFill>
                        <a:effectLst/>
                        <a:latin typeface="Arial Narrow" panose="020B0606020202030204" pitchFamily="34" charset="0"/>
                        <a:ea typeface="Times New Roman" panose="02020603050405020304" pitchFamily="18" charset="0"/>
                        <a:cs typeface="Raavi" panose="020B0502040204020203" pitchFamily="34" charset="0"/>
                      </a:endParaRPr>
                    </a:p>
                  </a:txBody>
                  <a:tcPr marL="45720" marR="45720" marT="9525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61112">
                <a:tc>
                  <a:txBody>
                    <a:bodyPr/>
                    <a:lstStyle>
                      <a:lvl1pPr marL="0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62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24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39986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649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11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79973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635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297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1093324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rgbClr val="1F4E79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Raavi" panose="020B0502040204020203" pitchFamily="34" charset="0"/>
                        </a:rPr>
                        <a:t>Химическая промышленность</a:t>
                      </a:r>
                    </a:p>
                  </a:txBody>
                  <a:tcPr marL="45720" marR="45720" marT="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EBF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93324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rgbClr val="1F4E79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Raavi" panose="020B0502040204020203" pitchFamily="34" charset="0"/>
                        </a:rPr>
                        <a:t>790</a:t>
                      </a:r>
                    </a:p>
                  </a:txBody>
                  <a:tcPr marL="45720" marR="45720" marT="9525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EBF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93324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rgbClr val="1F4E79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Raavi" panose="020B0502040204020203" pitchFamily="34" charset="0"/>
                        </a:rPr>
                        <a:t>1 </a:t>
                      </a:r>
                      <a:r>
                        <a:rPr lang="ru-RU" sz="1200" kern="1200" dirty="0" smtClean="0">
                          <a:solidFill>
                            <a:srgbClr val="1F4E79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Raavi" panose="020B0502040204020203" pitchFamily="34" charset="0"/>
                        </a:rPr>
                        <a:t>226</a:t>
                      </a:r>
                      <a:endParaRPr lang="ru-RU" sz="1200" kern="1200" dirty="0">
                        <a:solidFill>
                          <a:srgbClr val="1F4E79"/>
                        </a:solidFill>
                        <a:effectLst/>
                        <a:latin typeface="Arial Narrow" panose="020B0606020202030204" pitchFamily="34" charset="0"/>
                        <a:ea typeface="Times New Roman" panose="02020603050405020304" pitchFamily="18" charset="0"/>
                        <a:cs typeface="Raavi" panose="020B0502040204020203" pitchFamily="34" charset="0"/>
                      </a:endParaRPr>
                    </a:p>
                  </a:txBody>
                  <a:tcPr marL="45720" marR="45720" marT="9525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1112">
                <a:tc>
                  <a:txBody>
                    <a:bodyPr/>
                    <a:lstStyle/>
                    <a:p>
                      <a:pPr marL="0" algn="l" defTabSz="1093324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solidFill>
                            <a:srgbClr val="1F4E79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Raavi" panose="020B0502040204020203" pitchFamily="34" charset="0"/>
                        </a:rPr>
                        <a:t>ИТ</a:t>
                      </a:r>
                      <a:r>
                        <a:rPr lang="ru-RU" sz="1200" kern="1200" baseline="0" dirty="0" smtClean="0">
                          <a:solidFill>
                            <a:srgbClr val="1F4E79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Raavi" panose="020B0502040204020203" pitchFamily="34" charset="0"/>
                        </a:rPr>
                        <a:t> и т</a:t>
                      </a:r>
                      <a:r>
                        <a:rPr lang="ru-RU" sz="1200" kern="1200" dirty="0" smtClean="0">
                          <a:solidFill>
                            <a:srgbClr val="1F4E79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Raavi" panose="020B0502040204020203" pitchFamily="34" charset="0"/>
                        </a:rPr>
                        <a:t>елекоммуникационные технологии</a:t>
                      </a:r>
                    </a:p>
                  </a:txBody>
                  <a:tcPr marL="45720" marR="45720" marT="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EBF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93324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solidFill>
                            <a:srgbClr val="1F4E79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Raavi" panose="020B0502040204020203" pitchFamily="34" charset="0"/>
                        </a:rPr>
                        <a:t>519</a:t>
                      </a:r>
                      <a:endParaRPr lang="ru-RU" sz="1200" kern="1200" dirty="0">
                        <a:solidFill>
                          <a:srgbClr val="1F4E79"/>
                        </a:solidFill>
                        <a:effectLst/>
                        <a:latin typeface="Arial Narrow" panose="020B0606020202030204" pitchFamily="34" charset="0"/>
                        <a:ea typeface="Times New Roman" panose="02020603050405020304" pitchFamily="18" charset="0"/>
                        <a:cs typeface="Raavi" panose="020B0502040204020203" pitchFamily="34" charset="0"/>
                      </a:endParaRPr>
                    </a:p>
                  </a:txBody>
                  <a:tcPr marL="45720" marR="45720" marT="9525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EBF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93324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solidFill>
                            <a:srgbClr val="1F4E79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Raavi" panose="020B0502040204020203" pitchFamily="34" charset="0"/>
                        </a:rPr>
                        <a:t>720</a:t>
                      </a:r>
                      <a:endParaRPr lang="ru-RU" sz="1200" kern="1200" dirty="0">
                        <a:solidFill>
                          <a:srgbClr val="1F4E79"/>
                        </a:solidFill>
                        <a:effectLst/>
                        <a:latin typeface="Arial Narrow" panose="020B0606020202030204" pitchFamily="34" charset="0"/>
                        <a:ea typeface="Times New Roman" panose="02020603050405020304" pitchFamily="18" charset="0"/>
                        <a:cs typeface="Raavi" panose="020B0502040204020203" pitchFamily="34" charset="0"/>
                      </a:endParaRPr>
                    </a:p>
                  </a:txBody>
                  <a:tcPr marL="45720" marR="45720" marT="9525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61112">
                <a:tc>
                  <a:txBody>
                    <a:bodyPr/>
                    <a:lstStyle>
                      <a:lvl1pPr marL="0" algn="l" defTabSz="1093324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546662" algn="l" defTabSz="1093324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093324" algn="l" defTabSz="1093324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639986" algn="l" defTabSz="1093324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186649" algn="l" defTabSz="1093324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733311" algn="l" defTabSz="1093324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279973" algn="l" defTabSz="1093324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826635" algn="l" defTabSz="1093324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373297" algn="l" defTabSz="1093324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1093324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solidFill>
                            <a:srgbClr val="1F4E79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Raavi" panose="020B0502040204020203" pitchFamily="34" charset="0"/>
                        </a:rPr>
                        <a:t>Научные исследования (медицинские изделия)</a:t>
                      </a:r>
                      <a:endParaRPr lang="ru-RU" sz="1200" kern="1200" dirty="0">
                        <a:solidFill>
                          <a:srgbClr val="1F4E79"/>
                        </a:solidFill>
                        <a:effectLst/>
                        <a:latin typeface="Arial Narrow" panose="020B0606020202030204" pitchFamily="34" charset="0"/>
                        <a:ea typeface="Times New Roman" panose="02020603050405020304" pitchFamily="18" charset="0"/>
                        <a:cs typeface="Raavi" panose="020B0502040204020203" pitchFamily="34" charset="0"/>
                      </a:endParaRPr>
                    </a:p>
                  </a:txBody>
                  <a:tcPr marL="45720" marR="45720" marT="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EBF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93324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rgbClr val="1F4E79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Raavi" panose="020B0502040204020203" pitchFamily="34" charset="0"/>
                        </a:rPr>
                        <a:t>308</a:t>
                      </a:r>
                    </a:p>
                  </a:txBody>
                  <a:tcPr marL="45720" marR="45720" marT="9525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EBF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93324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rgbClr val="1F4E79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Raavi" panose="020B0502040204020203" pitchFamily="34" charset="0"/>
                        </a:rPr>
                        <a:t>500</a:t>
                      </a:r>
                    </a:p>
                  </a:txBody>
                  <a:tcPr marL="45720" marR="45720" marT="9525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61112">
                <a:tc>
                  <a:txBody>
                    <a:bodyPr/>
                    <a:lstStyle>
                      <a:lvl1pPr marL="0" algn="l" defTabSz="1093324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546662" algn="l" defTabSz="1093324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1093324" algn="l" defTabSz="1093324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639986" algn="l" defTabSz="1093324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2186649" algn="l" defTabSz="1093324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733311" algn="l" defTabSz="1093324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3279973" algn="l" defTabSz="1093324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826635" algn="l" defTabSz="1093324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4373297" algn="l" defTabSz="1093324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1093324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rgbClr val="1F4E79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Raavi" panose="020B0502040204020203" pitchFamily="34" charset="0"/>
                        </a:rPr>
                        <a:t>Деятельность в области спорта</a:t>
                      </a:r>
                    </a:p>
                  </a:txBody>
                  <a:tcPr marL="45720" marR="45720" marT="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EBF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93324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rgbClr val="1F4E79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Raavi" panose="020B0502040204020203" pitchFamily="34" charset="0"/>
                        </a:rPr>
                        <a:t>116</a:t>
                      </a:r>
                    </a:p>
                  </a:txBody>
                  <a:tcPr marL="45720" marR="45720" marT="9525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EBF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93324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rgbClr val="1F4E79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Raavi" panose="020B0502040204020203" pitchFamily="34" charset="0"/>
                        </a:rPr>
                        <a:t>232</a:t>
                      </a:r>
                    </a:p>
                  </a:txBody>
                  <a:tcPr marL="45720" marR="45720" marT="9525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61112">
                <a:tc>
                  <a:txBody>
                    <a:bodyPr/>
                    <a:lstStyle/>
                    <a:p>
                      <a:pPr marL="0" algn="l" defTabSz="1093324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solidFill>
                            <a:srgbClr val="1F4E79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Raavi" panose="020B0502040204020203" pitchFamily="34" charset="0"/>
                        </a:rPr>
                        <a:t>Робототехника</a:t>
                      </a:r>
                      <a:endParaRPr lang="ru-RU" sz="1200" kern="1200" dirty="0">
                        <a:solidFill>
                          <a:srgbClr val="1F4E79"/>
                        </a:solidFill>
                        <a:effectLst/>
                        <a:latin typeface="Arial Narrow" panose="020B0606020202030204" pitchFamily="34" charset="0"/>
                        <a:ea typeface="Times New Roman" panose="02020603050405020304" pitchFamily="18" charset="0"/>
                        <a:cs typeface="Raavi" panose="020B0502040204020203" pitchFamily="34" charset="0"/>
                      </a:endParaRPr>
                    </a:p>
                  </a:txBody>
                  <a:tcPr marL="45720" marR="45720" marT="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EBF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93324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>
                          <a:solidFill>
                            <a:srgbClr val="1F4E79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Raavi" panose="020B0502040204020203" pitchFamily="34" charset="0"/>
                        </a:rPr>
                        <a:t>50</a:t>
                      </a:r>
                    </a:p>
                  </a:txBody>
                  <a:tcPr marL="45720" marR="45720" marT="9525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EBF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93324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rgbClr val="1F4E79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Raavi" panose="020B0502040204020203" pitchFamily="34" charset="0"/>
                        </a:rPr>
                        <a:t>50</a:t>
                      </a:r>
                    </a:p>
                  </a:txBody>
                  <a:tcPr marL="45720" marR="45720" marT="9525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261112">
                <a:tc>
                  <a:txBody>
                    <a:bodyPr/>
                    <a:lstStyle/>
                    <a:p>
                      <a:pPr marL="0" algn="l" defTabSz="1093324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solidFill>
                            <a:srgbClr val="1F4E79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Raavi" panose="020B0502040204020203" pitchFamily="34" charset="0"/>
                        </a:rPr>
                        <a:t>Станкостроение</a:t>
                      </a:r>
                      <a:endParaRPr lang="ru-RU" sz="1200" kern="1200" dirty="0">
                        <a:solidFill>
                          <a:srgbClr val="1F4E79"/>
                        </a:solidFill>
                        <a:effectLst/>
                        <a:latin typeface="Arial Narrow" panose="020B0606020202030204" pitchFamily="34" charset="0"/>
                        <a:ea typeface="Times New Roman" panose="02020603050405020304" pitchFamily="18" charset="0"/>
                        <a:cs typeface="Raavi" panose="020B0502040204020203" pitchFamily="34" charset="0"/>
                      </a:endParaRPr>
                    </a:p>
                  </a:txBody>
                  <a:tcPr marL="45720" marR="45720" marT="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EBF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93324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>
                          <a:solidFill>
                            <a:srgbClr val="1F4E79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Raavi" panose="020B0502040204020203" pitchFamily="34" charset="0"/>
                        </a:rPr>
                        <a:t>42</a:t>
                      </a:r>
                    </a:p>
                  </a:txBody>
                  <a:tcPr marL="45720" marR="45720" marT="9525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EBF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93324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rgbClr val="1F4E79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Raavi" panose="020B0502040204020203" pitchFamily="34" charset="0"/>
                        </a:rPr>
                        <a:t>42</a:t>
                      </a:r>
                    </a:p>
                  </a:txBody>
                  <a:tcPr marL="45720" marR="45720" marT="9525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254639">
                <a:tc>
                  <a:txBody>
                    <a:bodyPr/>
                    <a:lstStyle>
                      <a:lvl1pPr marL="0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62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24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39986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649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11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79973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635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297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ru-RU" sz="1200" b="1" dirty="0" smtClean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Итого:</a:t>
                      </a:r>
                      <a:endParaRPr lang="ru-RU" sz="1200" b="1" dirty="0">
                        <a:solidFill>
                          <a:schemeClr val="bg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 marL="45720" marR="45720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lumMod val="5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62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24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39986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649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11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79973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635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297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sz="1200" b="1" dirty="0" smtClean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5 123</a:t>
                      </a:r>
                      <a:endParaRPr lang="ru-RU" sz="1200" b="1" dirty="0">
                        <a:solidFill>
                          <a:schemeClr val="bg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 marL="45720" marR="45720" marT="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lumMod val="5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62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24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39986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649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11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79973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635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297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sz="1200" b="1" dirty="0" smtClean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9 577</a:t>
                      </a:r>
                      <a:endParaRPr lang="ru-RU" sz="1200" b="1" dirty="0">
                        <a:solidFill>
                          <a:schemeClr val="bg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 marL="45720" marR="45720" marT="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lumMod val="5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cxnSp>
        <p:nvCxnSpPr>
          <p:cNvPr id="149" name="Прямая соединительная линия 148"/>
          <p:cNvCxnSpPr/>
          <p:nvPr/>
        </p:nvCxnSpPr>
        <p:spPr>
          <a:xfrm>
            <a:off x="398633" y="5004972"/>
            <a:ext cx="5761297" cy="0"/>
          </a:xfrm>
          <a:prstGeom prst="line">
            <a:avLst/>
          </a:prstGeom>
          <a:noFill/>
          <a:ln w="19050" cap="flat" cmpd="sng" algn="ctr">
            <a:solidFill>
              <a:srgbClr val="5B9BD5">
                <a:lumMod val="50000"/>
              </a:srgbClr>
            </a:solidFill>
            <a:prstDash val="solid"/>
            <a:miter lim="800000"/>
          </a:ln>
          <a:effectLst/>
        </p:spPr>
      </p:cxnSp>
      <p:grpSp>
        <p:nvGrpSpPr>
          <p:cNvPr id="150" name="Группа 149"/>
          <p:cNvGrpSpPr/>
          <p:nvPr/>
        </p:nvGrpSpPr>
        <p:grpSpPr>
          <a:xfrm>
            <a:off x="1439333" y="5537788"/>
            <a:ext cx="3784599" cy="2023533"/>
            <a:chOff x="2373185" y="5612674"/>
            <a:chExt cx="4620092" cy="2552539"/>
          </a:xfrm>
        </p:grpSpPr>
        <p:pic>
          <p:nvPicPr>
            <p:cNvPr id="151" name="Рисунок 150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59157" r="81808" b="16152"/>
            <a:stretch/>
          </p:blipFill>
          <p:spPr>
            <a:xfrm rot="21380521">
              <a:off x="2373185" y="6811625"/>
              <a:ext cx="897891" cy="742577"/>
            </a:xfrm>
            <a:prstGeom prst="rect">
              <a:avLst/>
            </a:prstGeom>
          </p:spPr>
        </p:pic>
        <p:pic>
          <p:nvPicPr>
            <p:cNvPr id="152" name="Рисунок 151"/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30" r="1"/>
            <a:stretch/>
          </p:blipFill>
          <p:spPr>
            <a:xfrm>
              <a:off x="2728913" y="5612674"/>
              <a:ext cx="4264364" cy="2552539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153" name="Прямоугольник 152"/>
          <p:cNvSpPr/>
          <p:nvPr/>
        </p:nvSpPr>
        <p:spPr>
          <a:xfrm>
            <a:off x="3007742" y="5271576"/>
            <a:ext cx="1260000" cy="180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wrap="square" lIns="36000" tIns="36000" rIns="36000" bIns="36000" anchor="ctr" anchorCtr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itchFamily="34" charset="0"/>
              </a:rPr>
              <a:t>Северо-западный ФО</a:t>
            </a:r>
          </a:p>
        </p:txBody>
      </p:sp>
      <p:sp>
        <p:nvSpPr>
          <p:cNvPr id="158" name="TextBox 157"/>
          <p:cNvSpPr txBox="1"/>
          <p:nvPr/>
        </p:nvSpPr>
        <p:spPr>
          <a:xfrm>
            <a:off x="567803" y="5572664"/>
            <a:ext cx="9941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itchFamily="34" charset="0"/>
              </a:rPr>
              <a:t>3 459 млн 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itchFamily="34" charset="0"/>
              </a:rPr>
              <a:t>рублей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itchFamily="34" charset="0"/>
              </a:rPr>
              <a:t>6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itchFamily="34" charset="0"/>
              </a:rPr>
              <a:t> 193 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itchFamily="34" charset="0"/>
              </a:rPr>
              <a:t>млн рублей</a:t>
            </a:r>
          </a:p>
        </p:txBody>
      </p:sp>
      <p:sp>
        <p:nvSpPr>
          <p:cNvPr id="175" name="Прямоугольник 174"/>
          <p:cNvSpPr/>
          <p:nvPr/>
        </p:nvSpPr>
        <p:spPr>
          <a:xfrm>
            <a:off x="408368" y="5361576"/>
            <a:ext cx="1080000" cy="180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wrap="none" lIns="36000" tIns="36000" rIns="36000" bIns="36000" anchor="ctr" anchorCtr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itchFamily="34" charset="0"/>
              </a:rPr>
              <a:t>Центральный ФО</a:t>
            </a:r>
          </a:p>
        </p:txBody>
      </p:sp>
      <p:sp>
        <p:nvSpPr>
          <p:cNvPr id="176" name="TextBox 175"/>
          <p:cNvSpPr txBox="1"/>
          <p:nvPr/>
        </p:nvSpPr>
        <p:spPr>
          <a:xfrm>
            <a:off x="560075" y="6246881"/>
            <a:ext cx="9941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itchFamily="34" charset="0"/>
              </a:rPr>
              <a:t>345 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itchFamily="34" charset="0"/>
              </a:rPr>
              <a:t>млн рублей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itchFamily="34" charset="0"/>
              </a:rPr>
              <a:t>500 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itchFamily="34" charset="0"/>
              </a:rPr>
              <a:t>млн рублей</a:t>
            </a:r>
          </a:p>
        </p:txBody>
      </p:sp>
      <p:sp>
        <p:nvSpPr>
          <p:cNvPr id="177" name="Прямоугольник 176"/>
          <p:cNvSpPr/>
          <p:nvPr/>
        </p:nvSpPr>
        <p:spPr>
          <a:xfrm>
            <a:off x="390171" y="6048770"/>
            <a:ext cx="1080000" cy="180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wrap="none" lIns="36000" tIns="36000" rIns="36000" bIns="36000" anchor="ctr" anchorCtr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itchFamily="34" charset="0"/>
              </a:rPr>
              <a:t>Приволжский ФО</a:t>
            </a:r>
          </a:p>
        </p:txBody>
      </p:sp>
      <p:grpSp>
        <p:nvGrpSpPr>
          <p:cNvPr id="178" name="Группа 177"/>
          <p:cNvGrpSpPr/>
          <p:nvPr/>
        </p:nvGrpSpPr>
        <p:grpSpPr>
          <a:xfrm>
            <a:off x="3045480" y="5508199"/>
            <a:ext cx="142065" cy="212205"/>
            <a:chOff x="3609462" y="3734508"/>
            <a:chExt cx="180000" cy="291420"/>
          </a:xfrm>
        </p:grpSpPr>
        <p:pic>
          <p:nvPicPr>
            <p:cNvPr id="179" name="Рисунок 178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09462" y="3734508"/>
              <a:ext cx="180000" cy="180000"/>
            </a:xfrm>
            <a:prstGeom prst="rect">
              <a:avLst/>
            </a:prstGeom>
          </p:spPr>
        </p:pic>
        <p:pic>
          <p:nvPicPr>
            <p:cNvPr id="180" name="Рисунок 179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25754" y="3881928"/>
              <a:ext cx="144000" cy="144000"/>
            </a:xfrm>
            <a:prstGeom prst="rect">
              <a:avLst/>
            </a:prstGeom>
          </p:spPr>
        </p:pic>
      </p:grpSp>
      <p:grpSp>
        <p:nvGrpSpPr>
          <p:cNvPr id="181" name="Группа 180"/>
          <p:cNvGrpSpPr/>
          <p:nvPr/>
        </p:nvGrpSpPr>
        <p:grpSpPr>
          <a:xfrm>
            <a:off x="459973" y="5595840"/>
            <a:ext cx="142065" cy="212205"/>
            <a:chOff x="3609462" y="3734508"/>
            <a:chExt cx="180000" cy="291420"/>
          </a:xfrm>
        </p:grpSpPr>
        <p:pic>
          <p:nvPicPr>
            <p:cNvPr id="182" name="Рисунок 181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09462" y="3734508"/>
              <a:ext cx="180000" cy="180000"/>
            </a:xfrm>
            <a:prstGeom prst="rect">
              <a:avLst/>
            </a:prstGeom>
          </p:spPr>
        </p:pic>
        <p:pic>
          <p:nvPicPr>
            <p:cNvPr id="183" name="Рисунок 182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25754" y="3881928"/>
              <a:ext cx="144000" cy="144000"/>
            </a:xfrm>
            <a:prstGeom prst="rect">
              <a:avLst/>
            </a:prstGeom>
          </p:spPr>
        </p:pic>
      </p:grpSp>
      <p:grpSp>
        <p:nvGrpSpPr>
          <p:cNvPr id="184" name="Группа 183"/>
          <p:cNvGrpSpPr/>
          <p:nvPr/>
        </p:nvGrpSpPr>
        <p:grpSpPr>
          <a:xfrm>
            <a:off x="444462" y="6263047"/>
            <a:ext cx="142065" cy="212205"/>
            <a:chOff x="3609462" y="3734508"/>
            <a:chExt cx="180000" cy="291420"/>
          </a:xfrm>
        </p:grpSpPr>
        <p:pic>
          <p:nvPicPr>
            <p:cNvPr id="185" name="Рисунок 184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09462" y="3734508"/>
              <a:ext cx="180000" cy="180000"/>
            </a:xfrm>
            <a:prstGeom prst="rect">
              <a:avLst/>
            </a:prstGeom>
          </p:spPr>
        </p:pic>
        <p:pic>
          <p:nvPicPr>
            <p:cNvPr id="186" name="Рисунок 185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25754" y="3881928"/>
              <a:ext cx="144000" cy="144000"/>
            </a:xfrm>
            <a:prstGeom prst="rect">
              <a:avLst/>
            </a:prstGeom>
          </p:spPr>
        </p:pic>
      </p:grpSp>
      <p:cxnSp>
        <p:nvCxnSpPr>
          <p:cNvPr id="187" name="Прямая соединительная линия 186"/>
          <p:cNvCxnSpPr>
            <a:endCxn id="177" idx="3"/>
          </p:cNvCxnSpPr>
          <p:nvPr/>
        </p:nvCxnSpPr>
        <p:spPr>
          <a:xfrm flipH="1" flipV="1">
            <a:off x="1470171" y="6138770"/>
            <a:ext cx="807362" cy="381151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miter lim="800000"/>
          </a:ln>
          <a:effectLst/>
        </p:spPr>
      </p:cxnSp>
      <p:grpSp>
        <p:nvGrpSpPr>
          <p:cNvPr id="188" name="Группа 187"/>
          <p:cNvGrpSpPr/>
          <p:nvPr/>
        </p:nvGrpSpPr>
        <p:grpSpPr>
          <a:xfrm>
            <a:off x="2473358" y="7825633"/>
            <a:ext cx="3502731" cy="226830"/>
            <a:chOff x="2780650" y="6508982"/>
            <a:chExt cx="4438041" cy="311503"/>
          </a:xfrm>
        </p:grpSpPr>
        <p:pic>
          <p:nvPicPr>
            <p:cNvPr id="189" name="Рисунок 188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71592" y="6600761"/>
              <a:ext cx="144000" cy="144000"/>
            </a:xfrm>
            <a:prstGeom prst="rect">
              <a:avLst/>
            </a:prstGeom>
          </p:spPr>
        </p:pic>
        <p:sp>
          <p:nvSpPr>
            <p:cNvPr id="190" name="TextBox 189"/>
            <p:cNvSpPr txBox="1"/>
            <p:nvPr/>
          </p:nvSpPr>
          <p:spPr>
            <a:xfrm>
              <a:off x="5778690" y="6515795"/>
              <a:ext cx="1440001" cy="29586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 pitchFamily="34" charset="0"/>
                </a:rPr>
                <a:t>Объем кредитования</a:t>
              </a:r>
            </a:p>
          </p:txBody>
        </p:sp>
        <p:sp>
          <p:nvSpPr>
            <p:cNvPr id="191" name="Прямоугольник 190"/>
            <p:cNvSpPr/>
            <p:nvPr/>
          </p:nvSpPr>
          <p:spPr>
            <a:xfrm>
              <a:off x="2780650" y="6524618"/>
              <a:ext cx="1525719" cy="29586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800" b="1" i="0" u="sng" strike="noStrike" kern="1200" cap="none" spc="0" normalizeH="0" baseline="0" noProof="0" dirty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 pitchFamily="34" charset="0"/>
                </a:rPr>
                <a:t>Условные обозначения:</a:t>
              </a:r>
            </a:p>
          </p:txBody>
        </p:sp>
        <p:pic>
          <p:nvPicPr>
            <p:cNvPr id="192" name="Рисунок 191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43864" y="6579947"/>
              <a:ext cx="180000" cy="179999"/>
            </a:xfrm>
            <a:prstGeom prst="rect">
              <a:avLst/>
            </a:prstGeom>
          </p:spPr>
        </p:pic>
        <p:sp>
          <p:nvSpPr>
            <p:cNvPr id="193" name="Прямоугольник 192"/>
            <p:cNvSpPr/>
            <p:nvPr/>
          </p:nvSpPr>
          <p:spPr>
            <a:xfrm>
              <a:off x="4477446" y="6508982"/>
              <a:ext cx="1070765" cy="29586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 pitchFamily="34" charset="0"/>
                </a:rPr>
                <a:t>Сумма гарантий </a:t>
              </a:r>
            </a:p>
          </p:txBody>
        </p:sp>
      </p:grpSp>
      <p:sp>
        <p:nvSpPr>
          <p:cNvPr id="194" name="TextBox 193"/>
          <p:cNvSpPr txBox="1"/>
          <p:nvPr/>
        </p:nvSpPr>
        <p:spPr>
          <a:xfrm>
            <a:off x="3157617" y="5483321"/>
            <a:ext cx="9941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itchFamily="34" charset="0"/>
              </a:rPr>
              <a:t>742 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itchFamily="34" charset="0"/>
              </a:rPr>
              <a:t>млн рублей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itchFamily="34" charset="0"/>
              </a:rPr>
              <a:t>1 694 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itchFamily="34" charset="0"/>
              </a:rPr>
              <a:t>млн рублей</a:t>
            </a:r>
          </a:p>
        </p:txBody>
      </p:sp>
      <p:cxnSp>
        <p:nvCxnSpPr>
          <p:cNvPr id="195" name="Прямая соединительная линия 194"/>
          <p:cNvCxnSpPr>
            <a:endCxn id="175" idx="3"/>
          </p:cNvCxnSpPr>
          <p:nvPr/>
        </p:nvCxnSpPr>
        <p:spPr>
          <a:xfrm flipH="1" flipV="1">
            <a:off x="1488368" y="5451576"/>
            <a:ext cx="679099" cy="924412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miter lim="800000"/>
          </a:ln>
          <a:effectLst/>
        </p:spPr>
      </p:cxnSp>
      <p:cxnSp>
        <p:nvCxnSpPr>
          <p:cNvPr id="196" name="Прямая соединительная линия 195"/>
          <p:cNvCxnSpPr>
            <a:stCxn id="153" idx="1"/>
          </p:cNvCxnSpPr>
          <p:nvPr/>
        </p:nvCxnSpPr>
        <p:spPr>
          <a:xfrm flipH="1">
            <a:off x="2235200" y="5361576"/>
            <a:ext cx="772542" cy="675745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miter lim="800000"/>
          </a:ln>
          <a:effectLst/>
        </p:spPr>
      </p:cxnSp>
      <p:sp>
        <p:nvSpPr>
          <p:cNvPr id="197" name="Прямоугольник 196"/>
          <p:cNvSpPr/>
          <p:nvPr/>
        </p:nvSpPr>
        <p:spPr>
          <a:xfrm>
            <a:off x="4720852" y="6458041"/>
            <a:ext cx="1260000" cy="180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wrap="square" lIns="36000" tIns="36000" rIns="36000" bIns="36000" anchor="ctr" anchorCtr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itchFamily="34" charset="0"/>
              </a:rPr>
              <a:t>Дальневосточный </a:t>
            </a: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itchFamily="34" charset="0"/>
              </a:rPr>
              <a:t>ФО</a:t>
            </a:r>
          </a:p>
        </p:txBody>
      </p:sp>
      <p:grpSp>
        <p:nvGrpSpPr>
          <p:cNvPr id="198" name="Группа 197"/>
          <p:cNvGrpSpPr/>
          <p:nvPr/>
        </p:nvGrpSpPr>
        <p:grpSpPr>
          <a:xfrm>
            <a:off x="5044738" y="6719210"/>
            <a:ext cx="142065" cy="212205"/>
            <a:chOff x="3609462" y="3734508"/>
            <a:chExt cx="180000" cy="291420"/>
          </a:xfrm>
        </p:grpSpPr>
        <p:pic>
          <p:nvPicPr>
            <p:cNvPr id="199" name="Рисунок 198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09462" y="3734508"/>
              <a:ext cx="180000" cy="180000"/>
            </a:xfrm>
            <a:prstGeom prst="rect">
              <a:avLst/>
            </a:prstGeom>
          </p:spPr>
        </p:pic>
        <p:pic>
          <p:nvPicPr>
            <p:cNvPr id="200" name="Рисунок 199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25754" y="3881928"/>
              <a:ext cx="144000" cy="144000"/>
            </a:xfrm>
            <a:prstGeom prst="rect">
              <a:avLst/>
            </a:prstGeom>
          </p:spPr>
        </p:pic>
      </p:grpSp>
      <p:sp>
        <p:nvSpPr>
          <p:cNvPr id="201" name="TextBox 200"/>
          <p:cNvSpPr txBox="1"/>
          <p:nvPr/>
        </p:nvSpPr>
        <p:spPr>
          <a:xfrm>
            <a:off x="5182275" y="6690098"/>
            <a:ext cx="12608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itchFamily="34" charset="0"/>
              </a:rPr>
              <a:t>499 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itchFamily="34" charset="0"/>
              </a:rPr>
              <a:t>млн рублей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itchFamily="34" charset="0"/>
              </a:rPr>
              <a:t>1 100 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itchFamily="34" charset="0"/>
              </a:rPr>
              <a:t>млн рублей</a:t>
            </a:r>
          </a:p>
        </p:txBody>
      </p:sp>
      <p:cxnSp>
        <p:nvCxnSpPr>
          <p:cNvPr id="202" name="Прямая соединительная линия 201"/>
          <p:cNvCxnSpPr>
            <a:endCxn id="197" idx="1"/>
          </p:cNvCxnSpPr>
          <p:nvPr/>
        </p:nvCxnSpPr>
        <p:spPr>
          <a:xfrm flipV="1">
            <a:off x="4639733" y="6548041"/>
            <a:ext cx="81119" cy="505280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miter lim="800000"/>
          </a:ln>
          <a:effectLst/>
        </p:spPr>
      </p:cxnSp>
      <p:sp>
        <p:nvSpPr>
          <p:cNvPr id="81" name="TextBox 80"/>
          <p:cNvSpPr txBox="1"/>
          <p:nvPr/>
        </p:nvSpPr>
        <p:spPr>
          <a:xfrm>
            <a:off x="727715" y="6970781"/>
            <a:ext cx="9941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itchFamily="34" charset="0"/>
              </a:rPr>
              <a:t>50 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itchFamily="34" charset="0"/>
              </a:rPr>
              <a:t>млн рублей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itchFamily="34" charset="0"/>
              </a:rPr>
              <a:t>50 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itchFamily="34" charset="0"/>
              </a:rPr>
              <a:t>млн рублей</a:t>
            </a:r>
          </a:p>
        </p:txBody>
      </p:sp>
      <p:sp>
        <p:nvSpPr>
          <p:cNvPr id="82" name="Прямоугольник 81"/>
          <p:cNvSpPr/>
          <p:nvPr/>
        </p:nvSpPr>
        <p:spPr>
          <a:xfrm>
            <a:off x="557811" y="6772670"/>
            <a:ext cx="1080000" cy="180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wrap="none" lIns="36000" tIns="36000" rIns="36000" bIns="36000" anchor="ctr" anchorCtr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itchFamily="34" charset="0"/>
              </a:rPr>
              <a:t>Уральский ФО</a:t>
            </a:r>
            <a:endParaRPr kumimoji="0" lang="ru-RU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itchFamily="34" charset="0"/>
            </a:endParaRPr>
          </a:p>
        </p:txBody>
      </p:sp>
      <p:grpSp>
        <p:nvGrpSpPr>
          <p:cNvPr id="83" name="Группа 82"/>
          <p:cNvGrpSpPr/>
          <p:nvPr/>
        </p:nvGrpSpPr>
        <p:grpSpPr>
          <a:xfrm>
            <a:off x="612102" y="6986947"/>
            <a:ext cx="142065" cy="212205"/>
            <a:chOff x="3609462" y="3734508"/>
            <a:chExt cx="180000" cy="291420"/>
          </a:xfrm>
        </p:grpSpPr>
        <p:pic>
          <p:nvPicPr>
            <p:cNvPr id="84" name="Рисунок 83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09462" y="3734508"/>
              <a:ext cx="180000" cy="180000"/>
            </a:xfrm>
            <a:prstGeom prst="rect">
              <a:avLst/>
            </a:prstGeom>
          </p:spPr>
        </p:pic>
        <p:pic>
          <p:nvPicPr>
            <p:cNvPr id="92" name="Рисунок 91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25754" y="3881928"/>
              <a:ext cx="144000" cy="144000"/>
            </a:xfrm>
            <a:prstGeom prst="rect">
              <a:avLst/>
            </a:prstGeom>
          </p:spPr>
        </p:pic>
      </p:grpSp>
      <p:cxnSp>
        <p:nvCxnSpPr>
          <p:cNvPr id="93" name="Прямая соединительная линия 92"/>
          <p:cNvCxnSpPr>
            <a:endCxn id="82" idx="3"/>
          </p:cNvCxnSpPr>
          <p:nvPr/>
        </p:nvCxnSpPr>
        <p:spPr>
          <a:xfrm flipH="1">
            <a:off x="1637811" y="6621780"/>
            <a:ext cx="1135869" cy="240890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miter lim="800000"/>
          </a:ln>
          <a:effectLst/>
        </p:spPr>
      </p:cxnSp>
      <p:sp>
        <p:nvSpPr>
          <p:cNvPr id="94" name="TextBox 93"/>
          <p:cNvSpPr txBox="1"/>
          <p:nvPr/>
        </p:nvSpPr>
        <p:spPr>
          <a:xfrm>
            <a:off x="1946915" y="7336541"/>
            <a:ext cx="9941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itchFamily="34" charset="0"/>
              </a:rPr>
              <a:t>28 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itchFamily="34" charset="0"/>
              </a:rPr>
              <a:t>млн рублей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itchFamily="34" charset="0"/>
              </a:rPr>
              <a:t>4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itchFamily="34" charset="0"/>
              </a:rPr>
              <a:t>0 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itchFamily="34" charset="0"/>
              </a:rPr>
              <a:t>млн рублей</a:t>
            </a:r>
          </a:p>
        </p:txBody>
      </p:sp>
      <p:sp>
        <p:nvSpPr>
          <p:cNvPr id="95" name="Прямоугольник 94"/>
          <p:cNvSpPr/>
          <p:nvPr/>
        </p:nvSpPr>
        <p:spPr>
          <a:xfrm>
            <a:off x="1777011" y="7138430"/>
            <a:ext cx="1080000" cy="180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wrap="none" lIns="36000" tIns="36000" rIns="36000" bIns="36000" anchor="ctr" anchorCtr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itchFamily="34" charset="0"/>
              </a:rPr>
              <a:t>Сибирский ФО</a:t>
            </a:r>
            <a:endParaRPr kumimoji="0" lang="ru-RU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itchFamily="34" charset="0"/>
            </a:endParaRPr>
          </a:p>
        </p:txBody>
      </p:sp>
      <p:grpSp>
        <p:nvGrpSpPr>
          <p:cNvPr id="96" name="Группа 95"/>
          <p:cNvGrpSpPr/>
          <p:nvPr/>
        </p:nvGrpSpPr>
        <p:grpSpPr>
          <a:xfrm>
            <a:off x="1831302" y="7352707"/>
            <a:ext cx="142065" cy="212205"/>
            <a:chOff x="3609462" y="3734508"/>
            <a:chExt cx="180000" cy="291420"/>
          </a:xfrm>
        </p:grpSpPr>
        <p:pic>
          <p:nvPicPr>
            <p:cNvPr id="97" name="Рисунок 96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09462" y="3734508"/>
              <a:ext cx="180000" cy="180000"/>
            </a:xfrm>
            <a:prstGeom prst="rect">
              <a:avLst/>
            </a:prstGeom>
          </p:spPr>
        </p:pic>
        <p:pic>
          <p:nvPicPr>
            <p:cNvPr id="98" name="Рисунок 97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25754" y="3881928"/>
              <a:ext cx="144000" cy="144000"/>
            </a:xfrm>
            <a:prstGeom prst="rect">
              <a:avLst/>
            </a:prstGeom>
          </p:spPr>
        </p:pic>
      </p:grpSp>
      <p:cxnSp>
        <p:nvCxnSpPr>
          <p:cNvPr id="99" name="Прямая соединительная линия 98"/>
          <p:cNvCxnSpPr>
            <a:endCxn id="95" idx="3"/>
          </p:cNvCxnSpPr>
          <p:nvPr/>
        </p:nvCxnSpPr>
        <p:spPr>
          <a:xfrm flipH="1">
            <a:off x="2857011" y="7056120"/>
            <a:ext cx="244330" cy="172310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192112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object 10"/>
          <p:cNvSpPr/>
          <p:nvPr/>
        </p:nvSpPr>
        <p:spPr>
          <a:xfrm>
            <a:off x="215488" y="3311193"/>
            <a:ext cx="5400000" cy="540000"/>
          </a:xfrm>
          <a:custGeom>
            <a:avLst/>
            <a:gdLst/>
            <a:ahLst/>
            <a:cxnLst/>
            <a:rect l="l" t="t" r="r" b="b"/>
            <a:pathLst>
              <a:path w="10692130" h="423545">
                <a:moveTo>
                  <a:pt x="10692003" y="0"/>
                </a:moveTo>
                <a:lnTo>
                  <a:pt x="0" y="0"/>
                </a:lnTo>
                <a:lnTo>
                  <a:pt x="0" y="423329"/>
                </a:lnTo>
                <a:lnTo>
                  <a:pt x="10692003" y="423329"/>
                </a:lnTo>
                <a:lnTo>
                  <a:pt x="10692003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solidFill>
              <a:srgbClr val="1F4E79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351496" rtl="0" eaLnBrk="1" fontAlgn="auto" latinLnBrk="0" hangingPunct="1">
              <a:lnSpc>
                <a:spcPct val="100000"/>
              </a:lnSpc>
              <a:spcBef>
                <a:spcPts val="46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2063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Trebuchet MS"/>
            </a:endParaRPr>
          </a:p>
        </p:txBody>
      </p:sp>
      <p:sp>
        <p:nvSpPr>
          <p:cNvPr id="68" name="Прямоугольник 67"/>
          <p:cNvSpPr/>
          <p:nvPr/>
        </p:nvSpPr>
        <p:spPr>
          <a:xfrm>
            <a:off x="553402" y="3358429"/>
            <a:ext cx="6727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351496" rtl="0" eaLnBrk="1" fontAlgn="auto" latinLnBrk="0" hangingPunct="1">
              <a:lnSpc>
                <a:spcPct val="100000"/>
              </a:lnSpc>
              <a:spcBef>
                <a:spcPts val="46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rebuchet MS"/>
              </a:rPr>
              <a:t>67%</a:t>
            </a:r>
          </a:p>
        </p:txBody>
      </p:sp>
      <p:sp>
        <p:nvSpPr>
          <p:cNvPr id="69" name="Прямоугольник 68"/>
          <p:cNvSpPr/>
          <p:nvPr/>
        </p:nvSpPr>
        <p:spPr>
          <a:xfrm>
            <a:off x="1406877" y="4304272"/>
            <a:ext cx="880288" cy="3702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351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доступ</a:t>
            </a:r>
          </a:p>
          <a:p>
            <a:pPr marL="0" marR="0" lvl="0" indent="0" algn="ctr" defTabSz="351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к закупкам</a:t>
            </a:r>
          </a:p>
        </p:txBody>
      </p:sp>
      <p:sp>
        <p:nvSpPr>
          <p:cNvPr id="70" name="Прямоугольник 69"/>
          <p:cNvSpPr/>
          <p:nvPr/>
        </p:nvSpPr>
        <p:spPr>
          <a:xfrm>
            <a:off x="2388411" y="4304272"/>
            <a:ext cx="1126529" cy="3702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351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имущественная поддержка</a:t>
            </a:r>
          </a:p>
        </p:txBody>
      </p:sp>
      <p:sp>
        <p:nvSpPr>
          <p:cNvPr id="71" name="Прямоугольник 70"/>
          <p:cNvSpPr/>
          <p:nvPr/>
        </p:nvSpPr>
        <p:spPr>
          <a:xfrm>
            <a:off x="3424814" y="4304272"/>
            <a:ext cx="1256339" cy="6481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351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правовая, информационно-маркетинговая поддержка</a:t>
            </a:r>
          </a:p>
        </p:txBody>
      </p:sp>
      <p:sp>
        <p:nvSpPr>
          <p:cNvPr id="72" name="Прямоугольник 71"/>
          <p:cNvSpPr/>
          <p:nvPr/>
        </p:nvSpPr>
        <p:spPr>
          <a:xfrm>
            <a:off x="4592465" y="4304272"/>
            <a:ext cx="1025094" cy="3702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351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иные </a:t>
            </a:r>
          </a:p>
          <a:p>
            <a:pPr marL="0" marR="0" lvl="0" indent="0" algn="ctr" defTabSz="351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формы поддержки</a:t>
            </a:r>
          </a:p>
        </p:txBody>
      </p:sp>
      <p:sp>
        <p:nvSpPr>
          <p:cNvPr id="74" name="Прямоугольник 73"/>
          <p:cNvSpPr/>
          <p:nvPr/>
        </p:nvSpPr>
        <p:spPr>
          <a:xfrm>
            <a:off x="1603931" y="3342510"/>
            <a:ext cx="7371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351496" rtl="0" eaLnBrk="1" fontAlgn="auto" latinLnBrk="0" hangingPunct="1">
              <a:lnSpc>
                <a:spcPct val="100000"/>
              </a:lnSpc>
              <a:spcBef>
                <a:spcPts val="46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rebuchet MS"/>
              </a:rPr>
              <a:t>63%</a:t>
            </a:r>
          </a:p>
        </p:txBody>
      </p:sp>
      <p:sp>
        <p:nvSpPr>
          <p:cNvPr id="76" name="Прямоугольник 75"/>
          <p:cNvSpPr/>
          <p:nvPr/>
        </p:nvSpPr>
        <p:spPr>
          <a:xfrm>
            <a:off x="2718860" y="3359900"/>
            <a:ext cx="60605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351496" rtl="0" eaLnBrk="1" fontAlgn="auto" latinLnBrk="0" hangingPunct="1">
              <a:lnSpc>
                <a:spcPct val="100000"/>
              </a:lnSpc>
              <a:spcBef>
                <a:spcPts val="46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rebuchet MS"/>
              </a:rPr>
              <a:t>33%</a:t>
            </a:r>
          </a:p>
        </p:txBody>
      </p:sp>
      <p:sp>
        <p:nvSpPr>
          <p:cNvPr id="78" name="Прямоугольник 77"/>
          <p:cNvSpPr/>
          <p:nvPr/>
        </p:nvSpPr>
        <p:spPr>
          <a:xfrm>
            <a:off x="3702665" y="3351648"/>
            <a:ext cx="72572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351496" rtl="0" eaLnBrk="1" fontAlgn="auto" latinLnBrk="0" hangingPunct="1">
              <a:lnSpc>
                <a:spcPct val="100000"/>
              </a:lnSpc>
              <a:spcBef>
                <a:spcPts val="46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rebuchet MS"/>
              </a:rPr>
              <a:t>37%</a:t>
            </a:r>
          </a:p>
        </p:txBody>
      </p:sp>
      <p:sp>
        <p:nvSpPr>
          <p:cNvPr id="80" name="Прямоугольник 79"/>
          <p:cNvSpPr/>
          <p:nvPr/>
        </p:nvSpPr>
        <p:spPr>
          <a:xfrm>
            <a:off x="4806145" y="3358075"/>
            <a:ext cx="79094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351496" rtl="0" eaLnBrk="1" fontAlgn="auto" latinLnBrk="0" hangingPunct="1">
              <a:lnSpc>
                <a:spcPct val="100000"/>
              </a:lnSpc>
              <a:spcBef>
                <a:spcPts val="46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rebuchet MS"/>
              </a:rPr>
              <a:t>22%</a:t>
            </a:r>
          </a:p>
        </p:txBody>
      </p:sp>
      <p:sp>
        <p:nvSpPr>
          <p:cNvPr id="81" name="Прямоугольник 80"/>
          <p:cNvSpPr/>
          <p:nvPr/>
        </p:nvSpPr>
        <p:spPr>
          <a:xfrm>
            <a:off x="184207" y="4304272"/>
            <a:ext cx="1134631" cy="3702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351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финансовая поддержка</a:t>
            </a:r>
            <a:endParaRPr kumimoji="0" lang="ru-RU" sz="903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2" name="object 10"/>
          <p:cNvSpPr/>
          <p:nvPr/>
        </p:nvSpPr>
        <p:spPr>
          <a:xfrm>
            <a:off x="218117" y="5449067"/>
            <a:ext cx="5398457" cy="540000"/>
          </a:xfrm>
          <a:custGeom>
            <a:avLst/>
            <a:gdLst/>
            <a:ahLst/>
            <a:cxnLst/>
            <a:rect l="l" t="t" r="r" b="b"/>
            <a:pathLst>
              <a:path w="10692130" h="423545">
                <a:moveTo>
                  <a:pt x="10692003" y="0"/>
                </a:moveTo>
                <a:lnTo>
                  <a:pt x="0" y="0"/>
                </a:lnTo>
                <a:lnTo>
                  <a:pt x="0" y="423329"/>
                </a:lnTo>
                <a:lnTo>
                  <a:pt x="10692003" y="423329"/>
                </a:lnTo>
                <a:lnTo>
                  <a:pt x="10692003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solidFill>
              <a:srgbClr val="1F4E79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351496" rtl="0" eaLnBrk="1" fontAlgn="auto" latinLnBrk="0" hangingPunct="1">
              <a:lnSpc>
                <a:spcPct val="100000"/>
              </a:lnSpc>
              <a:spcBef>
                <a:spcPts val="46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2063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Trebuchet MS"/>
            </a:endParaRPr>
          </a:p>
        </p:txBody>
      </p:sp>
      <p:sp>
        <p:nvSpPr>
          <p:cNvPr id="84" name="Прямоугольник 83"/>
          <p:cNvSpPr/>
          <p:nvPr/>
        </p:nvSpPr>
        <p:spPr>
          <a:xfrm>
            <a:off x="567859" y="5525331"/>
            <a:ext cx="618691" cy="40011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marL="0" marR="0" lvl="0" indent="0" algn="l" defTabSz="351496" rtl="0" eaLnBrk="1" fontAlgn="auto" latinLnBrk="0" hangingPunct="1">
              <a:lnSpc>
                <a:spcPct val="100000"/>
              </a:lnSpc>
              <a:spcBef>
                <a:spcPts val="46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rebuchet MS"/>
              </a:rPr>
              <a:t>58%</a:t>
            </a:r>
            <a:endParaRPr kumimoji="0" lang="ru-RU" altLang="ru-RU" sz="20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Trebuchet MS"/>
            </a:endParaRPr>
          </a:p>
        </p:txBody>
      </p:sp>
      <p:sp>
        <p:nvSpPr>
          <p:cNvPr id="86" name="Прямоугольник 85"/>
          <p:cNvSpPr/>
          <p:nvPr/>
        </p:nvSpPr>
        <p:spPr>
          <a:xfrm>
            <a:off x="2640188" y="5543312"/>
            <a:ext cx="70961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351496" rtl="0" eaLnBrk="1" fontAlgn="auto" latinLnBrk="0" hangingPunct="1">
              <a:lnSpc>
                <a:spcPct val="100000"/>
              </a:lnSpc>
              <a:spcBef>
                <a:spcPts val="46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rebuchet MS"/>
              </a:rPr>
              <a:t>25%</a:t>
            </a:r>
            <a:endParaRPr kumimoji="0" lang="ru-RU" altLang="ru-RU" sz="20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Trebuchet MS"/>
            </a:endParaRPr>
          </a:p>
        </p:txBody>
      </p:sp>
      <p:sp>
        <p:nvSpPr>
          <p:cNvPr id="88" name="Прямоугольник 87"/>
          <p:cNvSpPr/>
          <p:nvPr/>
        </p:nvSpPr>
        <p:spPr>
          <a:xfrm>
            <a:off x="4803439" y="5486464"/>
            <a:ext cx="650627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351496" rtl="0" eaLnBrk="1" fontAlgn="auto" latinLnBrk="0" hangingPunct="1">
              <a:lnSpc>
                <a:spcPct val="100000"/>
              </a:lnSpc>
              <a:spcBef>
                <a:spcPts val="46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rebuchet MS"/>
              </a:rPr>
              <a:t>17%</a:t>
            </a:r>
            <a:endParaRPr kumimoji="0" lang="ru-RU" altLang="ru-RU" sz="20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Trebuchet MS"/>
            </a:endParaRPr>
          </a:p>
        </p:txBody>
      </p:sp>
      <p:sp>
        <p:nvSpPr>
          <p:cNvPr id="89" name="Прямоугольник 88"/>
          <p:cNvSpPr/>
          <p:nvPr/>
        </p:nvSpPr>
        <p:spPr>
          <a:xfrm>
            <a:off x="74326" y="6374546"/>
            <a:ext cx="167416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3515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Инновационные поставщики крупнейших заказчиков</a:t>
            </a:r>
          </a:p>
        </p:txBody>
      </p:sp>
      <p:sp>
        <p:nvSpPr>
          <p:cNvPr id="90" name="Прямоугольник 89"/>
          <p:cNvSpPr/>
          <p:nvPr/>
        </p:nvSpPr>
        <p:spPr>
          <a:xfrm>
            <a:off x="1589925" y="6374546"/>
            <a:ext cx="3118444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3515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Участники проекта </a:t>
            </a:r>
            <a:r>
              <a:rPr kumimoji="0" lang="ru-RU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Техуспех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, приоритетного проекта Минэкономразвития России «Поддержка частных высокотехнологических компаний-лидеров»</a:t>
            </a:r>
          </a:p>
        </p:txBody>
      </p:sp>
      <p:sp>
        <p:nvSpPr>
          <p:cNvPr id="91" name="Прямоугольник 90"/>
          <p:cNvSpPr/>
          <p:nvPr/>
        </p:nvSpPr>
        <p:spPr>
          <a:xfrm>
            <a:off x="4470945" y="6385304"/>
            <a:ext cx="1343839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3515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Информация представлена институтами развития</a:t>
            </a:r>
          </a:p>
        </p:txBody>
      </p:sp>
      <p:sp>
        <p:nvSpPr>
          <p:cNvPr id="92" name="Скругленный прямоугольник 91"/>
          <p:cNvSpPr/>
          <p:nvPr/>
        </p:nvSpPr>
        <p:spPr>
          <a:xfrm>
            <a:off x="213704" y="7264751"/>
            <a:ext cx="5402872" cy="444733"/>
          </a:xfrm>
          <a:prstGeom prst="roundRect">
            <a:avLst>
              <a:gd name="adj" fmla="val 14473"/>
            </a:avLst>
          </a:prstGeom>
          <a:noFill/>
          <a:ln w="28575" cap="flat" cmpd="sng" algn="ctr">
            <a:solidFill>
              <a:srgbClr val="1F4E79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77" b="0" i="0" u="none" strike="noStrike" kern="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ланируется</a:t>
            </a:r>
            <a:r>
              <a:rPr kumimoji="0" lang="ru-RU" sz="1477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1477" b="1" i="0" u="none" strike="noStrike" kern="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казание поддержки не менее 100 проектам </a:t>
            </a:r>
            <a:r>
              <a:rPr kumimoji="0" lang="ru-RU" sz="1477" b="0" i="0" u="none" strike="noStrike" kern="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ежегодно</a:t>
            </a:r>
          </a:p>
        </p:txBody>
      </p:sp>
      <p:sp>
        <p:nvSpPr>
          <p:cNvPr id="93" name="Прямоугольник 92"/>
          <p:cNvSpPr/>
          <p:nvPr/>
        </p:nvSpPr>
        <p:spPr>
          <a:xfrm>
            <a:off x="1885583" y="2098795"/>
            <a:ext cx="884427" cy="3953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969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rebuchet MS"/>
              </a:rPr>
              <a:t>2</a:t>
            </a:r>
            <a:r>
              <a:rPr kumimoji="0" lang="ru-RU" sz="1969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rebuchet MS"/>
              </a:rPr>
              <a:t> </a:t>
            </a:r>
            <a:r>
              <a:rPr kumimoji="0" lang="ru-RU" sz="1969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rebuchet MS"/>
              </a:rPr>
              <a:t>406</a:t>
            </a:r>
          </a:p>
        </p:txBody>
      </p:sp>
      <p:sp>
        <p:nvSpPr>
          <p:cNvPr id="94" name="Стрелка вправо 93"/>
          <p:cNvSpPr/>
          <p:nvPr/>
        </p:nvSpPr>
        <p:spPr>
          <a:xfrm>
            <a:off x="223715" y="1895634"/>
            <a:ext cx="1568124" cy="721334"/>
          </a:xfrm>
          <a:prstGeom prst="rightArrow">
            <a:avLst>
              <a:gd name="adj1" fmla="val 100000"/>
              <a:gd name="adj2" fmla="val 32068"/>
            </a:avLst>
          </a:prstGeom>
          <a:solidFill>
            <a:srgbClr val="1F4E79"/>
          </a:solidFill>
          <a:ln>
            <a:noFill/>
          </a:ln>
        </p:spPr>
        <p:txBody>
          <a:bodyPr wrap="square" lIns="59058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48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ассмотрено субъектов МСП</a:t>
            </a:r>
            <a:r>
              <a:rPr kumimoji="0" lang="ru-RU" sz="1148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:</a:t>
            </a:r>
            <a:endParaRPr kumimoji="0" lang="ru-RU" sz="114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95" name="Стрелка вправо 94"/>
          <p:cNvSpPr/>
          <p:nvPr/>
        </p:nvSpPr>
        <p:spPr>
          <a:xfrm>
            <a:off x="3106798" y="1895173"/>
            <a:ext cx="1575077" cy="720208"/>
          </a:xfrm>
          <a:prstGeom prst="rightArrow">
            <a:avLst>
              <a:gd name="adj1" fmla="val 100000"/>
              <a:gd name="adj2" fmla="val 32068"/>
            </a:avLst>
          </a:prstGeom>
          <a:solidFill>
            <a:srgbClr val="1F4E79"/>
          </a:solidFill>
          <a:ln>
            <a:noFill/>
          </a:ln>
        </p:spPr>
        <p:txBody>
          <a:bodyPr wrap="square" lIns="59058" tIns="0" rIns="0" b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48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тобрано </a:t>
            </a:r>
            <a:br>
              <a:rPr kumimoji="0" lang="ru-RU" sz="1148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</a:br>
            <a:r>
              <a:rPr kumimoji="0" lang="ru-RU" sz="1148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убъектов МСП</a:t>
            </a:r>
            <a:r>
              <a:rPr kumimoji="0" lang="ru-RU" sz="1148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:</a:t>
            </a:r>
            <a:endParaRPr kumimoji="0" lang="ru-RU" sz="114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96" name="Прямоугольник 95"/>
          <p:cNvSpPr/>
          <p:nvPr/>
        </p:nvSpPr>
        <p:spPr>
          <a:xfrm>
            <a:off x="4825493" y="2096315"/>
            <a:ext cx="685066" cy="3953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969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rebuchet MS"/>
              </a:rPr>
              <a:t>440</a:t>
            </a:r>
          </a:p>
        </p:txBody>
      </p:sp>
      <p:sp>
        <p:nvSpPr>
          <p:cNvPr id="102" name="Прямоугольник 101"/>
          <p:cNvSpPr/>
          <p:nvPr/>
        </p:nvSpPr>
        <p:spPr>
          <a:xfrm>
            <a:off x="25571" y="1053884"/>
            <a:ext cx="5759767" cy="584775"/>
          </a:xfrm>
          <a:prstGeom prst="rect">
            <a:avLst/>
          </a:prstGeom>
        </p:spPr>
        <p:txBody>
          <a:bodyPr wrap="square" lIns="29528" rIns="59058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-10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</a:rPr>
              <a:t>КОНСОЛИДИРОВАННАЯ ПОДДЕРЖКА ИНСТИТУТОВ РАЗВИТИЯ</a:t>
            </a:r>
            <a:r>
              <a:rPr kumimoji="0" lang="ru-RU" sz="2000" b="1" i="0" u="none" strike="noStrike" kern="1200" cap="none" spc="-10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</a:rPr>
              <a:t>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rebuchet MS"/>
              </a:rPr>
              <a:t>(Корпорация МСП, </a:t>
            </a: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rebuchet MS"/>
              </a:rPr>
              <a:t>институты развития в сфере инноваций)</a:t>
            </a: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Trebuchet MS"/>
            </a:endParaRPr>
          </a:p>
        </p:txBody>
      </p:sp>
      <p:sp>
        <p:nvSpPr>
          <p:cNvPr id="106" name="Прямоугольник 105"/>
          <p:cNvSpPr/>
          <p:nvPr/>
        </p:nvSpPr>
        <p:spPr>
          <a:xfrm>
            <a:off x="245281" y="2957720"/>
            <a:ext cx="5601307" cy="3043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77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378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rebuchet MS"/>
              </a:rPr>
              <a:t>В рамках 1 очереди рабочей группой рассмотрены 27 проектов</a:t>
            </a:r>
            <a:endParaRPr kumimoji="0" lang="ru-RU" altLang="ru-RU" sz="1378" b="1" i="0" u="none" strike="noStrike" kern="1200" cap="none" spc="0" normalizeH="0" baseline="0" noProof="0" dirty="0">
              <a:ln>
                <a:noFill/>
              </a:ln>
              <a:solidFill>
                <a:srgbClr val="1F4E79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Trebuchet MS"/>
            </a:endParaRPr>
          </a:p>
        </p:txBody>
      </p:sp>
      <p:sp>
        <p:nvSpPr>
          <p:cNvPr id="107" name="Прямоугольник 106"/>
          <p:cNvSpPr/>
          <p:nvPr/>
        </p:nvSpPr>
        <p:spPr>
          <a:xfrm>
            <a:off x="251308" y="5151755"/>
            <a:ext cx="5696832" cy="3150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77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447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rebuchet MS"/>
              </a:rPr>
              <a:t> В рамках 2 очереди рабочей </a:t>
            </a:r>
            <a:r>
              <a:rPr kumimoji="0" lang="ru-RU" altLang="ru-RU" sz="1447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rebuchet MS"/>
              </a:rPr>
              <a:t>группой </a:t>
            </a:r>
            <a:r>
              <a:rPr kumimoji="0" lang="ru-RU" altLang="ru-RU" sz="1447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rebuchet MS"/>
              </a:rPr>
              <a:t>рассмотрены 96 паспортов</a:t>
            </a:r>
            <a:endParaRPr kumimoji="0" lang="ru-RU" altLang="ru-RU" sz="1447" b="1" i="0" u="none" strike="noStrike" kern="1200" cap="none" spc="0" normalizeH="0" baseline="0" noProof="0" dirty="0">
              <a:ln>
                <a:noFill/>
              </a:ln>
              <a:solidFill>
                <a:srgbClr val="1F4E79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Trebuchet MS"/>
            </a:endParaRPr>
          </a:p>
        </p:txBody>
      </p:sp>
      <p:sp>
        <p:nvSpPr>
          <p:cNvPr id="108" name="Скругленный прямоугольник 107"/>
          <p:cNvSpPr/>
          <p:nvPr/>
        </p:nvSpPr>
        <p:spPr>
          <a:xfrm>
            <a:off x="6093885" y="1203191"/>
            <a:ext cx="6206270" cy="868575"/>
          </a:xfrm>
          <a:prstGeom prst="roundRect">
            <a:avLst>
              <a:gd name="adj" fmla="val 14473"/>
            </a:avLst>
          </a:prstGeom>
          <a:noFill/>
          <a:ln w="28575" cap="flat" cmpd="sng" algn="ctr">
            <a:solidFill>
              <a:srgbClr val="1F4E79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 рамках </a:t>
            </a: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 очереди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rebuchet MS"/>
              </a:rPr>
              <a:t>оказана поддержка </a:t>
            </a:r>
            <a:r>
              <a:rPr kumimoji="0" lang="ru-RU" sz="3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rebuchet MS"/>
              </a:rPr>
              <a:t>16</a:t>
            </a:r>
            <a:r>
              <a:rPr kumimoji="0" lang="ru-RU" sz="3600" b="1" i="0" u="none" strike="noStrike" kern="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быстрорастущим</a:t>
            </a: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нновационным, высокотехнологичным субъектам </a:t>
            </a:r>
            <a:r>
              <a:rPr kumimoji="0" lang="ru-RU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МСП, в том числе: </a:t>
            </a:r>
            <a:endParaRPr kumimoji="0" lang="ru-RU" sz="1600" b="1" i="0" u="none" strike="noStrike" kern="0" cap="none" spc="0" normalizeH="0" baseline="0" noProof="0" dirty="0">
              <a:ln>
                <a:noFill/>
              </a:ln>
              <a:solidFill>
                <a:srgbClr val="1F4E79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09" name="Скругленный прямоугольник 108"/>
          <p:cNvSpPr/>
          <p:nvPr/>
        </p:nvSpPr>
        <p:spPr>
          <a:xfrm>
            <a:off x="6063916" y="2201044"/>
            <a:ext cx="1188000" cy="1668403"/>
          </a:xfrm>
          <a:prstGeom prst="roundRect">
            <a:avLst>
              <a:gd name="adj" fmla="val 4979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08000" rIns="36000" bIns="36000" rtlCol="0" anchor="t" anchorCtr="0"/>
          <a:lstStyle/>
          <a:p>
            <a:pPr marL="0" marR="0" lvl="0" indent="0" algn="ctr" defTabSz="3322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rebuchet MS"/>
              </a:rPr>
              <a:t>9 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Trebuchet MS"/>
            </a:endParaRPr>
          </a:p>
          <a:p>
            <a:pPr marL="0" marR="0" lvl="0" indent="0" algn="ctr" defTabSz="3322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убъектам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МСП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казана 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финансовая </a:t>
            </a: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ддержка</a:t>
            </a:r>
          </a:p>
          <a:p>
            <a:pPr marL="0" marR="0" lvl="0" indent="0" algn="ctr" defTabSz="3322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3322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10" name="Скругленный прямоугольник 109"/>
          <p:cNvSpPr/>
          <p:nvPr/>
        </p:nvSpPr>
        <p:spPr>
          <a:xfrm>
            <a:off x="7331342" y="2201044"/>
            <a:ext cx="1188000" cy="1668403"/>
          </a:xfrm>
          <a:prstGeom prst="roundRect">
            <a:avLst>
              <a:gd name="adj" fmla="val 4979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08000" rIns="36000" bIns="36000" rtlCol="0" anchor="t" anchorCtr="0"/>
          <a:lstStyle/>
          <a:p>
            <a:pPr marL="0" marR="0" lvl="0" indent="0" algn="ctr" defTabSz="3322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rebuchet MS"/>
              </a:rPr>
              <a:t>16</a:t>
            </a:r>
            <a: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</a:p>
          <a:p>
            <a:pPr marL="0" marR="0" lvl="0" indent="0" algn="ctr" defTabSz="3322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убъектам 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МСП </a:t>
            </a:r>
            <a:endParaRPr kumimoji="0" lang="ru-RU" sz="1100" b="0" i="0" u="none" strike="noStrike" kern="1200" cap="none" spc="0" normalizeH="0" baseline="0" noProof="0" dirty="0" smtClean="0">
              <a:ln>
                <a:noFill/>
              </a:ln>
              <a:solidFill>
                <a:srgbClr val="1F4E79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3322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казана 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ддержка в части </a:t>
            </a: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асширения</a:t>
            </a: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оступа </a:t>
            </a: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 </a:t>
            </a:r>
            <a: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закупкам</a:t>
            </a:r>
            <a:endParaRPr kumimoji="0" lang="ru-RU" sz="1100" b="1" i="0" u="none" strike="noStrike" kern="1200" cap="none" spc="0" normalizeH="0" baseline="0" noProof="0" dirty="0">
              <a:ln>
                <a:noFill/>
              </a:ln>
              <a:solidFill>
                <a:srgbClr val="1F4E79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11" name="Скругленный прямоугольник 110"/>
          <p:cNvSpPr/>
          <p:nvPr/>
        </p:nvSpPr>
        <p:spPr>
          <a:xfrm>
            <a:off x="9866194" y="2201044"/>
            <a:ext cx="1188000" cy="1668403"/>
          </a:xfrm>
          <a:prstGeom prst="roundRect">
            <a:avLst>
              <a:gd name="adj" fmla="val 4979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08000" rIns="36000" bIns="36000" rtlCol="0" anchor="t" anchorCtr="0"/>
          <a:lstStyle/>
          <a:p>
            <a:pPr marL="0" marR="0" lvl="0" indent="0" algn="ctr" defTabSz="3322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rebuchet MS"/>
              </a:rPr>
              <a:t>5</a:t>
            </a:r>
          </a:p>
          <a:p>
            <a:pPr marL="0" marR="0" lvl="0" indent="0" algn="ctr" defTabSz="3322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убъектам МСП </a:t>
            </a: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/>
            </a:r>
            <a:b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</a:b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казана </a:t>
            </a: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авовая, </a:t>
            </a:r>
            <a:r>
              <a:rPr kumimoji="0" lang="ru-RU" sz="105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нформационно- </a:t>
            </a:r>
            <a: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маркетинговая </a:t>
            </a: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ддержка</a:t>
            </a:r>
          </a:p>
        </p:txBody>
      </p:sp>
      <p:sp>
        <p:nvSpPr>
          <p:cNvPr id="112" name="Скругленный прямоугольник 111"/>
          <p:cNvSpPr/>
          <p:nvPr/>
        </p:nvSpPr>
        <p:spPr>
          <a:xfrm>
            <a:off x="11133621" y="2201044"/>
            <a:ext cx="1188000" cy="1668403"/>
          </a:xfrm>
          <a:prstGeom prst="roundRect">
            <a:avLst>
              <a:gd name="adj" fmla="val 4979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08000" rIns="36000" bIns="36000" rtlCol="0" anchor="t" anchorCtr="0"/>
          <a:lstStyle/>
          <a:p>
            <a:pPr marL="0" marR="0" lvl="0" indent="0" algn="ctr" defTabSz="3322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rebuchet MS"/>
              </a:rPr>
              <a:t>3</a:t>
            </a: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rebuchet MS"/>
              </a:rPr>
              <a:t> 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Trebuchet MS"/>
            </a:endParaRPr>
          </a:p>
          <a:p>
            <a:pPr marL="0" marR="0" lvl="0" indent="0" algn="ctr" defTabSz="3322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убъектам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МСП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казаны 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ные формы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ддержки</a:t>
            </a:r>
          </a:p>
          <a:p>
            <a:pPr marL="0" marR="0" lvl="0" indent="0" algn="ctr" defTabSz="3322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3322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13" name="Скругленный прямоугольник 112"/>
          <p:cNvSpPr/>
          <p:nvPr/>
        </p:nvSpPr>
        <p:spPr>
          <a:xfrm>
            <a:off x="8598768" y="2201044"/>
            <a:ext cx="1188000" cy="1668403"/>
          </a:xfrm>
          <a:prstGeom prst="roundRect">
            <a:avLst>
              <a:gd name="adj" fmla="val 4979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08000" rIns="36000" bIns="36000" rtlCol="0" anchor="t" anchorCtr="0"/>
          <a:lstStyle/>
          <a:p>
            <a:pPr marL="0" marR="0" lvl="0" indent="0" algn="ctr" defTabSz="3322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rebuchet MS"/>
              </a:rPr>
              <a:t>8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Trebuchet MS"/>
            </a:endParaRPr>
          </a:p>
          <a:p>
            <a:pPr marL="0" marR="0" lvl="0" indent="0" algn="ctr" defTabSz="3322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убъектам МСП </a:t>
            </a:r>
            <a:endParaRPr kumimoji="0" lang="ru-RU" sz="1100" b="0" i="0" u="none" strike="noStrike" kern="1200" cap="none" spc="0" normalizeH="0" baseline="0" noProof="0" dirty="0" smtClean="0">
              <a:ln>
                <a:noFill/>
              </a:ln>
              <a:solidFill>
                <a:srgbClr val="1F4E79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3322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казана </a:t>
            </a:r>
            <a: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мущественная поддержка </a:t>
            </a: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</a:t>
            </a:r>
            <a:r>
              <a:rPr kumimoji="0" lang="ru-RU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существляется</a:t>
            </a: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подбор объектов недвижимости)</a:t>
            </a: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srgbClr val="1F4E79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15" name="Прямоугольник 114"/>
          <p:cNvSpPr/>
          <p:nvPr/>
        </p:nvSpPr>
        <p:spPr>
          <a:xfrm>
            <a:off x="6128868" y="3943167"/>
            <a:ext cx="7230141" cy="6763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4572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5</a:t>
            </a:r>
            <a: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убъектам МСП АО «МСП Банк» предоставил кредитно-гарантийную поддержку на сумму 61,5 млн </a:t>
            </a:r>
            <a: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уб.</a:t>
            </a:r>
          </a:p>
          <a:p>
            <a:pPr marL="0" marR="0" lvl="0" indent="0" algn="just" defTabSz="4572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8</a:t>
            </a:r>
            <a: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субъектам МСП Фонд содействия инновациям предоставил гранты и субсидии на общую </a:t>
            </a:r>
          </a:p>
          <a:p>
            <a:pPr marL="0" marR="0" lvl="0" indent="0" algn="just" defTabSz="4572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умму 134,20 </a:t>
            </a: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млн руб. </a:t>
            </a:r>
          </a:p>
        </p:txBody>
      </p:sp>
      <p:sp>
        <p:nvSpPr>
          <p:cNvPr id="2" name="Стрелка вниз 1"/>
          <p:cNvSpPr/>
          <p:nvPr/>
        </p:nvSpPr>
        <p:spPr>
          <a:xfrm>
            <a:off x="524372" y="3914522"/>
            <a:ext cx="495548" cy="320793"/>
          </a:xfrm>
          <a:prstGeom prst="downArrow">
            <a:avLst/>
          </a:prstGeom>
          <a:noFill/>
          <a:ln>
            <a:solidFill>
              <a:srgbClr val="1F4E7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2" name="Стрелка вниз 121"/>
          <p:cNvSpPr/>
          <p:nvPr/>
        </p:nvSpPr>
        <p:spPr>
          <a:xfrm>
            <a:off x="1619690" y="3910046"/>
            <a:ext cx="495548" cy="320793"/>
          </a:xfrm>
          <a:prstGeom prst="downArrow">
            <a:avLst/>
          </a:prstGeom>
          <a:noFill/>
          <a:ln>
            <a:solidFill>
              <a:srgbClr val="1F4E7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3" name="Стрелка вниз 122"/>
          <p:cNvSpPr/>
          <p:nvPr/>
        </p:nvSpPr>
        <p:spPr>
          <a:xfrm>
            <a:off x="2728453" y="3925142"/>
            <a:ext cx="495548" cy="320793"/>
          </a:xfrm>
          <a:prstGeom prst="downArrow">
            <a:avLst/>
          </a:prstGeom>
          <a:noFill/>
          <a:ln>
            <a:solidFill>
              <a:srgbClr val="1F4E7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4" name="Стрелка вниз 123"/>
          <p:cNvSpPr/>
          <p:nvPr/>
        </p:nvSpPr>
        <p:spPr>
          <a:xfrm>
            <a:off x="3738257" y="3914522"/>
            <a:ext cx="495548" cy="320793"/>
          </a:xfrm>
          <a:prstGeom prst="downArrow">
            <a:avLst/>
          </a:prstGeom>
          <a:noFill/>
          <a:ln>
            <a:solidFill>
              <a:srgbClr val="1F4E7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5" name="Стрелка вниз 124"/>
          <p:cNvSpPr/>
          <p:nvPr/>
        </p:nvSpPr>
        <p:spPr>
          <a:xfrm>
            <a:off x="4831591" y="3925347"/>
            <a:ext cx="495548" cy="320793"/>
          </a:xfrm>
          <a:prstGeom prst="downArrow">
            <a:avLst/>
          </a:prstGeom>
          <a:noFill/>
          <a:ln>
            <a:solidFill>
              <a:srgbClr val="1F4E7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6" name="Стрелка вниз 125"/>
          <p:cNvSpPr/>
          <p:nvPr/>
        </p:nvSpPr>
        <p:spPr>
          <a:xfrm>
            <a:off x="541660" y="6042464"/>
            <a:ext cx="495548" cy="320793"/>
          </a:xfrm>
          <a:prstGeom prst="downArrow">
            <a:avLst/>
          </a:prstGeom>
          <a:noFill/>
          <a:ln>
            <a:solidFill>
              <a:srgbClr val="1F4E7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7" name="Стрелка вниз 126"/>
          <p:cNvSpPr/>
          <p:nvPr/>
        </p:nvSpPr>
        <p:spPr>
          <a:xfrm>
            <a:off x="2663428" y="6046120"/>
            <a:ext cx="495548" cy="320793"/>
          </a:xfrm>
          <a:prstGeom prst="downArrow">
            <a:avLst/>
          </a:prstGeom>
          <a:noFill/>
          <a:ln>
            <a:solidFill>
              <a:srgbClr val="1F4E7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8" name="Стрелка вниз 127"/>
          <p:cNvSpPr/>
          <p:nvPr/>
        </p:nvSpPr>
        <p:spPr>
          <a:xfrm>
            <a:off x="4897353" y="6044953"/>
            <a:ext cx="495548" cy="320793"/>
          </a:xfrm>
          <a:prstGeom prst="downArrow">
            <a:avLst/>
          </a:prstGeom>
          <a:noFill/>
          <a:ln>
            <a:solidFill>
              <a:srgbClr val="1F4E7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1" name="Скругленный прямоугольник 60"/>
          <p:cNvSpPr/>
          <p:nvPr/>
        </p:nvSpPr>
        <p:spPr>
          <a:xfrm>
            <a:off x="6110714" y="4766208"/>
            <a:ext cx="6189441" cy="1002814"/>
          </a:xfrm>
          <a:prstGeom prst="roundRect">
            <a:avLst>
              <a:gd name="adj" fmla="val 14473"/>
            </a:avLst>
          </a:prstGeom>
          <a:noFill/>
          <a:ln w="28575" cap="flat" cmpd="sng" algn="ctr">
            <a:solidFill>
              <a:srgbClr val="1F4E79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 рамках </a:t>
            </a: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</a:t>
            </a:r>
            <a:r>
              <a:rPr kumimoji="0" lang="ru-RU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череди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rebuchet MS"/>
              </a:rPr>
              <a:t>оказана поддержка </a:t>
            </a:r>
            <a:r>
              <a:rPr kumimoji="0" lang="ru-RU" sz="3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rebuchet MS"/>
              </a:rPr>
              <a:t>5</a:t>
            </a:r>
            <a:r>
              <a:rPr kumimoji="0" lang="ru-RU" sz="3600" b="1" i="0" u="none" strike="noStrike" kern="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быстрорастущим</a:t>
            </a: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нновационным, высокотехнологичным субъектам </a:t>
            </a:r>
            <a:r>
              <a:rPr kumimoji="0" lang="ru-RU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МСП, в том числе: </a:t>
            </a:r>
            <a:endParaRPr kumimoji="0" lang="ru-RU" sz="1600" b="1" i="0" u="none" strike="noStrike" kern="0" cap="none" spc="0" normalizeH="0" baseline="0" noProof="0" dirty="0">
              <a:ln>
                <a:noFill/>
              </a:ln>
              <a:solidFill>
                <a:srgbClr val="1F4E79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87" name="Скругленный прямоугольник 86"/>
          <p:cNvSpPr/>
          <p:nvPr/>
        </p:nvSpPr>
        <p:spPr>
          <a:xfrm>
            <a:off x="6093885" y="6766875"/>
            <a:ext cx="6206270" cy="943119"/>
          </a:xfrm>
          <a:prstGeom prst="roundRect">
            <a:avLst>
              <a:gd name="adj" fmla="val 14473"/>
            </a:avLst>
          </a:prstGeom>
          <a:noFill/>
          <a:ln w="28575" cap="flat" cmpd="sng" algn="ctr">
            <a:solidFill>
              <a:srgbClr val="1F4E79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 рамках 2 очереди </a:t>
            </a:r>
            <a:r>
              <a:rPr kumimoji="0" lang="ru-RU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а рассмотрении находится</a:t>
            </a:r>
            <a:r>
              <a:rPr kumimoji="0" lang="ru-RU" sz="3600" b="1" i="0" u="none" strike="noStrike" kern="1200" cap="none" spc="0" normalizeH="0" baseline="0" noProof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27</a:t>
            </a:r>
            <a:r>
              <a:rPr kumimoji="0" lang="ru-RU" sz="3600" b="1" i="0" u="none" strike="noStrike" kern="0" cap="none" spc="0" normalizeH="0" baseline="0" noProof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КР</a:t>
            </a:r>
            <a:r>
              <a:rPr kumimoji="0" lang="ru-RU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индивидуальная карта развития)</a:t>
            </a:r>
            <a:endParaRPr kumimoji="0" lang="ru-RU" sz="1600" b="1" i="0" u="none" strike="noStrike" kern="0" cap="none" spc="0" normalizeH="0" baseline="0" noProof="0" dirty="0">
              <a:ln>
                <a:noFill/>
              </a:ln>
              <a:solidFill>
                <a:srgbClr val="1F4E79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29" name="TextBox 128"/>
          <p:cNvSpPr txBox="1"/>
          <p:nvPr/>
        </p:nvSpPr>
        <p:spPr>
          <a:xfrm>
            <a:off x="3908563" y="74337"/>
            <a:ext cx="10311113" cy="911445"/>
          </a:xfrm>
          <a:prstGeom prst="rect">
            <a:avLst/>
          </a:prstGeom>
          <a:noFill/>
        </p:spPr>
        <p:txBody>
          <a:bodyPr wrap="square" lIns="35154" tIns="17577" rIns="0" bIns="17577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П</a:t>
            </a:r>
            <a:r>
              <a:rPr kumimoji="0" lang="ru-RU" alt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оддержка быстрорастущих инновационных,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высокотехнологичных субъектов </a:t>
            </a:r>
            <a:r>
              <a:rPr kumimoji="0" lang="ru-RU" alt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МСП («</a:t>
            </a:r>
            <a:r>
              <a:rPr kumimoji="0" lang="ru-RU" alt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газелей»)</a:t>
            </a:r>
            <a:endParaRPr kumimoji="0" lang="ru-RU" altLang="ru-RU" sz="1400" b="1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30" name="Прямоугольник 129"/>
          <p:cNvSpPr/>
          <p:nvPr/>
        </p:nvSpPr>
        <p:spPr>
          <a:xfrm>
            <a:off x="6128867" y="5829496"/>
            <a:ext cx="6220731" cy="79483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4572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 субъект </a:t>
            </a: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МСП </a:t>
            </a:r>
            <a: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ыиграл </a:t>
            </a: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онкурс на выполнение работ для ООО «НИИ </a:t>
            </a:r>
            <a:r>
              <a:rPr kumimoji="0" lang="ru-RU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Транснефть</a:t>
            </a: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» </a:t>
            </a:r>
            <a:endParaRPr kumimoji="0" lang="ru-RU" sz="1100" b="1" i="0" u="none" strike="noStrike" kern="1200" cap="none" spc="0" normalizeH="0" baseline="0" noProof="0" dirty="0" smtClean="0">
              <a:ln>
                <a:noFill/>
              </a:ln>
              <a:solidFill>
                <a:srgbClr val="1F4E79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l" defTabSz="33223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 </a:t>
            </a: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убъектам </a:t>
            </a:r>
            <a: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МСП </a:t>
            </a: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казана 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ддержка в части </a:t>
            </a: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асширения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оступа к </a:t>
            </a:r>
            <a: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закупкам (участие в семинарах)</a:t>
            </a:r>
            <a:b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</a:br>
            <a: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 субъектам МСП оказана информационная поддержка</a:t>
            </a:r>
            <a:endParaRPr kumimoji="0" lang="ru-RU" sz="1100" b="1" i="0" u="none" strike="noStrike" kern="1200" cap="none" spc="0" normalizeH="0" baseline="0" noProof="0" dirty="0">
              <a:ln>
                <a:noFill/>
              </a:ln>
              <a:solidFill>
                <a:srgbClr val="1F4E79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47" name="Прямоугольник 46"/>
          <p:cNvSpPr/>
          <p:nvPr/>
        </p:nvSpPr>
        <p:spPr>
          <a:xfrm>
            <a:off x="11917775" y="8268937"/>
            <a:ext cx="591005" cy="3877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5</a:t>
            </a:r>
          </a:p>
          <a:p>
            <a:pPr marL="0" marR="0" lvl="0" indent="0" algn="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719630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TextBox 79"/>
          <p:cNvSpPr txBox="1"/>
          <p:nvPr/>
        </p:nvSpPr>
        <p:spPr>
          <a:xfrm>
            <a:off x="2510334" y="84030"/>
            <a:ext cx="9196621" cy="91144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1344613" algn="l" defTabSz="11521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Деятельность МСП Банка в приоритетных и социально-значимых нишах</a:t>
            </a:r>
          </a:p>
          <a:p>
            <a:pPr marL="0" marR="0" lvl="0" indent="1344613" algn="l" defTabSz="11521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(накопленным итогом с 2016 года)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itchFamily="34" charset="0"/>
              <a:ea typeface="+mn-ea"/>
              <a:cs typeface="+mn-cs"/>
            </a:endParaRPr>
          </a:p>
        </p:txBody>
      </p:sp>
      <p:pic>
        <p:nvPicPr>
          <p:cNvPr id="82" name="Рисунок 8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sp>
        <p:nvSpPr>
          <p:cNvPr id="83" name="Прямоугольник 82"/>
          <p:cNvSpPr/>
          <p:nvPr/>
        </p:nvSpPr>
        <p:spPr>
          <a:xfrm>
            <a:off x="11917775" y="8268937"/>
            <a:ext cx="591005" cy="3877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6</a:t>
            </a:r>
          </a:p>
          <a:p>
            <a:pPr marL="0" marR="0" lvl="0" indent="0" algn="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pSp>
        <p:nvGrpSpPr>
          <p:cNvPr id="77" name="Группа 76"/>
          <p:cNvGrpSpPr/>
          <p:nvPr/>
        </p:nvGrpSpPr>
        <p:grpSpPr>
          <a:xfrm>
            <a:off x="6912990" y="820118"/>
            <a:ext cx="4923413" cy="2415304"/>
            <a:chOff x="4784770" y="2499650"/>
            <a:chExt cx="3572995" cy="1916983"/>
          </a:xfrm>
        </p:grpSpPr>
        <p:sp>
          <p:nvSpPr>
            <p:cNvPr id="81" name="TextBox 80"/>
            <p:cNvSpPr txBox="1"/>
            <p:nvPr/>
          </p:nvSpPr>
          <p:spPr>
            <a:xfrm>
              <a:off x="4784770" y="2499650"/>
              <a:ext cx="3572995" cy="136794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820261" marR="0" lvl="3" indent="0" algn="l" defTabSz="121350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36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ED7D31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ДОЛЯ </a:t>
              </a:r>
            </a:p>
            <a:p>
              <a:pPr marL="1820261" marR="0" lvl="3" indent="0" algn="l" defTabSz="121350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ED7D31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кредитной поддержки</a:t>
              </a:r>
              <a:r>
                <a:rPr kumimoji="0" lang="en-US" sz="14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ED7D31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 </a:t>
              </a:r>
              <a:r>
                <a:rPr kumimoji="0" lang="ru-RU" sz="14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ED7D31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в приоритетных и социальных значимых нишах в общем кредитном портфеле МСП Банка</a:t>
              </a:r>
              <a:r>
                <a:rPr kumimoji="0" lang="en-US" sz="14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ED7D31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 </a:t>
              </a:r>
              <a:r>
                <a:rPr kumimoji="0" lang="ru-RU" sz="14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ED7D31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(в </a:t>
              </a:r>
              <a:r>
                <a: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ED7D31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том числе в рамках </a:t>
              </a:r>
              <a:r>
                <a:rPr kumimoji="0" lang="ru-RU" sz="14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ED7D31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Законов №223-ФЗ </a:t>
              </a:r>
              <a:r>
                <a: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ED7D31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и </a:t>
              </a:r>
              <a:r>
                <a:rPr kumimoji="0" lang="ru-RU" sz="14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ED7D31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№ 44-ФЗ) </a:t>
              </a:r>
              <a:endPara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84" name="TextBox 83"/>
            <p:cNvSpPr txBox="1"/>
            <p:nvPr/>
          </p:nvSpPr>
          <p:spPr>
            <a:xfrm>
              <a:off x="6088707" y="3757086"/>
              <a:ext cx="1752931" cy="65954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121350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8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ED7D31"/>
                  </a:solidFill>
                  <a:effectLst/>
                  <a:uLnTx/>
                  <a:uFillTx/>
                  <a:latin typeface="Arial Black" panose="020B0A04020102020204" pitchFamily="34" charset="0"/>
                  <a:ea typeface="+mn-ea"/>
                  <a:cs typeface="+mn-cs"/>
                </a:rPr>
                <a:t>90,9</a:t>
              </a:r>
              <a:r>
                <a:rPr kumimoji="0" lang="ru-RU" sz="48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ED7D31"/>
                  </a:solidFill>
                  <a:effectLst/>
                  <a:uLnTx/>
                  <a:uFillTx/>
                  <a:latin typeface="Arial Black" panose="020B0A04020102020204" pitchFamily="34" charset="0"/>
                  <a:ea typeface="+mn-ea"/>
                  <a:cs typeface="+mn-cs"/>
                </a:rPr>
                <a:t>%</a:t>
              </a:r>
              <a:endParaRPr kumimoji="0" lang="ru-RU" sz="4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85" name="TextBox 84"/>
          <p:cNvSpPr txBox="1"/>
          <p:nvPr/>
        </p:nvSpPr>
        <p:spPr>
          <a:xfrm>
            <a:off x="158459" y="7590199"/>
            <a:ext cx="11807600" cy="799643"/>
          </a:xfrm>
          <a:prstGeom prst="rect">
            <a:avLst/>
          </a:prstGeom>
          <a:noFill/>
        </p:spPr>
        <p:txBody>
          <a:bodyPr wrap="square" lIns="121351" tIns="60675" rIns="121351" bIns="60675" rtlCol="0">
            <a:spAutoFit/>
          </a:bodyPr>
          <a:lstStyle/>
          <a:p>
            <a:pPr marL="0" marR="0" lvl="0" indent="0" algn="l" defTabSz="121350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* Прямые кредиты субъектам МСП предоставлены как  за счет рыночных источников с субсидированием процентной ставки (Программа субсидирования 6,5, Программа Минсельхоза), так и с использованием инструментария льготного финансирования в рамках Программы стимулирования</a:t>
            </a:r>
          </a:p>
          <a:p>
            <a:pPr marL="227532" marR="0" lvl="0" indent="-227532" algn="l" defTabSz="121350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endParaRPr kumimoji="0" lang="ru-RU" sz="1100" b="0" i="1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l" defTabSz="121350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**Исключая возможные пересечения, связанные с одновременным отнесением некоторых кредитных договоров к нескольким приоритетным направлениям и льготным программам  </a:t>
            </a:r>
          </a:p>
        </p:txBody>
      </p:sp>
      <p:sp>
        <p:nvSpPr>
          <p:cNvPr id="86" name="Прямоугольник 85"/>
          <p:cNvSpPr/>
          <p:nvPr/>
        </p:nvSpPr>
        <p:spPr>
          <a:xfrm>
            <a:off x="639520" y="3917712"/>
            <a:ext cx="5752766" cy="3354189"/>
          </a:xfrm>
          <a:prstGeom prst="rect">
            <a:avLst/>
          </a:prstGeom>
        </p:spPr>
        <p:txBody>
          <a:bodyPr wrap="square" lIns="121351" tIns="60675" rIns="121351" bIns="60675">
            <a:spAutoFit/>
          </a:bodyPr>
          <a:lstStyle/>
          <a:p>
            <a:pPr marL="0" marR="0" lvl="0" indent="0" algn="l" defTabSz="1152144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l" defTabSz="1152144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ддержка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убъектов МСП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иоритетных и социально-значимых нишах:  </a:t>
            </a:r>
          </a:p>
          <a:p>
            <a:pPr marL="285750" marR="0" lvl="1" indent="-285750" algn="l" defTabSz="1152144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фере закупок в соответствии с 223-ФЗ;</a:t>
            </a:r>
          </a:p>
          <a:p>
            <a:pPr marL="285750" marR="0" lvl="1" indent="-285750" algn="l" defTabSz="1152144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а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территории Дальневосточного федерального округа;</a:t>
            </a:r>
          </a:p>
          <a:p>
            <a:pPr marL="285750" marR="0" lvl="1" indent="-285750" algn="l" defTabSz="1152144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а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территории Северо-Кавказского федерального округа;</a:t>
            </a:r>
          </a:p>
          <a:p>
            <a:pPr marL="285750" marR="0" lvl="1" indent="-285750" algn="l" defTabSz="1152144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а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территории моногородов;</a:t>
            </a:r>
          </a:p>
          <a:p>
            <a:pPr marL="285750" marR="0" lvl="1" indent="-285750" algn="l" defTabSz="1152144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фере инноваций, высоких технологий, в том числе компании «</a:t>
            </a:r>
            <a:r>
              <a:rPr kumimoji="0" lang="ru-RU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тартапы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» и «газели» ;</a:t>
            </a:r>
          </a:p>
          <a:p>
            <a:pPr marL="285750" marR="0" lvl="1" indent="-285750" algn="l" defTabSz="1152144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фере сельскохозяйственной кооперации, в том числе фермеры – члены сельскохозяйственных кооперативов;</a:t>
            </a:r>
          </a:p>
          <a:p>
            <a:pPr marL="285750" marR="0" lvl="1" indent="-285750" algn="l" defTabSz="1152144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фере физической культуры, спорта и туризма;</a:t>
            </a:r>
          </a:p>
          <a:p>
            <a:pPr marL="285750" marR="0" lvl="1" indent="-285750" algn="l" defTabSz="1152144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фере экспорта и развития экспортного потенциала,</a:t>
            </a:r>
          </a:p>
          <a:p>
            <a:pPr marL="0" marR="0" lvl="1" indent="0" algn="l" defTabSz="1152144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а также предпринимателей приоритетных групп (женщины, молодежь, предприниматели старше 45 лет и др.).</a:t>
            </a:r>
          </a:p>
          <a:p>
            <a:pPr marL="0" marR="0" lvl="1" indent="0" algn="l" defTabSz="1152144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87" name="Прямоугольник 86"/>
          <p:cNvSpPr/>
          <p:nvPr/>
        </p:nvSpPr>
        <p:spPr>
          <a:xfrm>
            <a:off x="6528816" y="4098867"/>
            <a:ext cx="5806439" cy="2276971"/>
          </a:xfrm>
          <a:prstGeom prst="rect">
            <a:avLst/>
          </a:prstGeom>
        </p:spPr>
        <p:txBody>
          <a:bodyPr wrap="square" lIns="121351" tIns="60675" rIns="121351" bIns="60675">
            <a:spAutoFit/>
          </a:bodyPr>
          <a:lstStyle/>
          <a:p>
            <a:pPr marL="0" marR="0" lvl="0" indent="0" algn="l" defTabSz="1152144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Ф</a:t>
            </a:r>
            <a:r>
              <a:rPr kumimoji="0" lang="ru-RU" sz="14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нансирование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субъектов МСП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иоритетным и социально-значимым нишам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существляется на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условиях ниже рыночных,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 рамках:</a:t>
            </a:r>
          </a:p>
          <a:p>
            <a:pPr marL="0" marR="0" lvl="0" indent="0" algn="l" defTabSz="1152144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285750" marR="0" lvl="0" indent="-285750" algn="l" defTabSz="1152144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ограммы льготного кредитования малых и средних предпринимателей, реализуемой Корпорацией МСП и Минэкономразвития России </a:t>
            </a:r>
          </a:p>
          <a:p>
            <a:pPr marL="285750" marR="0" lvl="0" indent="-285750" algn="l" defTabSz="1152144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Wingdings" panose="05000000000000000000" pitchFamily="2" charset="2"/>
              <a:buChar char="ü"/>
              <a:tabLst/>
              <a:defRPr/>
            </a:pP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285750" marR="0" lvl="0" indent="-285750" algn="l" defTabSz="1152144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ограммы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тимулирования кредитования субъектов МСП, реализуемой Корпораций МСП совместно с Банком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оссии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l" defTabSz="1152144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285750" marR="0" lvl="0" indent="-285750" algn="l" defTabSz="1152144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ограммы льготного кредитования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Минсельхоза России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88" name="Прямоугольник 87"/>
          <p:cNvSpPr/>
          <p:nvPr/>
        </p:nvSpPr>
        <p:spPr>
          <a:xfrm>
            <a:off x="881275" y="3639612"/>
            <a:ext cx="11467888" cy="430312"/>
          </a:xfrm>
          <a:prstGeom prst="rect">
            <a:avLst/>
          </a:prstGeom>
        </p:spPr>
        <p:txBody>
          <a:bodyPr wrap="square" lIns="121351" tIns="60675" rIns="121351" bIns="60675">
            <a:spAutoFit/>
          </a:bodyPr>
          <a:lstStyle/>
          <a:p>
            <a:pPr marL="0" marR="0" lvl="0" indent="0" algn="l" defTabSz="121350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тратегическими направлениями деятельности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МСП Банка 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 финансовой поддержке МСП являются: </a:t>
            </a:r>
          </a:p>
        </p:txBody>
      </p:sp>
      <p:graphicFrame>
        <p:nvGraphicFramePr>
          <p:cNvPr id="89" name="Таблица 88"/>
          <p:cNvGraphicFramePr>
            <a:graphicFrameLocks noGrp="1"/>
          </p:cNvGraphicFramePr>
          <p:nvPr>
            <p:extLst/>
          </p:nvPr>
        </p:nvGraphicFramePr>
        <p:xfrm>
          <a:off x="282575" y="984250"/>
          <a:ext cx="7381246" cy="271659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20495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7628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69745">
                <a:tc gridSpan="2">
                  <a:txBody>
                    <a:bodyPr/>
                    <a:lstStyle/>
                    <a:p>
                      <a:pPr marL="0" marR="0" lvl="0" indent="0" algn="l" defTabSz="11521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1" i="0" u="none" strike="noStrike" kern="1200" noProof="0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Кредиты, выданные субъектам МСП в приоритетных </a:t>
                      </a:r>
                    </a:p>
                    <a:p>
                      <a:pPr marL="0" marR="0" lvl="0" indent="0" algn="l" defTabSz="11521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1" i="0" u="none" strike="noStrike" kern="1200" noProof="0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и социально-значимых нишах, млрд руб.</a:t>
                      </a:r>
                    </a:p>
                  </a:txBody>
                  <a:tcPr marL="126000" marR="126000" marT="57605" marB="57605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61362">
                <a:tc>
                  <a:txBody>
                    <a:bodyPr/>
                    <a:lstStyle/>
                    <a:p>
                      <a:pPr algn="l"/>
                      <a:r>
                        <a:rPr lang="ru-RU" sz="16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 Общий объём выданных прямых кредитов субъектам  МСП *</a:t>
                      </a:r>
                      <a:endParaRPr lang="ru-RU" sz="16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108000" marR="108000" marT="108000" marB="10800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91,40</a:t>
                      </a:r>
                      <a:endParaRPr lang="ru-RU" sz="16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108000" marR="108000" marT="108000" marB="10800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93195">
                <a:tc>
                  <a:txBody>
                    <a:bodyPr/>
                    <a:lstStyle/>
                    <a:p>
                      <a:pPr marL="9525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i="0" u="none" strike="noStrike" kern="1200" noProof="0" dirty="0" smtClean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Общий объем кредитов предоставленных в приоритетных и социально-значимых нишах поддержки МСП **,</a:t>
                      </a:r>
                    </a:p>
                  </a:txBody>
                  <a:tcPr marL="108000" marR="108000" marT="108000" marB="108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350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kern="1200" dirty="0" smtClean="0">
                          <a:solidFill>
                            <a:schemeClr val="accent2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83,05</a:t>
                      </a:r>
                      <a:endParaRPr lang="ru-RU" sz="1600" b="1" kern="1200" dirty="0" smtClean="0">
                        <a:solidFill>
                          <a:schemeClr val="accent2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108000" marR="108000" marT="108000" marB="108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26738">
                <a:tc>
                  <a:txBody>
                    <a:bodyPr/>
                    <a:lstStyle/>
                    <a:p>
                      <a:pPr marL="9525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в том числе, кредиты субъектам МСП – участникам закупок </a:t>
                      </a:r>
                      <a:br>
                        <a:rPr lang="ru-RU" sz="16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</a:br>
                      <a:r>
                        <a:rPr lang="ru-RU" sz="16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в рамках Законом №223-ФЗ и №44-ФЗ</a:t>
                      </a:r>
                    </a:p>
                  </a:txBody>
                  <a:tcPr marL="108000" marR="108000" marT="108000" marB="108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b="0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</a:t>
                      </a:r>
                      <a:r>
                        <a:rPr lang="ru-RU" sz="16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5</a:t>
                      </a:r>
                      <a:r>
                        <a:rPr lang="en-US" sz="16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,66</a:t>
                      </a:r>
                    </a:p>
                  </a:txBody>
                  <a:tcPr marL="108000" marR="108000" marT="108000" marB="108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356333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TextBox 79"/>
          <p:cNvSpPr txBox="1"/>
          <p:nvPr/>
        </p:nvSpPr>
        <p:spPr>
          <a:xfrm>
            <a:off x="2505008" y="-38838"/>
            <a:ext cx="10311113" cy="91144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1344613" algn="l" defTabSz="11521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Деятельность МСП Банка по прямой финансовой поддержке МСП</a:t>
            </a:r>
          </a:p>
        </p:txBody>
      </p:sp>
      <p:pic>
        <p:nvPicPr>
          <p:cNvPr id="82" name="Рисунок 8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sp>
        <p:nvSpPr>
          <p:cNvPr id="83" name="Прямоугольник 82"/>
          <p:cNvSpPr/>
          <p:nvPr/>
        </p:nvSpPr>
        <p:spPr>
          <a:xfrm>
            <a:off x="11917775" y="8268937"/>
            <a:ext cx="591005" cy="3877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7</a:t>
            </a:r>
          </a:p>
          <a:p>
            <a:pPr marL="0" marR="0" lvl="0" indent="0" algn="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pSp>
        <p:nvGrpSpPr>
          <p:cNvPr id="19" name="Группа 18"/>
          <p:cNvGrpSpPr/>
          <p:nvPr/>
        </p:nvGrpSpPr>
        <p:grpSpPr>
          <a:xfrm>
            <a:off x="11191619" y="1891146"/>
            <a:ext cx="839852" cy="1495740"/>
            <a:chOff x="11753850" y="1571624"/>
            <a:chExt cx="839852" cy="1619591"/>
          </a:xfrm>
        </p:grpSpPr>
        <p:sp>
          <p:nvSpPr>
            <p:cNvPr id="20" name="Правая фигурная скобка 19"/>
            <p:cNvSpPr/>
            <p:nvPr/>
          </p:nvSpPr>
          <p:spPr>
            <a:xfrm>
              <a:off x="11753850" y="1571624"/>
              <a:ext cx="339995" cy="1619591"/>
            </a:xfrm>
            <a:prstGeom prst="rightBrace">
              <a:avLst>
                <a:gd name="adj1" fmla="val 58760"/>
                <a:gd name="adj2" fmla="val 50000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12070084" y="2252176"/>
              <a:ext cx="523618" cy="297879"/>
            </a:xfrm>
            <a:prstGeom prst="rect">
              <a:avLst/>
            </a:prstGeom>
            <a:noFill/>
          </p:spPr>
          <p:txBody>
            <a:bodyPr vert="horz" wrap="square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21</a:t>
              </a:r>
              <a:endPara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22" name="Группа 21"/>
          <p:cNvGrpSpPr/>
          <p:nvPr/>
        </p:nvGrpSpPr>
        <p:grpSpPr>
          <a:xfrm>
            <a:off x="4977314" y="2850347"/>
            <a:ext cx="1591835" cy="703149"/>
            <a:chOff x="1091900" y="4246636"/>
            <a:chExt cx="2229812" cy="630938"/>
          </a:xfrm>
        </p:grpSpPr>
        <p:sp>
          <p:nvSpPr>
            <p:cNvPr id="23" name="Прямоугольник 22"/>
            <p:cNvSpPr/>
            <p:nvPr/>
          </p:nvSpPr>
          <p:spPr>
            <a:xfrm>
              <a:off x="1097280" y="4324574"/>
              <a:ext cx="139849" cy="107577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24" name="Прямоугольник 23"/>
            <p:cNvSpPr/>
            <p:nvPr/>
          </p:nvSpPr>
          <p:spPr>
            <a:xfrm>
              <a:off x="1091900" y="4567954"/>
              <a:ext cx="139849" cy="107577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1231749" y="4246636"/>
              <a:ext cx="2089963" cy="2347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ф</a:t>
              </a:r>
              <a:r>
                <a:rPr kumimoji="0" lang="ru-RU" sz="11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актический объем выдач</a:t>
              </a:r>
              <a:endPara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1237129" y="4490937"/>
              <a:ext cx="1716609" cy="38663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планируемый объем </a:t>
              </a:r>
            </a:p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выдач до конца года</a:t>
              </a:r>
              <a:endPara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27" name="Группа 26"/>
          <p:cNvGrpSpPr/>
          <p:nvPr/>
        </p:nvGrpSpPr>
        <p:grpSpPr>
          <a:xfrm>
            <a:off x="497769" y="3792158"/>
            <a:ext cx="5076375" cy="530243"/>
            <a:chOff x="612069" y="4024950"/>
            <a:chExt cx="5076375" cy="530243"/>
          </a:xfrm>
        </p:grpSpPr>
        <p:sp>
          <p:nvSpPr>
            <p:cNvPr id="28" name="Прямоугольник 27"/>
            <p:cNvSpPr/>
            <p:nvPr/>
          </p:nvSpPr>
          <p:spPr>
            <a:xfrm>
              <a:off x="612069" y="4031973"/>
              <a:ext cx="3538135" cy="523220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</p:spPr>
          <p:txBody>
            <a:bodyPr wrap="square">
              <a:spAutoFit/>
            </a:bodyPr>
            <a:lstStyle/>
            <a:p>
              <a:pPr marL="0" marR="0" lvl="0" indent="0" algn="l" defTabSz="11521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Общий объём выданных </a:t>
              </a:r>
              <a:r>
                <a:rPr kumimoji="0" lang="ru-RU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прямых </a:t>
              </a:r>
              <a:r>
                <a:rPr kumimoji="0" lang="ru-RU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кредитов субъектам  МСП </a:t>
              </a:r>
              <a:r>
                <a:rPr kumimoji="0" lang="ru-RU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 за период 2016-201</a:t>
              </a:r>
              <a:r>
                <a:rPr kumimoji="0" lang="en-US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9</a:t>
              </a:r>
              <a:r>
                <a:rPr kumimoji="0" lang="ru-RU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 гг.</a:t>
              </a:r>
              <a:endPara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29" name="Прямоугольник 28"/>
            <p:cNvSpPr/>
            <p:nvPr/>
          </p:nvSpPr>
          <p:spPr>
            <a:xfrm>
              <a:off x="4160462" y="4024950"/>
              <a:ext cx="1527982" cy="5232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11521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ED7D31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91</a:t>
              </a:r>
              <a:r>
                <a:rPr kumimoji="0" lang="ru-RU" sz="28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ED7D31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,</a:t>
              </a:r>
              <a:r>
                <a:rPr kumimoji="0" lang="en-US" sz="28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ED7D31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4</a:t>
              </a:r>
              <a:r>
                <a:rPr kumimoji="0" lang="ru-RU" sz="28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ED7D31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 </a:t>
              </a:r>
              <a:r>
                <a: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ED7D31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млрд </a:t>
              </a:r>
              <a:r>
                <a:rPr kumimoji="0" lang="ru-RU" sz="14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ED7D31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руб</a:t>
              </a:r>
              <a:endPara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30" name="Группа 29"/>
          <p:cNvGrpSpPr/>
          <p:nvPr/>
        </p:nvGrpSpPr>
        <p:grpSpPr>
          <a:xfrm>
            <a:off x="7044265" y="3787136"/>
            <a:ext cx="5377923" cy="539593"/>
            <a:chOff x="7182836" y="3991065"/>
            <a:chExt cx="5144614" cy="539593"/>
          </a:xfrm>
        </p:grpSpPr>
        <p:sp>
          <p:nvSpPr>
            <p:cNvPr id="31" name="Прямоугольник 30"/>
            <p:cNvSpPr/>
            <p:nvPr/>
          </p:nvSpPr>
          <p:spPr>
            <a:xfrm>
              <a:off x="7182836" y="4007438"/>
              <a:ext cx="3648764" cy="523220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</p:spPr>
          <p:txBody>
            <a:bodyPr wrap="square">
              <a:spAutoFit/>
            </a:bodyPr>
            <a:lstStyle/>
            <a:p>
              <a:pPr marL="0" marR="0" lvl="0" indent="0" algn="l" defTabSz="11521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Общий объём выданных </a:t>
              </a:r>
              <a:r>
                <a:rPr kumimoji="0" lang="ru-RU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гарантий в рамках НГС (включая 223-ФЗ и 44-ФЗ) за период 2016 по 201</a:t>
              </a:r>
              <a:r>
                <a:rPr kumimoji="0" lang="en-US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9 </a:t>
              </a:r>
              <a:r>
                <a:rPr kumimoji="0" lang="ru-RU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гг. </a:t>
              </a:r>
              <a:endPara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32" name="Прямоугольник 31"/>
            <p:cNvSpPr/>
            <p:nvPr/>
          </p:nvSpPr>
          <p:spPr>
            <a:xfrm>
              <a:off x="10868770" y="3991065"/>
              <a:ext cx="1458680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11521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ED7D31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51,7</a:t>
              </a:r>
              <a:r>
                <a:rPr kumimoji="0" lang="ru-RU" sz="28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ED7D31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 </a:t>
              </a:r>
              <a:r>
                <a: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ED7D31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млрд </a:t>
              </a:r>
              <a:r>
                <a:rPr kumimoji="0" lang="ru-RU" sz="14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ED7D31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руб</a:t>
              </a:r>
              <a:endPara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33" name="Группа 32"/>
          <p:cNvGrpSpPr/>
          <p:nvPr/>
        </p:nvGrpSpPr>
        <p:grpSpPr>
          <a:xfrm>
            <a:off x="721680" y="6354353"/>
            <a:ext cx="4578687" cy="613633"/>
            <a:chOff x="1091900" y="4246636"/>
            <a:chExt cx="4143298" cy="613633"/>
          </a:xfrm>
        </p:grpSpPr>
        <p:sp>
          <p:nvSpPr>
            <p:cNvPr id="34" name="Прямоугольник 33"/>
            <p:cNvSpPr/>
            <p:nvPr/>
          </p:nvSpPr>
          <p:spPr>
            <a:xfrm>
              <a:off x="1097281" y="4324574"/>
              <a:ext cx="134470" cy="12473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35" name="Прямоугольник 34"/>
            <p:cNvSpPr/>
            <p:nvPr/>
          </p:nvSpPr>
          <p:spPr>
            <a:xfrm>
              <a:off x="1091900" y="4567954"/>
              <a:ext cx="139849" cy="107577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36" name="TextBox 35"/>
            <p:cNvSpPr txBox="1"/>
            <p:nvPr/>
          </p:nvSpPr>
          <p:spPr>
            <a:xfrm>
              <a:off x="1231749" y="4246636"/>
              <a:ext cx="3607865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9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средняя ставка МСП Банка по выданным инвестиционным и льготным кредитам МСП</a:t>
              </a:r>
              <a:endPara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37" name="TextBox 36"/>
            <p:cNvSpPr txBox="1"/>
            <p:nvPr/>
          </p:nvSpPr>
          <p:spPr>
            <a:xfrm>
              <a:off x="1237129" y="4490937"/>
              <a:ext cx="3998069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с</a:t>
              </a:r>
              <a:r>
                <a:rPr kumimoji="0" lang="ru-RU" sz="9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редние процентные ставки по кредитам, предоставленным </a:t>
              </a:r>
              <a:r>
                <a:rPr kumimoji="0" lang="ru-RU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кредитными </a:t>
              </a:r>
            </a:p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  организациями субъектам МСП в целом по </a:t>
              </a:r>
              <a:r>
                <a:rPr kumimoji="0" lang="ru-RU" sz="9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Российской </a:t>
              </a:r>
              <a:r>
                <a:rPr kumimoji="0" lang="ru-RU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Федерации (по данным Банка России</a:t>
              </a:r>
              <a:r>
                <a:rPr kumimoji="0" lang="ru-RU" sz="9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)</a:t>
              </a:r>
              <a:endPara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38" name="Группа 37"/>
          <p:cNvGrpSpPr/>
          <p:nvPr/>
        </p:nvGrpSpPr>
        <p:grpSpPr>
          <a:xfrm>
            <a:off x="499557" y="7453603"/>
            <a:ext cx="5087001" cy="537228"/>
            <a:chOff x="612069" y="4031973"/>
            <a:chExt cx="5087001" cy="537228"/>
          </a:xfrm>
        </p:grpSpPr>
        <p:sp>
          <p:nvSpPr>
            <p:cNvPr id="39" name="Прямоугольник 38"/>
            <p:cNvSpPr/>
            <p:nvPr/>
          </p:nvSpPr>
          <p:spPr>
            <a:xfrm>
              <a:off x="612069" y="4031973"/>
              <a:ext cx="4209029" cy="523220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</p:spPr>
          <p:txBody>
            <a:bodyPr wrap="square">
              <a:spAutoFit/>
            </a:bodyPr>
            <a:lstStyle/>
            <a:p>
              <a:pPr marL="0" marR="0" lvl="0" indent="0" algn="l" defTabSz="11521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Средневзвешенная ставка МСП Банка по инвестиционным и льготным кредитам в 201</a:t>
              </a:r>
              <a:r>
                <a:rPr kumimoji="0" lang="en-US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9</a:t>
              </a:r>
              <a:r>
                <a:rPr kumimoji="0" lang="ru-RU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 году</a:t>
              </a:r>
              <a:endPara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40" name="Прямоугольник 39"/>
            <p:cNvSpPr/>
            <p:nvPr/>
          </p:nvSpPr>
          <p:spPr>
            <a:xfrm>
              <a:off x="4844349" y="4045981"/>
              <a:ext cx="854721" cy="5232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11521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ED7D31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9,9</a:t>
              </a:r>
              <a:r>
                <a:rPr kumimoji="0" lang="ru-RU" sz="28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ED7D31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%</a:t>
              </a:r>
              <a:endPara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</p:grpSp>
      <p:graphicFrame>
        <p:nvGraphicFramePr>
          <p:cNvPr id="41" name="Диаграмма 40"/>
          <p:cNvGraphicFramePr>
            <a:graphicFrameLocks/>
          </p:cNvGraphicFramePr>
          <p:nvPr>
            <p:extLst/>
          </p:nvPr>
        </p:nvGraphicFramePr>
        <p:xfrm>
          <a:off x="6999285" y="4840154"/>
          <a:ext cx="5158816" cy="25730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cxnSp>
        <p:nvCxnSpPr>
          <p:cNvPr id="42" name="Прямая соединительная линия 41"/>
          <p:cNvCxnSpPr/>
          <p:nvPr/>
        </p:nvCxnSpPr>
        <p:spPr>
          <a:xfrm>
            <a:off x="295275" y="4512083"/>
            <a:ext cx="1201931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" name="Группа 42"/>
          <p:cNvGrpSpPr/>
          <p:nvPr/>
        </p:nvGrpSpPr>
        <p:grpSpPr>
          <a:xfrm>
            <a:off x="5447983" y="6024155"/>
            <a:ext cx="1380160" cy="566243"/>
            <a:chOff x="1091900" y="4246636"/>
            <a:chExt cx="4344167" cy="454100"/>
          </a:xfrm>
        </p:grpSpPr>
        <p:sp>
          <p:nvSpPr>
            <p:cNvPr id="44" name="Прямоугольник 43"/>
            <p:cNvSpPr/>
            <p:nvPr/>
          </p:nvSpPr>
          <p:spPr>
            <a:xfrm>
              <a:off x="1097281" y="4324574"/>
              <a:ext cx="373954" cy="98521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45" name="Прямоугольник 44"/>
            <p:cNvSpPr/>
            <p:nvPr/>
          </p:nvSpPr>
          <p:spPr>
            <a:xfrm>
              <a:off x="1091900" y="4567954"/>
              <a:ext cx="379335" cy="9026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46" name="TextBox 45"/>
            <p:cNvSpPr txBox="1"/>
            <p:nvPr/>
          </p:nvSpPr>
          <p:spPr>
            <a:xfrm>
              <a:off x="1231750" y="4246636"/>
              <a:ext cx="4042522" cy="2097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 фактический объем</a:t>
              </a:r>
              <a:endPara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47" name="TextBox 46"/>
            <p:cNvSpPr txBox="1"/>
            <p:nvPr/>
          </p:nvSpPr>
          <p:spPr>
            <a:xfrm>
              <a:off x="1237129" y="4490937"/>
              <a:ext cx="4198938" cy="2097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 планируемый объем</a:t>
              </a:r>
              <a:endPara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51" name="Прямоугольник 50"/>
          <p:cNvSpPr/>
          <p:nvPr/>
        </p:nvSpPr>
        <p:spPr>
          <a:xfrm>
            <a:off x="7045595" y="7467611"/>
            <a:ext cx="3532400" cy="52322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marL="0" marR="0" lvl="0" indent="0" algn="l" defTabSz="11521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бщий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бъем кредитно-гарантийной поддержки субъектов 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МСП за период 2016-2018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гг.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52" name="Прямоугольник 51"/>
          <p:cNvSpPr/>
          <p:nvPr/>
        </p:nvSpPr>
        <p:spPr>
          <a:xfrm>
            <a:off x="10742267" y="7557064"/>
            <a:ext cx="168316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11521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385,2</a:t>
            </a:r>
            <a:r>
              <a:rPr kumimoji="0" lang="ru-RU" sz="2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млрд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уб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aphicFrame>
        <p:nvGraphicFramePr>
          <p:cNvPr id="48" name="Диаграмма 47"/>
          <p:cNvGraphicFramePr>
            <a:graphicFrameLocks/>
          </p:cNvGraphicFramePr>
          <p:nvPr>
            <p:extLst/>
          </p:nvPr>
        </p:nvGraphicFramePr>
        <p:xfrm>
          <a:off x="318071" y="971833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3" name="Диаграмма 52"/>
          <p:cNvGraphicFramePr>
            <a:graphicFrameLocks/>
          </p:cNvGraphicFramePr>
          <p:nvPr>
            <p:extLst/>
          </p:nvPr>
        </p:nvGraphicFramePr>
        <p:xfrm>
          <a:off x="6959614" y="1043936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54" name="Диаграмма 53"/>
          <p:cNvGraphicFramePr>
            <a:graphicFrameLocks/>
          </p:cNvGraphicFramePr>
          <p:nvPr>
            <p:extLst/>
          </p:nvPr>
        </p:nvGraphicFramePr>
        <p:xfrm>
          <a:off x="71918" y="4689407"/>
          <a:ext cx="5165499" cy="26694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9251626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8" name="Диаграмма 47"/>
          <p:cNvGraphicFramePr>
            <a:graphicFrameLocks/>
          </p:cNvGraphicFramePr>
          <p:nvPr>
            <p:extLst/>
          </p:nvPr>
        </p:nvGraphicFramePr>
        <p:xfrm>
          <a:off x="4937327" y="5421681"/>
          <a:ext cx="2771776" cy="26812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63" name="Рисунок 6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282575" y="1020403"/>
            <a:ext cx="12038965" cy="1801455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1" i="0" u="none" strike="noStrike" kern="1200" baseline="0">
                <a:solidFill>
                  <a:prstClr val="white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defRPr>
            </a:pPr>
            <a:endParaRPr kumimoji="0" lang="ru-RU" sz="9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3782207" y="122674"/>
            <a:ext cx="6803857" cy="636169"/>
          </a:xfrm>
          <a:prstGeom prst="rect">
            <a:avLst/>
          </a:prstGeom>
          <a:noFill/>
        </p:spPr>
        <p:txBody>
          <a:bodyPr wrap="none" lIns="72000" tIns="36000" rIns="0" bIns="3600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Закупки у субъектов МСП 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270532" y="4010280"/>
            <a:ext cx="12074430" cy="0"/>
          </a:xfrm>
          <a:prstGeom prst="line">
            <a:avLst/>
          </a:prstGeom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281552" y="7968060"/>
            <a:ext cx="5630239" cy="400110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1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* -  Источник</a:t>
            </a:r>
            <a:r>
              <a:rPr kumimoji="0" lang="ru-RU" sz="1000" b="0" i="1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: результаты оценки и мониторинга соответствия, данные реестра договоров, заключенных по результатам закупок, </a:t>
            </a:r>
            <a:r>
              <a:rPr kumimoji="0" lang="ru-RU" sz="1000" b="0" i="1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ведения, размещенные </a:t>
            </a:r>
            <a:r>
              <a:rPr kumimoji="0" lang="ru-RU" sz="1000" b="0" i="1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 </a:t>
            </a:r>
            <a:r>
              <a:rPr kumimoji="0" lang="ru-RU" sz="1000" b="0" i="1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ЕИС</a:t>
            </a:r>
            <a:endParaRPr kumimoji="0" lang="ru-RU" sz="1000" b="0" i="1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93770" y="2671335"/>
            <a:ext cx="2858226" cy="4883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ТЕКУЩЕЕ СОСТОЯНИЕ 2019 ГОДА: 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Times New Roman" panose="02020603050405020304" pitchFamily="18" charset="0"/>
            </a:endParaRPr>
          </a:p>
        </p:txBody>
      </p:sp>
      <p:grpSp>
        <p:nvGrpSpPr>
          <p:cNvPr id="26" name="Группа 25"/>
          <p:cNvGrpSpPr/>
          <p:nvPr/>
        </p:nvGrpSpPr>
        <p:grpSpPr>
          <a:xfrm>
            <a:off x="4640806" y="3242902"/>
            <a:ext cx="3455309" cy="965305"/>
            <a:chOff x="4500298" y="3530317"/>
            <a:chExt cx="3455309" cy="1138065"/>
          </a:xfrm>
        </p:grpSpPr>
        <p:sp>
          <p:nvSpPr>
            <p:cNvPr id="22" name="Скругленный прямоугольник 21"/>
            <p:cNvSpPr/>
            <p:nvPr/>
          </p:nvSpPr>
          <p:spPr>
            <a:xfrm>
              <a:off x="4500298" y="3530317"/>
              <a:ext cx="3455309" cy="1138065"/>
            </a:xfrm>
            <a:prstGeom prst="roundRect">
              <a:avLst>
                <a:gd name="adj" fmla="val 0"/>
              </a:avLst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dk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3" name="Скругленный прямоугольник 6"/>
            <p:cNvSpPr/>
            <p:nvPr/>
          </p:nvSpPr>
          <p:spPr>
            <a:xfrm>
              <a:off x="4992310" y="3952842"/>
              <a:ext cx="2601746" cy="538605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0" tIns="76200" rIns="76200" bIns="76200" numCol="1" spcCol="1270" anchor="t" anchorCtr="0">
              <a:noAutofit/>
            </a:bodyPr>
            <a:lstStyle/>
            <a:p>
              <a:pPr marL="0" marR="0" lvl="0" indent="0" algn="ctr" defTabSz="8890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что в </a:t>
              </a:r>
              <a:r>
                <a:rPr kumimoji="0" lang="ru-RU" sz="14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2,9</a:t>
              </a:r>
              <a:r>
                <a:rPr kumimoji="0" lang="ru-RU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 раза превышает установленную квоту </a:t>
              </a:r>
              <a:r>
                <a:rPr kumimoji="0" lang="ru-RU" sz="14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(15%)</a:t>
              </a:r>
              <a:endPara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42" name="Прямоугольник 41"/>
            <p:cNvSpPr/>
            <p:nvPr/>
          </p:nvSpPr>
          <p:spPr>
            <a:xfrm>
              <a:off x="5427387" y="3626451"/>
              <a:ext cx="1667454" cy="46267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889000" rtl="0" eaLnBrk="1" fontAlgn="auto" latinLnBrk="0" hangingPunct="1">
                <a:lnSpc>
                  <a:spcPct val="8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4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A2C9F4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44,4%</a:t>
              </a:r>
              <a:endPara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A2C9F4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30" name="Группа 29"/>
          <p:cNvGrpSpPr/>
          <p:nvPr/>
        </p:nvGrpSpPr>
        <p:grpSpPr>
          <a:xfrm>
            <a:off x="9023096" y="3256372"/>
            <a:ext cx="3288744" cy="954233"/>
            <a:chOff x="8618806" y="3700635"/>
            <a:chExt cx="3288744" cy="1049750"/>
          </a:xfrm>
        </p:grpSpPr>
        <p:sp>
          <p:nvSpPr>
            <p:cNvPr id="20" name="Скругленный прямоугольник 19"/>
            <p:cNvSpPr/>
            <p:nvPr/>
          </p:nvSpPr>
          <p:spPr>
            <a:xfrm>
              <a:off x="8618806" y="3700635"/>
              <a:ext cx="3288744" cy="1049750"/>
            </a:xfrm>
            <a:prstGeom prst="roundRect">
              <a:avLst>
                <a:gd name="adj" fmla="val 0"/>
              </a:avLst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dk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3" name="Прямоугольник 42"/>
            <p:cNvSpPr/>
            <p:nvPr/>
          </p:nvSpPr>
          <p:spPr>
            <a:xfrm>
              <a:off x="9462530" y="4047855"/>
              <a:ext cx="1824975" cy="42661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889000" rtl="0" eaLnBrk="1" fontAlgn="auto" latinLnBrk="0" hangingPunct="1">
                <a:lnSpc>
                  <a:spcPct val="8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4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A2C9F4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367 655 </a:t>
              </a:r>
              <a:r>
                <a:rPr kumimoji="0" lang="ru-RU" sz="14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A2C9F4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позиций</a:t>
              </a:r>
              <a:endPara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A2C9F4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</p:grpSp>
      <p:cxnSp>
        <p:nvCxnSpPr>
          <p:cNvPr id="52" name="Прямая соединительная линия 51"/>
          <p:cNvCxnSpPr/>
          <p:nvPr/>
        </p:nvCxnSpPr>
        <p:spPr>
          <a:xfrm>
            <a:off x="285925" y="3024013"/>
            <a:ext cx="1203642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Прямоугольник 4"/>
          <p:cNvSpPr/>
          <p:nvPr/>
        </p:nvSpPr>
        <p:spPr>
          <a:xfrm>
            <a:off x="4464149" y="2971586"/>
            <a:ext cx="362066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8890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редняя доля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ланируемых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ямых закупок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9188688" y="2987560"/>
            <a:ext cx="295667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8890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оменклатура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закупок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у субъектов МСП 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21862" y="2979096"/>
            <a:ext cx="343523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8890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</a:t>
            </a:r>
            <a:r>
              <a:rPr kumimoji="0" lang="ru-RU" sz="14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бщий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объем договоров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pic>
        <p:nvPicPr>
          <p:cNvPr id="55" name="Рисунок 54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10779279" y="50340"/>
            <a:ext cx="1525280" cy="790590"/>
          </a:xfrm>
          <a:prstGeom prst="rect">
            <a:avLst/>
          </a:prstGeom>
        </p:spPr>
      </p:pic>
      <p:grpSp>
        <p:nvGrpSpPr>
          <p:cNvPr id="29" name="Группа 28"/>
          <p:cNvGrpSpPr/>
          <p:nvPr/>
        </p:nvGrpSpPr>
        <p:grpSpPr>
          <a:xfrm>
            <a:off x="281245" y="3246004"/>
            <a:ext cx="3406208" cy="1027276"/>
            <a:chOff x="266525" y="3293201"/>
            <a:chExt cx="3406208" cy="1158832"/>
          </a:xfrm>
        </p:grpSpPr>
        <p:sp>
          <p:nvSpPr>
            <p:cNvPr id="18" name="Скругленный прямоугольник 17"/>
            <p:cNvSpPr/>
            <p:nvPr/>
          </p:nvSpPr>
          <p:spPr>
            <a:xfrm>
              <a:off x="266525" y="3293201"/>
              <a:ext cx="3406208" cy="1083390"/>
            </a:xfrm>
            <a:prstGeom prst="roundRect">
              <a:avLst>
                <a:gd name="adj" fmla="val 0"/>
              </a:avLst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dk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8" name="Прямоугольник 37"/>
            <p:cNvSpPr/>
            <p:nvPr/>
          </p:nvSpPr>
          <p:spPr>
            <a:xfrm>
              <a:off x="562220" y="3315800"/>
              <a:ext cx="2943080" cy="49301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889000" rtl="0" eaLnBrk="1" fontAlgn="auto" latinLnBrk="0" hangingPunct="1">
                <a:lnSpc>
                  <a:spcPct val="8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4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A2C9F4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961 </a:t>
              </a:r>
              <a:r>
                <a:rPr kumimoji="0" lang="ru-RU" sz="14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A2C9F4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млрд рублей</a:t>
              </a:r>
              <a:r>
                <a:rPr kumimoji="0" lang="ru-RU" sz="28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A2C9F4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*</a:t>
              </a:r>
              <a:endPara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A2C9F4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39" name="Прямоугольник 38"/>
            <p:cNvSpPr/>
            <p:nvPr/>
          </p:nvSpPr>
          <p:spPr>
            <a:xfrm>
              <a:off x="431110" y="3688210"/>
              <a:ext cx="3107518" cy="76382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8890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целевой показатель к концу </a:t>
              </a:r>
              <a:r>
                <a:rPr kumimoji="0" lang="ru-RU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2019 </a:t>
              </a:r>
              <a:r>
                <a:rPr kumimoji="0" lang="ru-RU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года </a:t>
              </a:r>
              <a:r>
                <a:rPr kumimoji="0" lang="ru-RU" sz="1400" b="1" i="1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- </a:t>
              </a:r>
            </a:p>
            <a:p>
              <a:pPr marL="0" marR="0" lvl="0" indent="0" algn="ctr" defTabSz="8890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4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A2C9F4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3,2 </a:t>
              </a:r>
              <a:r>
                <a: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A2C9F4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трлн рублей</a:t>
              </a:r>
            </a:p>
          </p:txBody>
        </p:sp>
      </p:grpSp>
      <p:sp>
        <p:nvSpPr>
          <p:cNvPr id="44" name="Прямоугольник 43"/>
          <p:cNvSpPr/>
          <p:nvPr/>
        </p:nvSpPr>
        <p:spPr>
          <a:xfrm>
            <a:off x="1761923" y="1250098"/>
            <a:ext cx="4964341" cy="1661206"/>
          </a:xfrm>
          <a:prstGeom prst="rect">
            <a:avLst/>
          </a:prstGeom>
          <a:noFill/>
        </p:spPr>
        <p:txBody>
          <a:bodyPr wrap="square" lIns="108000" tIns="72000" rIns="108000" bIns="72000" anchor="ctr" anchorCtr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0,064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трлн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ублей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,511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трлн рублей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,098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трлн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ублей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3,264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трлн рублей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6912244" y="1265104"/>
            <a:ext cx="5355685" cy="1661206"/>
          </a:xfrm>
          <a:prstGeom prst="rect">
            <a:avLst/>
          </a:prstGeom>
          <a:noFill/>
        </p:spPr>
        <p:txBody>
          <a:bodyPr wrap="square" lIns="108000" tIns="72000" rIns="108000" bIns="72000" anchor="ctr" anchorCtr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8,4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тыс. позиций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00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тыс. позиций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61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тыс. позиций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362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тыс. позиций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57" name="Pentagon 37"/>
          <p:cNvSpPr/>
          <p:nvPr/>
        </p:nvSpPr>
        <p:spPr>
          <a:xfrm>
            <a:off x="337834" y="1357216"/>
            <a:ext cx="1566898" cy="317439"/>
          </a:xfrm>
          <a:prstGeom prst="homePlate">
            <a:avLst>
              <a:gd name="adj" fmla="val 22714"/>
            </a:avLst>
          </a:prstGeom>
          <a:solidFill>
            <a:schemeClr val="accent1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lIns="180000" tIns="35100" rIns="67500" bIns="3510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5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год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58" name="Pentagon 37"/>
          <p:cNvSpPr/>
          <p:nvPr/>
        </p:nvSpPr>
        <p:spPr>
          <a:xfrm>
            <a:off x="337834" y="1718005"/>
            <a:ext cx="1566898" cy="317439"/>
          </a:xfrm>
          <a:prstGeom prst="homePlate">
            <a:avLst>
              <a:gd name="adj" fmla="val 22714"/>
            </a:avLst>
          </a:prstGeom>
          <a:solidFill>
            <a:schemeClr val="accent1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lIns="180000" tIns="35100" rIns="67500" bIns="3510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6 год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59" name="Pentagon 37"/>
          <p:cNvSpPr/>
          <p:nvPr/>
        </p:nvSpPr>
        <p:spPr>
          <a:xfrm>
            <a:off x="327659" y="2082282"/>
            <a:ext cx="1566898" cy="317439"/>
          </a:xfrm>
          <a:prstGeom prst="homePlate">
            <a:avLst>
              <a:gd name="adj" fmla="val 22714"/>
            </a:avLst>
          </a:prstGeom>
          <a:solidFill>
            <a:schemeClr val="accent1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lIns="180000" tIns="35100" rIns="67500" bIns="3510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7 год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60" name="Прямоугольник 59"/>
          <p:cNvSpPr/>
          <p:nvPr/>
        </p:nvSpPr>
        <p:spPr>
          <a:xfrm>
            <a:off x="194107" y="4571275"/>
            <a:ext cx="11985354" cy="2383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8890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ВОВЛЕЧЕНИЕ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МСП В ВЫСОКОТЕХНОЛОГИЧНЫЙ,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ИННОВАЦИОННЫЙ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СЕКТОР В 2019 ГОДУ: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Times New Roman" panose="02020603050405020304" pitchFamily="18" charset="0"/>
            </a:endParaRPr>
          </a:p>
        </p:txBody>
      </p:sp>
      <p:cxnSp>
        <p:nvCxnSpPr>
          <p:cNvPr id="61" name="Прямая соединительная линия 60"/>
          <p:cNvCxnSpPr/>
          <p:nvPr/>
        </p:nvCxnSpPr>
        <p:spPr>
          <a:xfrm>
            <a:off x="292974" y="4830787"/>
            <a:ext cx="1196989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Прямоугольник 67"/>
          <p:cNvSpPr/>
          <p:nvPr/>
        </p:nvSpPr>
        <p:spPr>
          <a:xfrm>
            <a:off x="7910349" y="4858840"/>
            <a:ext cx="4628564" cy="2647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890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Р</a:t>
            </a: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аспределение номенклатуры продукции </a:t>
            </a:r>
          </a:p>
          <a:p>
            <a:pPr marL="0" marR="0" lvl="0" indent="0" algn="ctr" defTabSz="8890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высокотехнологичного сектора в 2019 году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-207256" y="4770076"/>
            <a:ext cx="535900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4572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Д</a:t>
            </a: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инамика увеличения доли производственной, </a:t>
            </a:r>
          </a:p>
          <a:p>
            <a:pPr marL="0" marR="0" lvl="0" indent="0" algn="ctr" defTabSz="4572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высокотехнологичной номенклатуры в 2016-2019 гг.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Times New Roman" panose="02020603050405020304" pitchFamily="18" charset="0"/>
            </a:endParaRPr>
          </a:p>
        </p:txBody>
      </p:sp>
      <p:graphicFrame>
        <p:nvGraphicFramePr>
          <p:cNvPr id="15" name="Таблица 14"/>
          <p:cNvGraphicFramePr>
            <a:graphicFrameLocks noGrp="1"/>
          </p:cNvGraphicFramePr>
          <p:nvPr>
            <p:extLst/>
          </p:nvPr>
        </p:nvGraphicFramePr>
        <p:xfrm>
          <a:off x="292972" y="5220931"/>
          <a:ext cx="5114770" cy="279103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47338">
                  <a:extLst>
                    <a:ext uri="{9D8B030D-6E8A-4147-A177-3AD203B41FA5}">
                      <a16:colId xmlns:a16="http://schemas.microsoft.com/office/drawing/2014/main" val="2904095997"/>
                    </a:ext>
                  </a:extLst>
                </a:gridCol>
                <a:gridCol w="589936">
                  <a:extLst>
                    <a:ext uri="{9D8B030D-6E8A-4147-A177-3AD203B41FA5}">
                      <a16:colId xmlns:a16="http://schemas.microsoft.com/office/drawing/2014/main" val="2137958042"/>
                    </a:ext>
                  </a:extLst>
                </a:gridCol>
                <a:gridCol w="403123">
                  <a:extLst>
                    <a:ext uri="{9D8B030D-6E8A-4147-A177-3AD203B41FA5}">
                      <a16:colId xmlns:a16="http://schemas.microsoft.com/office/drawing/2014/main" val="897079354"/>
                    </a:ext>
                  </a:extLst>
                </a:gridCol>
                <a:gridCol w="530942">
                  <a:extLst>
                    <a:ext uri="{9D8B030D-6E8A-4147-A177-3AD203B41FA5}">
                      <a16:colId xmlns:a16="http://schemas.microsoft.com/office/drawing/2014/main" val="2376508779"/>
                    </a:ext>
                  </a:extLst>
                </a:gridCol>
                <a:gridCol w="442450">
                  <a:extLst>
                    <a:ext uri="{9D8B030D-6E8A-4147-A177-3AD203B41FA5}">
                      <a16:colId xmlns:a16="http://schemas.microsoft.com/office/drawing/2014/main" val="3906941988"/>
                    </a:ext>
                  </a:extLst>
                </a:gridCol>
                <a:gridCol w="471950">
                  <a:extLst>
                    <a:ext uri="{9D8B030D-6E8A-4147-A177-3AD203B41FA5}">
                      <a16:colId xmlns:a16="http://schemas.microsoft.com/office/drawing/2014/main" val="2380015105"/>
                    </a:ext>
                  </a:extLst>
                </a:gridCol>
                <a:gridCol w="39329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471948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363793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</a:tblGrid>
              <a:tr h="267804">
                <a:tc rowSpan="2"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  <a:endParaRPr lang="ru-RU" sz="11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bg2">
                        <a:lumMod val="5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ru-RU" sz="1100" b="1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16</a:t>
                      </a:r>
                      <a:endParaRPr lang="ru-RU" sz="11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ru-RU" sz="1100" b="1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17</a:t>
                      </a:r>
                      <a:endParaRPr lang="ru-RU" sz="11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ru-RU" sz="1100" b="1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18</a:t>
                      </a:r>
                      <a:endParaRPr lang="ru-RU" sz="11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115214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1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2019</a:t>
                      </a:r>
                    </a:p>
                  </a:txBody>
                  <a:tcPr marL="9525" marR="9525" marT="9525" marB="0" anchor="ctr">
                    <a:solidFill>
                      <a:schemeClr val="bg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7258891"/>
                  </a:ext>
                </a:extLst>
              </a:tr>
              <a:tr h="95606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бъем закупок, млрд руб.</a:t>
                      </a:r>
                      <a:endParaRPr lang="ru-RU" sz="11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Доля, %</a:t>
                      </a:r>
                      <a:endParaRPr lang="ru-RU" sz="11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бъем закупок, млрд руб.</a:t>
                      </a:r>
                      <a:endParaRPr lang="ru-RU" sz="11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Доля, %</a:t>
                      </a:r>
                      <a:endParaRPr lang="ru-RU" sz="11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бъем закупок, млрд руб.</a:t>
                      </a:r>
                      <a:endParaRPr lang="ru-RU" sz="11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Доля, %</a:t>
                      </a:r>
                      <a:endParaRPr lang="ru-RU" sz="11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5214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100" u="none" strike="noStrike" dirty="0" smtClean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  <a:p>
                      <a:pPr marL="0" marR="0" lvl="0" indent="0" algn="ctr" defTabSz="115214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бъем закупок, млрд руб.</a:t>
                      </a:r>
                      <a:endParaRPr lang="ru-RU" sz="1100" b="0" i="0" u="none" strike="noStrike" dirty="0" smtClean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  <a:p>
                      <a:pPr algn="ctr" fontAlgn="ctr"/>
                      <a:endParaRPr lang="ru-RU" sz="11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Доля, %</a:t>
                      </a:r>
                      <a:endParaRPr lang="ru-RU" sz="11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2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27509612"/>
                  </a:ext>
                </a:extLst>
              </a:tr>
              <a:tr h="463304">
                <a:tc>
                  <a:txBody>
                    <a:bodyPr/>
                    <a:lstStyle/>
                    <a:p>
                      <a:pPr marL="0" algn="l" defTabSz="1152144" rtl="0" eaLnBrk="1" fontAlgn="b" latinLnBrk="0" hangingPunct="1"/>
                      <a:r>
                        <a:rPr lang="ru-RU" sz="105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Производственный сектор</a:t>
                      </a:r>
                    </a:p>
                  </a:txBody>
                  <a:tcPr marL="72000" marR="9525" marT="9525" marB="0" anchor="ctr"/>
                </a:tc>
                <a:tc>
                  <a:txBody>
                    <a:bodyPr/>
                    <a:lstStyle/>
                    <a:p>
                      <a:pPr marL="0" algn="ctr" defTabSz="1152144" rtl="0" eaLnBrk="1" fontAlgn="b" latinLnBrk="0" hangingPunct="1"/>
                      <a:r>
                        <a:rPr lang="ru-RU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947</a:t>
                      </a:r>
                      <a:endParaRPr lang="ru-RU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152144" rtl="0" eaLnBrk="1" fontAlgn="b" latinLnBrk="0" hangingPunct="1"/>
                      <a:r>
                        <a:rPr lang="ru-RU" sz="1050" b="0" i="0" u="none" strike="noStrike" kern="1200" dirty="0" smtClean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62,7%</a:t>
                      </a:r>
                      <a:endParaRPr lang="ru-RU" sz="1050" b="0" i="0" u="none" strike="noStrike" kern="1200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152144" rtl="0" eaLnBrk="1" fontAlgn="b" latinLnBrk="0" hangingPunct="1"/>
                      <a:r>
                        <a:rPr lang="ru-RU" sz="10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 39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152144" rtl="0" eaLnBrk="1" fontAlgn="b" latinLnBrk="0" hangingPunct="1"/>
                      <a:r>
                        <a:rPr lang="ru-RU" sz="1050" b="0" i="0" u="none" strike="noStrike" kern="1200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66,64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152144" rtl="0" eaLnBrk="1" fontAlgn="b" latinLnBrk="0" hangingPunct="1"/>
                      <a:r>
                        <a:rPr lang="ru-RU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2 203</a:t>
                      </a:r>
                      <a:endParaRPr lang="ru-RU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152144" rtl="0" eaLnBrk="1" fontAlgn="b" latinLnBrk="0" hangingPunct="1"/>
                      <a:r>
                        <a:rPr lang="ru-RU" sz="1050" b="0" i="0" u="none" strike="noStrike" kern="1200" dirty="0" smtClean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67,5%</a:t>
                      </a:r>
                      <a:endParaRPr lang="ru-RU" sz="1050" b="0" i="0" u="none" strike="noStrike" kern="1200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152144" rtl="0" eaLnBrk="1" fontAlgn="b" latinLnBrk="0" hangingPunct="1"/>
                      <a:r>
                        <a:rPr lang="ru-RU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640</a:t>
                      </a:r>
                      <a:endParaRPr lang="ru-RU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152144" rtl="0" eaLnBrk="1" fontAlgn="b" latinLnBrk="0" hangingPunct="1"/>
                      <a:r>
                        <a:rPr lang="ru-RU" sz="1050" b="0" i="0" u="none" strike="noStrike" kern="1200" dirty="0" smtClean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66,6</a:t>
                      </a:r>
                      <a:r>
                        <a:rPr lang="en-US" sz="1050" b="0" i="0" u="none" strike="noStrike" kern="1200" dirty="0" smtClean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%</a:t>
                      </a:r>
                      <a:endParaRPr lang="ru-RU" sz="1050" b="0" i="0" u="none" strike="noStrike" kern="1200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4861644"/>
                  </a:ext>
                </a:extLst>
              </a:tr>
              <a:tr h="432625">
                <a:tc>
                  <a:txBody>
                    <a:bodyPr/>
                    <a:lstStyle/>
                    <a:p>
                      <a:pPr marL="0" algn="l" defTabSz="1152144" rtl="0" eaLnBrk="1" fontAlgn="b" latinLnBrk="0" hangingPunct="1"/>
                      <a:r>
                        <a:rPr lang="ru-RU" sz="105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Высокотехнологичный сектор</a:t>
                      </a:r>
                    </a:p>
                  </a:txBody>
                  <a:tcPr marL="72000" marR="9525" marT="9525" marB="0" anchor="ctr"/>
                </a:tc>
                <a:tc>
                  <a:txBody>
                    <a:bodyPr/>
                    <a:lstStyle/>
                    <a:p>
                      <a:pPr marL="0" algn="ctr" defTabSz="1152144" rtl="0" eaLnBrk="1" fontAlgn="b" latinLnBrk="0" hangingPunct="1"/>
                      <a:r>
                        <a:rPr lang="ru-RU" sz="10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 </a:t>
                      </a:r>
                      <a:r>
                        <a:rPr lang="ru-RU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14</a:t>
                      </a:r>
                      <a:endParaRPr lang="ru-RU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152144" rtl="0" eaLnBrk="1" fontAlgn="b" latinLnBrk="0" hangingPunct="1"/>
                      <a:r>
                        <a:rPr lang="ru-RU" sz="1050" b="0" i="0" u="none" strike="noStrike" kern="1200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 </a:t>
                      </a:r>
                      <a:r>
                        <a:rPr lang="ru-RU" sz="1050" b="0" i="0" u="none" strike="noStrike" kern="1200" dirty="0" smtClean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7,5%</a:t>
                      </a:r>
                      <a:endParaRPr lang="ru-RU" sz="1050" b="0" i="0" u="none" strike="noStrike" kern="1200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152144" rtl="0" eaLnBrk="1" fontAlgn="b" latinLnBrk="0" hangingPunct="1"/>
                      <a:r>
                        <a:rPr lang="ru-RU" sz="10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23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152144" rtl="0" eaLnBrk="1" fontAlgn="b" latinLnBrk="0" hangingPunct="1"/>
                      <a:r>
                        <a:rPr lang="ru-RU" sz="1050" b="0" i="0" u="none" strike="noStrike" kern="1200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0,98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152144" rtl="0" eaLnBrk="1" fontAlgn="b" latinLnBrk="0" hangingPunct="1"/>
                      <a:r>
                        <a:rPr lang="ru-RU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92</a:t>
                      </a:r>
                      <a:endParaRPr lang="ru-RU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152144" rtl="0" eaLnBrk="1" fontAlgn="b" latinLnBrk="0" hangingPunct="1"/>
                      <a:r>
                        <a:rPr lang="ru-RU" sz="1050" b="0" i="0" u="none" strike="noStrike" kern="1200" dirty="0" smtClean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2,0%</a:t>
                      </a:r>
                      <a:endParaRPr lang="ru-RU" sz="1050" b="0" i="0" u="none" strike="noStrike" kern="1200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152144" rtl="0" eaLnBrk="1" fontAlgn="b" latinLnBrk="0" hangingPunct="1"/>
                      <a:r>
                        <a:rPr lang="ru-RU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27</a:t>
                      </a:r>
                      <a:endParaRPr lang="ru-RU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152144" rtl="0" eaLnBrk="1" fontAlgn="b" latinLnBrk="0" hangingPunct="1"/>
                      <a:r>
                        <a:rPr lang="ru-RU" sz="1050" b="0" i="0" u="none" strike="noStrike" kern="1200" dirty="0" smtClean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3,2</a:t>
                      </a:r>
                      <a:r>
                        <a:rPr lang="en-US" sz="1050" b="0" i="0" u="none" strike="noStrike" kern="1200" dirty="0" smtClean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%</a:t>
                      </a:r>
                      <a:endParaRPr lang="ru-RU" sz="1050" b="0" i="0" u="none" strike="noStrike" kern="1200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9403591"/>
                  </a:ext>
                </a:extLst>
              </a:tr>
              <a:tr h="344132">
                <a:tc>
                  <a:txBody>
                    <a:bodyPr/>
                    <a:lstStyle/>
                    <a:p>
                      <a:pPr marL="0" algn="l" defTabSz="1152144" rtl="0" eaLnBrk="1" fontAlgn="b" latinLnBrk="0" hangingPunct="1"/>
                      <a:r>
                        <a:rPr lang="ru-RU" sz="105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Массовый сектор</a:t>
                      </a:r>
                    </a:p>
                  </a:txBody>
                  <a:tcPr marL="72000" marR="9525" marT="9525" marB="0" anchor="ctr"/>
                </a:tc>
                <a:tc>
                  <a:txBody>
                    <a:bodyPr/>
                    <a:lstStyle/>
                    <a:p>
                      <a:pPr marL="0" algn="ctr" defTabSz="1152144" rtl="0" eaLnBrk="1" fontAlgn="b" latinLnBrk="0" hangingPunct="1"/>
                      <a:r>
                        <a:rPr lang="ru-RU" sz="10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 </a:t>
                      </a:r>
                      <a:r>
                        <a:rPr lang="ru-RU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450</a:t>
                      </a:r>
                      <a:endParaRPr lang="ru-RU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152144" rtl="0" eaLnBrk="1" fontAlgn="b" latinLnBrk="0" hangingPunct="1"/>
                      <a:r>
                        <a:rPr lang="ru-RU" sz="10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 </a:t>
                      </a:r>
                      <a:r>
                        <a:rPr lang="ru-RU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29,8%</a:t>
                      </a:r>
                      <a:endParaRPr lang="ru-RU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152144" rtl="0" eaLnBrk="1" fontAlgn="b" latinLnBrk="0" hangingPunct="1"/>
                      <a:r>
                        <a:rPr lang="ru-RU" sz="10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46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152144" rtl="0" eaLnBrk="1" fontAlgn="b" latinLnBrk="0" hangingPunct="1"/>
                      <a:r>
                        <a:rPr lang="ru-RU" sz="10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22,37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152144" rtl="0" eaLnBrk="1" fontAlgn="b" latinLnBrk="0" hangingPunct="1"/>
                      <a:r>
                        <a:rPr lang="ru-RU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669</a:t>
                      </a:r>
                      <a:endParaRPr lang="ru-RU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152144" rtl="0" eaLnBrk="1" fontAlgn="b" latinLnBrk="0" hangingPunct="1"/>
                      <a:r>
                        <a:rPr lang="ru-RU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20,5%</a:t>
                      </a:r>
                      <a:endParaRPr lang="ru-RU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152144" rtl="0" eaLnBrk="1" fontAlgn="b" latinLnBrk="0" hangingPunct="1"/>
                      <a:r>
                        <a:rPr lang="ru-RU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94</a:t>
                      </a:r>
                      <a:endParaRPr lang="ru-RU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152144" rtl="0" eaLnBrk="1" fontAlgn="b" latinLnBrk="0" hangingPunct="1"/>
                      <a:r>
                        <a:rPr lang="ru-RU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20,2</a:t>
                      </a:r>
                      <a:r>
                        <a:rPr lang="en-US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%</a:t>
                      </a:r>
                      <a:endParaRPr lang="ru-RU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693047"/>
                  </a:ext>
                </a:extLst>
              </a:tr>
              <a:tr h="267804">
                <a:tc>
                  <a:txBody>
                    <a:bodyPr/>
                    <a:lstStyle/>
                    <a:p>
                      <a:pPr marL="0" algn="ctr" defTabSz="1152144" rtl="0" eaLnBrk="1" fontAlgn="b" latinLnBrk="0" hangingPunct="1"/>
                      <a:r>
                        <a:rPr lang="ru-RU" sz="10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152144" rtl="0" eaLnBrk="1" fontAlgn="b" latinLnBrk="0" hangingPunct="1"/>
                      <a:r>
                        <a:rPr lang="ru-RU" sz="1050" b="1" i="0" u="none" strike="noStrike" kern="1200" dirty="0" smtClean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 511</a:t>
                      </a:r>
                      <a:endParaRPr lang="ru-RU" sz="1050" b="1" i="0" u="none" strike="noStrike" kern="1200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152144" rtl="0" eaLnBrk="1" fontAlgn="b" latinLnBrk="0" hangingPunct="1"/>
                      <a:r>
                        <a:rPr lang="ru-RU" sz="105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0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152144" rtl="0" eaLnBrk="1" fontAlgn="b" latinLnBrk="0" hangingPunct="1"/>
                      <a:r>
                        <a:rPr lang="ru-RU" sz="1050" b="1" i="0" u="none" strike="noStrike" kern="1200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2 09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152144" rtl="0" eaLnBrk="1" fontAlgn="b" latinLnBrk="0" hangingPunct="1"/>
                      <a:r>
                        <a:rPr lang="ru-RU" sz="105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0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152144" rtl="0" eaLnBrk="1" fontAlgn="b" latinLnBrk="0" hangingPunct="1"/>
                      <a:r>
                        <a:rPr lang="ru-RU" sz="1050" b="1" i="0" u="none" strike="noStrike" kern="1200" dirty="0" smtClean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 264</a:t>
                      </a:r>
                      <a:endParaRPr lang="ru-RU" sz="1050" b="1" i="0" u="none" strike="noStrike" kern="1200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152144" rtl="0" eaLnBrk="1" fontAlgn="b" latinLnBrk="0" hangingPunct="1"/>
                      <a:r>
                        <a:rPr lang="ru-RU" sz="105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0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152144" rtl="0" eaLnBrk="1" fontAlgn="b" latinLnBrk="0" hangingPunct="1"/>
                      <a:r>
                        <a:rPr lang="ru-RU" sz="1050" b="1" i="0" u="none" strike="noStrike" kern="1200" dirty="0" smtClean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961</a:t>
                      </a:r>
                      <a:endParaRPr lang="ru-RU" sz="1050" b="1" i="0" u="none" strike="noStrike" kern="1200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152144" rtl="0" eaLnBrk="1" fontAlgn="b" latinLnBrk="0" hangingPunct="1"/>
                      <a:r>
                        <a:rPr lang="ru-RU" sz="105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0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90200133"/>
                  </a:ext>
                </a:extLst>
              </a:tr>
            </a:tbl>
          </a:graphicData>
        </a:graphic>
      </p:graphicFrame>
      <p:sp>
        <p:nvSpPr>
          <p:cNvPr id="50" name="Прямоугольник 49"/>
          <p:cNvSpPr/>
          <p:nvPr/>
        </p:nvSpPr>
        <p:spPr>
          <a:xfrm>
            <a:off x="5581550" y="4764765"/>
            <a:ext cx="192732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4572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Распределение номенклатуры закупаемой продукции в 2019 году 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Times New Roman" panose="02020603050405020304" pitchFamily="18" charset="0"/>
            </a:endParaRPr>
          </a:p>
        </p:txBody>
      </p:sp>
      <p:grpSp>
        <p:nvGrpSpPr>
          <p:cNvPr id="7" name="Группа 6"/>
          <p:cNvGrpSpPr/>
          <p:nvPr/>
        </p:nvGrpSpPr>
        <p:grpSpPr>
          <a:xfrm>
            <a:off x="282670" y="4087142"/>
            <a:ext cx="12023359" cy="646331"/>
            <a:chOff x="275743" y="4199125"/>
            <a:chExt cx="12023359" cy="646331"/>
          </a:xfrm>
        </p:grpSpPr>
        <p:sp>
          <p:nvSpPr>
            <p:cNvPr id="49" name="object 28"/>
            <p:cNvSpPr txBox="1"/>
            <p:nvPr/>
          </p:nvSpPr>
          <p:spPr>
            <a:xfrm>
              <a:off x="275743" y="4451763"/>
              <a:ext cx="12023359" cy="184666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 marR="508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ED7D31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СУММАРНЫЙ </a:t>
              </a:r>
              <a:r>
                <a:rPr kumimoji="0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ED7D31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ОБЪЕМ </a:t>
              </a:r>
              <a:r>
                <a:rPr kumimoji="0" lang="ru-RU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ED7D31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ЗАКУПОК КРУПНЕЙШИХ ЗАКАЗЧИКОВ У </a:t>
              </a:r>
              <a:r>
                <a:rPr kumimoji="0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ED7D31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СУБЪЕКТОВ МСП НАРАСТАЮЩИМ ИТОГОМ</a:t>
              </a:r>
              <a:r>
                <a:rPr kumimoji="0" lang="ru-RU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ED7D31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ЗА ПЕРИОД 2016-2019 гг.                           ТРЛН РУБ.</a:t>
              </a:r>
              <a:endParaRPr kumimoji="0" sz="12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" name="Прямоугольник 5"/>
            <p:cNvSpPr/>
            <p:nvPr/>
          </p:nvSpPr>
          <p:spPr>
            <a:xfrm>
              <a:off x="10469782" y="4199125"/>
              <a:ext cx="954107" cy="6463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36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ED7D31"/>
                  </a:solidFill>
                  <a:effectLst/>
                  <a:uLnTx/>
                  <a:uFillTx/>
                  <a:latin typeface="Arial Black" panose="020B0A04020102020204" pitchFamily="34" charset="0"/>
                  <a:ea typeface="+mn-ea"/>
                  <a:cs typeface="Arial"/>
                </a:rPr>
                <a:t>7,8</a:t>
              </a:r>
              <a:endParaRPr kumimoji="0" lang="ru-RU" sz="3600" b="0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64" name="Прямоугольник 63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3</a:t>
            </a:r>
          </a:p>
        </p:txBody>
      </p:sp>
      <p:graphicFrame>
        <p:nvGraphicFramePr>
          <p:cNvPr id="28" name="Таблица 27"/>
          <p:cNvGraphicFramePr>
            <a:graphicFrameLocks noGrp="1"/>
          </p:cNvGraphicFramePr>
          <p:nvPr>
            <p:extLst/>
          </p:nvPr>
        </p:nvGraphicFramePr>
        <p:xfrm>
          <a:off x="7800397" y="5211100"/>
          <a:ext cx="4529255" cy="303927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45081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4539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3304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59827"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НОМЕНКЛАТУРА</a:t>
                      </a:r>
                      <a:r>
                        <a:rPr lang="ru-RU" sz="1100" b="1" i="0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ТОВАРОВ, РАБОТ, УСЛУГ</a:t>
                      </a:r>
                      <a:endParaRPr lang="ru-RU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72000" marR="9525" marT="9525" marB="0" anchor="ctr"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Доля</a:t>
                      </a:r>
                      <a:r>
                        <a:rPr lang="ru-RU" sz="11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%</a:t>
                      </a:r>
                      <a:endParaRPr lang="ru-RU" sz="11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5214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бъем закупок, </a:t>
                      </a:r>
                    </a:p>
                    <a:p>
                      <a:pPr marL="0" marR="0" lvl="0" indent="0" algn="ctr" defTabSz="115214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лрд руб.</a:t>
                      </a:r>
                    </a:p>
                  </a:txBody>
                  <a:tcPr marL="9525" marR="9525" marT="9525" marB="0" anchor="ctr"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5259">
                <a:tc>
                  <a:txBody>
                    <a:bodyPr/>
                    <a:lstStyle/>
                    <a:p>
                      <a:pPr marL="0" algn="l" defTabSz="1152144" rtl="0" eaLnBrk="1" fontAlgn="b" latinLnBrk="0" hangingPunct="1"/>
                      <a:r>
                        <a:rPr lang="ru-RU" sz="10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Оборудование компьютерное, электронное и оптическое</a:t>
                      </a:r>
                    </a:p>
                  </a:txBody>
                  <a:tcPr marL="72000" marR="9525" marT="0" marB="0" anchor="ctr"/>
                </a:tc>
                <a:tc>
                  <a:txBody>
                    <a:bodyPr/>
                    <a:lstStyle/>
                    <a:p>
                      <a:pPr marL="0" algn="ctr" defTabSz="1152144" rtl="0" eaLnBrk="1" fontAlgn="b" latinLnBrk="0" hangingPunct="1"/>
                      <a:r>
                        <a:rPr lang="en-US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</a:t>
                      </a:r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,88</a:t>
                      </a:r>
                      <a:r>
                        <a:rPr lang="en-US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%</a:t>
                      </a:r>
                      <a:endParaRPr lang="ru-RU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,0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11952">
                <a:tc>
                  <a:txBody>
                    <a:bodyPr/>
                    <a:lstStyle/>
                    <a:p>
                      <a:pPr marL="0" algn="l" defTabSz="1152144" rtl="0" eaLnBrk="1" fontAlgn="b" latinLnBrk="0" hangingPunct="1"/>
                      <a:r>
                        <a:rPr lang="ru-RU" sz="10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Продукты программные и услуги по разработке программного обеспечения; консультационные и аналогичные услуги в области информационных технологий</a:t>
                      </a:r>
                    </a:p>
                  </a:txBody>
                  <a:tcPr marL="72000" marR="9525" marT="0" marB="0" anchor="ctr"/>
                </a:tc>
                <a:tc>
                  <a:txBody>
                    <a:bodyPr/>
                    <a:lstStyle/>
                    <a:p>
                      <a:pPr marL="0" algn="ctr" defTabSz="1152144" rtl="0" eaLnBrk="1" fontAlgn="b" latinLnBrk="0" hangingPunct="1"/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2,68</a:t>
                      </a:r>
                      <a:r>
                        <a:rPr lang="en-US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%</a:t>
                      </a:r>
                      <a:endParaRPr lang="ru-RU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8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85259">
                <a:tc>
                  <a:txBody>
                    <a:bodyPr/>
                    <a:lstStyle/>
                    <a:p>
                      <a:pPr marL="0" marR="0" lvl="0" indent="0" algn="l" defTabSz="115214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Услуги профессиональные, научные и технические, прочие</a:t>
                      </a:r>
                      <a:endParaRPr lang="ru-RU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72000" marR="9525" marT="0" marB="0" anchor="ctr"/>
                </a:tc>
                <a:tc>
                  <a:txBody>
                    <a:bodyPr/>
                    <a:lstStyle/>
                    <a:p>
                      <a:pPr marL="0" algn="ctr" defTabSz="1152144" rtl="0" eaLnBrk="1" fontAlgn="b" latinLnBrk="0" hangingPunct="1"/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,87</a:t>
                      </a:r>
                      <a:r>
                        <a:rPr lang="en-US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%</a:t>
                      </a:r>
                      <a:endParaRPr lang="ru-RU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09740">
                <a:tc>
                  <a:txBody>
                    <a:bodyPr/>
                    <a:lstStyle/>
                    <a:p>
                      <a:pPr marL="0" algn="l" defTabSz="1152144" rtl="0" eaLnBrk="1" fontAlgn="b" latinLnBrk="0" hangingPunct="1"/>
                      <a:r>
                        <a:rPr lang="ru-RU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Услуги телекоммуникационные</a:t>
                      </a:r>
                      <a:endParaRPr lang="ru-RU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72000" marR="9525" marT="0" marB="0" anchor="ctr"/>
                </a:tc>
                <a:tc>
                  <a:txBody>
                    <a:bodyPr/>
                    <a:lstStyle/>
                    <a:p>
                      <a:pPr marL="0" algn="ctr" defTabSz="1152144" rtl="0" eaLnBrk="1" fontAlgn="b" latinLnBrk="0" hangingPunct="1"/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,72</a:t>
                      </a:r>
                      <a:r>
                        <a:rPr lang="en-US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%</a:t>
                      </a:r>
                      <a:endParaRPr lang="ru-RU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8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76055581"/>
                  </a:ext>
                </a:extLst>
              </a:tr>
              <a:tr h="185259">
                <a:tc>
                  <a:txBody>
                    <a:bodyPr/>
                    <a:lstStyle/>
                    <a:p>
                      <a:pPr marL="0" marR="0" lvl="0" indent="0" algn="l" defTabSz="115214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Средства лекарственные и материалы, применяемые в медицинских целях</a:t>
                      </a:r>
                      <a:endParaRPr lang="ru-RU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72000" marR="9525" marT="0" marB="0" anchor="ctr"/>
                </a:tc>
                <a:tc>
                  <a:txBody>
                    <a:bodyPr/>
                    <a:lstStyle/>
                    <a:p>
                      <a:pPr marL="0" algn="ctr" defTabSz="1152144" rtl="0" eaLnBrk="1" fontAlgn="b" latinLnBrk="0" hangingPunct="1"/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,64</a:t>
                      </a:r>
                      <a:r>
                        <a:rPr lang="en-US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%</a:t>
                      </a:r>
                      <a:endParaRPr lang="ru-RU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7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85259">
                <a:tc>
                  <a:txBody>
                    <a:bodyPr/>
                    <a:lstStyle/>
                    <a:p>
                      <a:pPr marL="0" algn="l" defTabSz="1152144" rtl="0" eaLnBrk="1" fontAlgn="b" latinLnBrk="0" hangingPunct="1"/>
                      <a:r>
                        <a:rPr lang="ru-RU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Услуги в области информационных технологий</a:t>
                      </a:r>
                      <a:endParaRPr lang="ru-RU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72000" marR="9525" marT="0" marB="0" anchor="ctr"/>
                </a:tc>
                <a:tc>
                  <a:txBody>
                    <a:bodyPr/>
                    <a:lstStyle/>
                    <a:p>
                      <a:pPr marL="0" algn="ctr" defTabSz="1152144" rtl="0" eaLnBrk="1" fontAlgn="b" latinLnBrk="0" hangingPunct="1"/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,12</a:t>
                      </a:r>
                      <a:r>
                        <a:rPr lang="en-US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%</a:t>
                      </a:r>
                      <a:endParaRPr lang="ru-RU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5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597525278"/>
                  </a:ext>
                </a:extLst>
              </a:tr>
              <a:tr h="185259">
                <a:tc>
                  <a:txBody>
                    <a:bodyPr/>
                    <a:lstStyle/>
                    <a:p>
                      <a:pPr marL="0" marR="0" lvl="0" indent="0" algn="l" defTabSz="115214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Услуги и работы, связанные с научными исследованиями и экспериментальными разработками</a:t>
                      </a:r>
                      <a:endParaRPr lang="ru-RU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72000" marR="9525" marT="0" marB="0" anchor="ctr"/>
                </a:tc>
                <a:tc>
                  <a:txBody>
                    <a:bodyPr/>
                    <a:lstStyle/>
                    <a:p>
                      <a:pPr marL="0" algn="ctr" defTabSz="1152144" rtl="0" eaLnBrk="1" fontAlgn="b" latinLnBrk="0" hangingPunct="1"/>
                      <a:r>
                        <a:rPr lang="en-US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</a:t>
                      </a:r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,73</a:t>
                      </a:r>
                      <a:r>
                        <a:rPr lang="en-US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%</a:t>
                      </a:r>
                      <a:endParaRPr lang="ru-RU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2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85259">
                <a:tc>
                  <a:txBody>
                    <a:bodyPr/>
                    <a:lstStyle/>
                    <a:p>
                      <a:pPr marL="0" marR="0" lvl="0" indent="0" algn="l" defTabSz="115214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Услуги в области здравоохранения</a:t>
                      </a:r>
                      <a:endParaRPr lang="ru-RU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72000" marR="9525" marT="0" marB="0" anchor="ctr"/>
                </a:tc>
                <a:tc>
                  <a:txBody>
                    <a:bodyPr/>
                    <a:lstStyle/>
                    <a:p>
                      <a:pPr marL="0" algn="ctr" defTabSz="1152144" rtl="0" eaLnBrk="1" fontAlgn="b" latinLnBrk="0" hangingPunct="1"/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,26</a:t>
                      </a:r>
                      <a:r>
                        <a:rPr lang="en-US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%</a:t>
                      </a:r>
                      <a:endParaRPr lang="ru-RU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,6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495691878"/>
                  </a:ext>
                </a:extLst>
              </a:tr>
              <a:tr h="191377">
                <a:tc>
                  <a:txBody>
                    <a:bodyPr/>
                    <a:lstStyle/>
                    <a:p>
                      <a:pPr marL="0" algn="l" defTabSz="1152144" rtl="0" eaLnBrk="1" fontAlgn="b" latinLnBrk="0" hangingPunct="1"/>
                      <a:r>
                        <a:rPr lang="ru-RU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 Услуги воздушного и космического транспорта</a:t>
                      </a:r>
                      <a:endParaRPr lang="ru-RU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</a:t>
                      </a:r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%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4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85259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ТОГО:</a:t>
                      </a:r>
                    </a:p>
                  </a:txBody>
                  <a:tcPr marL="72000" marR="9525" marT="0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0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50" b="1" i="0" u="none" strike="noStrike" dirty="0" smtClean="0">
                          <a:solidFill>
                            <a:srgbClr val="ED7D31"/>
                          </a:solidFill>
                          <a:effectLst/>
                          <a:latin typeface="Arial Narrow" panose="020B0606020202030204" pitchFamily="34" charset="0"/>
                        </a:rPr>
                        <a:t>127</a:t>
                      </a:r>
                      <a:endParaRPr lang="ru-RU" sz="1050" b="1" i="0" u="none" strike="noStrike" dirty="0">
                        <a:solidFill>
                          <a:srgbClr val="ED7D3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342981911"/>
                  </a:ext>
                </a:extLst>
              </a:tr>
            </a:tbl>
          </a:graphicData>
        </a:graphic>
      </p:graphicFrame>
      <p:sp>
        <p:nvSpPr>
          <p:cNvPr id="3" name="Прямоугольник 2"/>
          <p:cNvSpPr/>
          <p:nvPr/>
        </p:nvSpPr>
        <p:spPr>
          <a:xfrm>
            <a:off x="2895399" y="961682"/>
            <a:ext cx="329609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бъем закупок у субъектов МСП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7489207" y="943773"/>
            <a:ext cx="405271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оменклатура закупок у субъектов МСП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</a:p>
        </p:txBody>
      </p:sp>
      <p:sp>
        <p:nvSpPr>
          <p:cNvPr id="54" name="Pentagon 37"/>
          <p:cNvSpPr/>
          <p:nvPr/>
        </p:nvSpPr>
        <p:spPr>
          <a:xfrm>
            <a:off x="338868" y="2462382"/>
            <a:ext cx="1566898" cy="317439"/>
          </a:xfrm>
          <a:prstGeom prst="homePlate">
            <a:avLst>
              <a:gd name="adj" fmla="val 22714"/>
            </a:avLst>
          </a:prstGeom>
          <a:solidFill>
            <a:schemeClr val="accent1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lIns="180000" tIns="35100" rIns="67500" bIns="3510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8 год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65" name="Прямоугольник 64"/>
          <p:cNvSpPr/>
          <p:nvPr/>
        </p:nvSpPr>
        <p:spPr>
          <a:xfrm>
            <a:off x="6230589" y="5931855"/>
            <a:ext cx="107450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1" i="0" u="none" strike="noStrike" kern="1200" baseline="0">
                <a:solidFill>
                  <a:prstClr val="white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defRPr>
            </a:pP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194 </a:t>
            </a: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млрд </a:t>
            </a:r>
            <a:r>
              <a:rPr kumimoji="0" lang="ru-RU" sz="10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руб</a:t>
            </a: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;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1" i="0" u="none" strike="noStrike" kern="1200" baseline="0">
                <a:solidFill>
                  <a:prstClr val="white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defRPr>
            </a:pP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20,2%</a:t>
            </a:r>
            <a:endParaRPr kumimoji="0" lang="ru-RU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6" name="Прямоугольник 65"/>
          <p:cNvSpPr/>
          <p:nvPr/>
        </p:nvSpPr>
        <p:spPr>
          <a:xfrm>
            <a:off x="6017479" y="6966742"/>
            <a:ext cx="96958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1" i="0" u="none" strike="noStrike" kern="1200" baseline="0">
                <a:solidFill>
                  <a:prstClr val="white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defRPr>
            </a:pP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640 </a:t>
            </a: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млрд </a:t>
            </a:r>
            <a:r>
              <a:rPr kumimoji="0" lang="ru-RU" sz="10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руб</a:t>
            </a: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;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1" i="0" u="none" strike="noStrike" kern="1200" baseline="0">
                <a:solidFill>
                  <a:prstClr val="white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defRPr>
            </a:pP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66,6%</a:t>
            </a:r>
            <a:endParaRPr kumimoji="0" lang="ru-RU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7" name="Прямоугольник 66"/>
          <p:cNvSpPr/>
          <p:nvPr/>
        </p:nvSpPr>
        <p:spPr>
          <a:xfrm>
            <a:off x="6502272" y="6445983"/>
            <a:ext cx="100660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1" i="0" u="none" strike="noStrike" kern="1200" baseline="0">
                <a:solidFill>
                  <a:prstClr val="white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defRPr>
            </a:pP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127 млрд </a:t>
            </a:r>
            <a:r>
              <a:rPr kumimoji="0" lang="ru-RU" sz="1000" b="1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руб</a:t>
            </a: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; 13,2%</a:t>
            </a:r>
            <a:endParaRPr kumimoji="0" lang="ru-RU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981672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745431" y="123671"/>
            <a:ext cx="737976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П</a:t>
            </a: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одтверждение сведений об объемах закупок </a:t>
            </a:r>
          </a:p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крупнейшими заказчиками у субъектов МСП</a:t>
            </a:r>
            <a:endParaRPr lang="ru-RU" sz="2000" b="1" dirty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7921625" y="1905001"/>
            <a:ext cx="4356100" cy="927098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latin typeface="Arial Narrow" panose="020B0606020202030204" pitchFamily="34" charset="0"/>
              </a:rPr>
              <a:t>Информация Федерального казначейства</a:t>
            </a:r>
          </a:p>
          <a:p>
            <a:pPr algn="ctr"/>
            <a:r>
              <a:rPr lang="ru-RU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об общем объеме закупок у субъектов МСП</a:t>
            </a:r>
          </a:p>
        </p:txBody>
      </p:sp>
      <p:sp>
        <p:nvSpPr>
          <p:cNvPr id="27" name="Скругленный прямоугольник 26"/>
          <p:cNvSpPr/>
          <p:nvPr/>
        </p:nvSpPr>
        <p:spPr>
          <a:xfrm>
            <a:off x="286008" y="1904999"/>
            <a:ext cx="3781167" cy="927099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lvl="0" algn="ctr"/>
            <a:r>
              <a:rPr lang="ru-RU" dirty="0">
                <a:latin typeface="Arial Narrow" panose="020B0606020202030204" pitchFamily="34" charset="0"/>
              </a:rPr>
              <a:t>Информация Федерального </a:t>
            </a:r>
            <a:r>
              <a:rPr lang="ru-RU" dirty="0" smtClean="0">
                <a:latin typeface="Arial Narrow" panose="020B0606020202030204" pitchFamily="34" charset="0"/>
              </a:rPr>
              <a:t>казначейства </a:t>
            </a:r>
            <a:r>
              <a:rPr lang="ru-RU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об </a:t>
            </a:r>
            <a:r>
              <a:rPr lang="ru-RU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общем объеме закупок  </a:t>
            </a:r>
            <a:r>
              <a:rPr lang="ru-RU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и </a:t>
            </a:r>
            <a:r>
              <a:rPr lang="ru-RU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общем </a:t>
            </a:r>
            <a:r>
              <a:rPr lang="ru-RU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количестве поставщиков             </a:t>
            </a:r>
            <a:endParaRPr lang="ru-RU" b="1" dirty="0">
              <a:solidFill>
                <a:schemeClr val="accent2"/>
              </a:solidFill>
              <a:latin typeface="Arial Narrow" panose="020B0606020202030204" pitchFamily="34" charset="0"/>
            </a:endParaRPr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4193103" y="1905000"/>
            <a:ext cx="3617884" cy="927099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ru-RU" dirty="0">
                <a:latin typeface="Arial Narrow" panose="020B0606020202030204" pitchFamily="34" charset="0"/>
              </a:rPr>
              <a:t>Информация ФНС России                                    </a:t>
            </a:r>
            <a:r>
              <a:rPr lang="ru-RU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о количестве поставщиков, являющихся субъектами МСП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800920" y="7232650"/>
            <a:ext cx="2787650" cy="10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9" name="Рисунок 28"/>
          <p:cNvPicPr>
            <a:picLocks noChangeAspect="1"/>
          </p:cNvPicPr>
          <p:nvPr/>
        </p:nvPicPr>
        <p:blipFill rotWithShape="1">
          <a:blip r:embed="rId3" cstate="print"/>
          <a:srcRect l="26624" t="15198" r="44657" b="21478"/>
          <a:stretch/>
        </p:blipFill>
        <p:spPr>
          <a:xfrm>
            <a:off x="304800" y="2898599"/>
            <a:ext cx="3762375" cy="5385723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4" name="Скругленный прямоугольник 3"/>
          <p:cNvSpPr/>
          <p:nvPr/>
        </p:nvSpPr>
        <p:spPr>
          <a:xfrm>
            <a:off x="460127" y="7002612"/>
            <a:ext cx="3386904" cy="331638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05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61 088 договоров с 46 208 поставщиками на общую сумму 8 426 330 005 400 рублей.</a:t>
            </a:r>
            <a:endParaRPr lang="ru-RU" sz="105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31" name="Рисунок 30"/>
          <p:cNvPicPr>
            <a:picLocks noChangeAspect="1"/>
          </p:cNvPicPr>
          <p:nvPr/>
        </p:nvPicPr>
        <p:blipFill rotWithShape="1">
          <a:blip r:embed="rId4" cstate="print"/>
          <a:srcRect l="26429" t="13968" r="43812" b="24969"/>
          <a:stretch/>
        </p:blipFill>
        <p:spPr>
          <a:xfrm>
            <a:off x="4204396" y="2898599"/>
            <a:ext cx="3595299" cy="5385168"/>
          </a:xfrm>
          <a:prstGeom prst="rect">
            <a:avLst/>
          </a:prstGeom>
          <a:solidFill>
            <a:srgbClr val="CCFF33"/>
          </a:solidFill>
          <a:ln>
            <a:solidFill>
              <a:schemeClr val="tx1"/>
            </a:solidFill>
          </a:ln>
        </p:spPr>
      </p:pic>
      <p:sp>
        <p:nvSpPr>
          <p:cNvPr id="23" name="Скругленный прямоугольник 22"/>
          <p:cNvSpPr/>
          <p:nvPr/>
        </p:nvSpPr>
        <p:spPr>
          <a:xfrm>
            <a:off x="4248548" y="6683301"/>
            <a:ext cx="3464063" cy="228640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05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lang="ru-RU" sz="105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едения о 33 016 внесены в указанный реестр. </a:t>
            </a:r>
            <a:endParaRPr lang="ru-RU" sz="105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5" name="Рисунок 24"/>
          <p:cNvPicPr>
            <a:picLocks noChangeAspect="1"/>
          </p:cNvPicPr>
          <p:nvPr/>
        </p:nvPicPr>
        <p:blipFill rotWithShape="1">
          <a:blip r:embed="rId5" cstate="print"/>
          <a:srcRect l="33656" t="14967" r="34530" b="8872"/>
          <a:stretch/>
        </p:blipFill>
        <p:spPr>
          <a:xfrm>
            <a:off x="7962900" y="2898598"/>
            <a:ext cx="4343400" cy="538516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</p:pic>
      <p:sp>
        <p:nvSpPr>
          <p:cNvPr id="30" name="Скругленный прямоугольник 29"/>
          <p:cNvSpPr/>
          <p:nvPr/>
        </p:nvSpPr>
        <p:spPr>
          <a:xfrm>
            <a:off x="8326110" y="7539478"/>
            <a:ext cx="3733212" cy="173756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050" b="1" kern="0" spc="-9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ключено </a:t>
            </a:r>
            <a:r>
              <a:rPr lang="ru-RU" sz="1050" b="1" kern="0" spc="-9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09 058 договоров на общую сумму 1 510, 7 млрд рублей</a:t>
            </a: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9772651" y="7372350"/>
            <a:ext cx="2505074" cy="157601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050" b="1" kern="0" spc="-9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5 651 является </a:t>
            </a:r>
            <a:r>
              <a:rPr lang="ru-RU" sz="1050" b="1" kern="0" spc="-9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убъектом </a:t>
            </a:r>
            <a:r>
              <a:rPr lang="ru-RU" sz="1050" b="1" kern="0" spc="-9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СП, с которыми </a:t>
            </a:r>
          </a:p>
        </p:txBody>
      </p:sp>
      <p:pic>
        <p:nvPicPr>
          <p:cNvPr id="20" name="Рисунок 1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sp>
        <p:nvSpPr>
          <p:cNvPr id="22" name="Прямоугольник 21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200" dirty="0">
                <a:latin typeface="Arial Narrow" panose="020B0606020202030204" pitchFamily="34" charset="0"/>
              </a:rPr>
              <a:t>4</a:t>
            </a:r>
          </a:p>
        </p:txBody>
      </p:sp>
      <p:pic>
        <p:nvPicPr>
          <p:cNvPr id="33" name="Рисунок 32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10779279" y="50340"/>
            <a:ext cx="1525280" cy="790590"/>
          </a:xfrm>
          <a:prstGeom prst="rect">
            <a:avLst/>
          </a:prstGeom>
        </p:spPr>
      </p:pic>
      <p:sp>
        <p:nvSpPr>
          <p:cNvPr id="34" name="Скругленный прямоугольник 33"/>
          <p:cNvSpPr/>
          <p:nvPr/>
        </p:nvSpPr>
        <p:spPr>
          <a:xfrm>
            <a:off x="282575" y="1015882"/>
            <a:ext cx="12036425" cy="832986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chemeClr val="bg1"/>
                </a:solidFill>
                <a:latin typeface="Arial Narrow" panose="020B0606020202030204" pitchFamily="34" charset="0"/>
              </a:rPr>
              <a:t>За 2016 год с 35 651 субъектом МСП заключено</a:t>
            </a:r>
            <a:br>
              <a:rPr lang="ru-RU" b="1" dirty="0">
                <a:solidFill>
                  <a:schemeClr val="bg1"/>
                </a:solidFill>
                <a:latin typeface="Arial Narrow" panose="020B0606020202030204" pitchFamily="34" charset="0"/>
              </a:rPr>
            </a:br>
            <a:r>
              <a:rPr lang="ru-RU" b="1" dirty="0">
                <a:solidFill>
                  <a:schemeClr val="bg1"/>
                </a:solidFill>
                <a:latin typeface="Arial Narrow" panose="020B0606020202030204" pitchFamily="34" charset="0"/>
              </a:rPr>
              <a:t>109 058 договоров на общую сумму 1,511 трлн рублей</a:t>
            </a:r>
          </a:p>
        </p:txBody>
      </p:sp>
    </p:spTree>
    <p:extLst>
      <p:ext uri="{BB962C8B-B14F-4D97-AF65-F5344CB8AC3E}">
        <p14:creationId xmlns:p14="http://schemas.microsoft.com/office/powerpoint/2010/main" val="39430844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Рисунок 2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sp>
        <p:nvSpPr>
          <p:cNvPr id="22" name="Прямоугольник 21"/>
          <p:cNvSpPr/>
          <p:nvPr/>
        </p:nvSpPr>
        <p:spPr>
          <a:xfrm>
            <a:off x="10987088" y="7546931"/>
            <a:ext cx="397624" cy="1981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598185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7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4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6615384" y="3253655"/>
            <a:ext cx="2873005" cy="35123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076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11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18" name="Прямая соединительная линия 17"/>
          <p:cNvCxnSpPr/>
          <p:nvPr/>
        </p:nvCxnSpPr>
        <p:spPr>
          <a:xfrm>
            <a:off x="1311476" y="1530913"/>
            <a:ext cx="9956254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Прямоугольник 23"/>
          <p:cNvSpPr/>
          <p:nvPr/>
        </p:nvSpPr>
        <p:spPr>
          <a:xfrm>
            <a:off x="290977" y="1014692"/>
            <a:ext cx="12021673" cy="762809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076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2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 </a:t>
            </a:r>
            <a:r>
              <a:rPr kumimoji="0" lang="ru-RU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За </a:t>
            </a:r>
            <a:r>
              <a:rPr kumimoji="0" lang="ru-RU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7 год с 47 794 </a:t>
            </a:r>
            <a:r>
              <a:rPr kumimoji="0" lang="ru-RU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убъектами МСП </a:t>
            </a:r>
            <a:endParaRPr kumimoji="0" lang="ru-RU" b="1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3076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заключено 159 885 договоров на </a:t>
            </a:r>
            <a:r>
              <a:rPr kumimoji="0" lang="ru-RU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бщую сумму 2,0</a:t>
            </a: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98</a:t>
            </a:r>
            <a:r>
              <a:rPr kumimoji="0" lang="ru-RU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трлн рублей</a:t>
            </a:r>
          </a:p>
        </p:txBody>
      </p:sp>
      <p:grpSp>
        <p:nvGrpSpPr>
          <p:cNvPr id="5" name="Группа 4"/>
          <p:cNvGrpSpPr/>
          <p:nvPr/>
        </p:nvGrpSpPr>
        <p:grpSpPr>
          <a:xfrm>
            <a:off x="3320010" y="3163456"/>
            <a:ext cx="2846276" cy="4795979"/>
            <a:chOff x="3320010" y="3163456"/>
            <a:chExt cx="2846276" cy="4795979"/>
          </a:xfrm>
        </p:grpSpPr>
        <p:pic>
          <p:nvPicPr>
            <p:cNvPr id="8" name="Рисунок 7"/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3320010" y="3163456"/>
              <a:ext cx="2846276" cy="4795979"/>
            </a:xfrm>
            <a:prstGeom prst="rect">
              <a:avLst/>
            </a:prstGeom>
            <a:ln w="9525">
              <a:solidFill>
                <a:schemeClr val="accent1">
                  <a:lumMod val="50000"/>
                </a:schemeClr>
              </a:solidFill>
            </a:ln>
          </p:spPr>
        </p:pic>
        <p:sp>
          <p:nvSpPr>
            <p:cNvPr id="35" name="Скругленный прямоугольник 34"/>
            <p:cNvSpPr/>
            <p:nvPr/>
          </p:nvSpPr>
          <p:spPr>
            <a:xfrm>
              <a:off x="4673808" y="5485445"/>
              <a:ext cx="682297" cy="92162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marL="0" marR="0" lvl="0" indent="0" algn="l" defTabSz="30763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92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из 5</a:t>
              </a:r>
              <a:r>
                <a:rPr kumimoji="0" lang="en-US" sz="492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6</a:t>
              </a:r>
              <a:r>
                <a:rPr kumimoji="0" lang="ru-RU" sz="492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 </a:t>
              </a:r>
              <a:r>
                <a:rPr kumimoji="0" lang="en-US" sz="492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640</a:t>
              </a:r>
              <a:r>
                <a:rPr kumimoji="0" lang="ru-RU" sz="492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 поставщиков</a:t>
              </a:r>
            </a:p>
          </p:txBody>
        </p:sp>
        <p:sp>
          <p:nvSpPr>
            <p:cNvPr id="45" name="Скругленный прямоугольник 44"/>
            <p:cNvSpPr/>
            <p:nvPr/>
          </p:nvSpPr>
          <p:spPr>
            <a:xfrm>
              <a:off x="3617554" y="5751889"/>
              <a:ext cx="1425831" cy="94984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marL="0" marR="0" lvl="0" indent="0" algn="l" defTabSz="30763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92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 сведения о </a:t>
              </a:r>
              <a:r>
                <a:rPr kumimoji="0" lang="en-US" sz="492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43</a:t>
              </a:r>
              <a:r>
                <a:rPr kumimoji="0" lang="ru-RU" sz="492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 </a:t>
              </a:r>
              <a:r>
                <a:rPr kumimoji="0" lang="en-US" sz="492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941</a:t>
              </a:r>
              <a:r>
                <a:rPr kumimoji="0" lang="ru-RU" sz="492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 внесены в </a:t>
              </a:r>
              <a:r>
                <a:rPr kumimoji="0" lang="ru-RU" sz="492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указанный </a:t>
              </a:r>
              <a:r>
                <a:rPr kumimoji="0" lang="ru-RU" sz="492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реестр.</a:t>
              </a:r>
            </a:p>
          </p:txBody>
        </p:sp>
      </p:grpSp>
      <p:grpSp>
        <p:nvGrpSpPr>
          <p:cNvPr id="4" name="Группа 3"/>
          <p:cNvGrpSpPr/>
          <p:nvPr/>
        </p:nvGrpSpPr>
        <p:grpSpPr>
          <a:xfrm>
            <a:off x="6307283" y="3163131"/>
            <a:ext cx="3036428" cy="4796304"/>
            <a:chOff x="6307283" y="3163131"/>
            <a:chExt cx="3036428" cy="4796304"/>
          </a:xfrm>
        </p:grpSpPr>
        <p:pic>
          <p:nvPicPr>
            <p:cNvPr id="9" name="Рисунок 8"/>
            <p:cNvPicPr>
              <a:picLocks noChangeAspect="1"/>
            </p:cNvPicPr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6307283" y="3163131"/>
              <a:ext cx="3036428" cy="4796304"/>
            </a:xfrm>
            <a:prstGeom prst="rect">
              <a:avLst/>
            </a:prstGeom>
            <a:ln w="9525">
              <a:solidFill>
                <a:schemeClr val="accent1">
                  <a:lumMod val="50000"/>
                </a:schemeClr>
              </a:solidFill>
            </a:ln>
          </p:spPr>
        </p:pic>
        <p:sp>
          <p:nvSpPr>
            <p:cNvPr id="61" name="Скругленный прямоугольник 60"/>
            <p:cNvSpPr/>
            <p:nvPr/>
          </p:nvSpPr>
          <p:spPr>
            <a:xfrm>
              <a:off x="6679425" y="6567496"/>
              <a:ext cx="661173" cy="106353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marL="0" marR="0" lvl="0" indent="0" algn="l" defTabSz="30763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153 543    договора</a:t>
              </a:r>
            </a:p>
          </p:txBody>
        </p:sp>
        <p:sp>
          <p:nvSpPr>
            <p:cNvPr id="64" name="Скругленный прямоугольник 63"/>
            <p:cNvSpPr/>
            <p:nvPr/>
          </p:nvSpPr>
          <p:spPr>
            <a:xfrm>
              <a:off x="7682142" y="7061248"/>
              <a:ext cx="1312299" cy="95618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marL="0" marR="0" lvl="0" indent="0" defTabSz="30763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559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 </a:t>
              </a:r>
              <a:r>
                <a:rPr kumimoji="0" lang="ru-RU" sz="6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44 977 </a:t>
              </a:r>
              <a:r>
                <a:rPr kumimoji="0" lang="ru-RU" sz="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являются субъектами</a:t>
              </a:r>
              <a:r>
                <a:rPr kumimoji="0" lang="en-US" sz="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 </a:t>
              </a:r>
              <a:r>
                <a:rPr kumimoji="0" lang="ru-RU" sz="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МСП </a:t>
              </a:r>
            </a:p>
          </p:txBody>
        </p:sp>
        <p:sp>
          <p:nvSpPr>
            <p:cNvPr id="65" name="Скругленный прямоугольник 64"/>
            <p:cNvSpPr/>
            <p:nvPr/>
          </p:nvSpPr>
          <p:spPr>
            <a:xfrm>
              <a:off x="8077286" y="6591301"/>
              <a:ext cx="874818" cy="76199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marL="0" marR="0" lvl="0" indent="0" algn="l" defTabSz="30763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  2 031 178 839 564 </a:t>
              </a:r>
              <a:r>
                <a:rPr kumimoji="0" lang="ru-RU" sz="6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рубля</a:t>
              </a:r>
              <a:endParaRPr kumimoji="0" lang="ru-RU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endParaRPr>
            </a:p>
          </p:txBody>
        </p:sp>
        <p:sp>
          <p:nvSpPr>
            <p:cNvPr id="39" name="Скругленный прямоугольник 38"/>
            <p:cNvSpPr/>
            <p:nvPr/>
          </p:nvSpPr>
          <p:spPr>
            <a:xfrm rot="10800000" flipV="1">
              <a:off x="7093147" y="6473311"/>
              <a:ext cx="247452" cy="98939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marL="0" marR="0" lvl="0" indent="0" algn="l" defTabSz="30763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 </a:t>
              </a:r>
              <a:r>
                <a:rPr kumimoji="0" lang="en-US" sz="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4</a:t>
              </a:r>
              <a:r>
                <a:rPr kumimoji="0" lang="ru-RU" sz="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6 659</a:t>
              </a:r>
            </a:p>
          </p:txBody>
        </p:sp>
        <p:sp>
          <p:nvSpPr>
            <p:cNvPr id="40" name="Скругленный прямоугольник 39"/>
            <p:cNvSpPr/>
            <p:nvPr/>
          </p:nvSpPr>
          <p:spPr>
            <a:xfrm rot="10800000" flipV="1">
              <a:off x="8325592" y="7145417"/>
              <a:ext cx="236822" cy="127940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marL="0" marR="0" lvl="0" indent="0" algn="ctr" defTabSz="30763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1 682</a:t>
              </a:r>
            </a:p>
          </p:txBody>
        </p:sp>
      </p:grpSp>
      <p:sp>
        <p:nvSpPr>
          <p:cNvPr id="41" name="Скругленный прямоугольник 40"/>
          <p:cNvSpPr/>
          <p:nvPr/>
        </p:nvSpPr>
        <p:spPr>
          <a:xfrm>
            <a:off x="6286500" y="1866867"/>
            <a:ext cx="3057210" cy="1210540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750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77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нформация Федерального казначейства</a:t>
            </a:r>
          </a:p>
          <a:p>
            <a:pPr marL="0" marR="0" lvl="0" indent="0" algn="ctr" defTabSz="3750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77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б объеме закупок у субъектов МСП</a:t>
            </a:r>
          </a:p>
          <a:p>
            <a:pPr marL="0" marR="0" lvl="0" indent="0" algn="ctr" defTabSz="3750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77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по данным Реестра договоров)</a:t>
            </a:r>
          </a:p>
        </p:txBody>
      </p:sp>
      <p:sp>
        <p:nvSpPr>
          <p:cNvPr id="42" name="Скругленный прямоугольник 41"/>
          <p:cNvSpPr/>
          <p:nvPr/>
        </p:nvSpPr>
        <p:spPr>
          <a:xfrm>
            <a:off x="295276" y="1866900"/>
            <a:ext cx="2917884" cy="1210832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750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77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нформация Федерального казначейства </a:t>
            </a:r>
            <a:r>
              <a:rPr kumimoji="0" lang="ru-RU" sz="1477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б общем объеме закупок  и общем количестве поставщиков </a:t>
            </a:r>
          </a:p>
        </p:txBody>
      </p:sp>
      <p:sp>
        <p:nvSpPr>
          <p:cNvPr id="43" name="Скругленный прямоугольник 42"/>
          <p:cNvSpPr/>
          <p:nvPr/>
        </p:nvSpPr>
        <p:spPr>
          <a:xfrm>
            <a:off x="3320010" y="1866900"/>
            <a:ext cx="2846276" cy="1210832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750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77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нформация ФНС России                                    </a:t>
            </a:r>
            <a:r>
              <a:rPr kumimoji="0" lang="ru-RU" sz="1477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 количестве поставщиков, являющихся субъектами МСП</a:t>
            </a:r>
          </a:p>
        </p:txBody>
      </p:sp>
      <p:grpSp>
        <p:nvGrpSpPr>
          <p:cNvPr id="6" name="Группа 5"/>
          <p:cNvGrpSpPr/>
          <p:nvPr/>
        </p:nvGrpSpPr>
        <p:grpSpPr>
          <a:xfrm>
            <a:off x="295275" y="3163456"/>
            <a:ext cx="2913191" cy="4795979"/>
            <a:chOff x="295275" y="3163456"/>
            <a:chExt cx="2913191" cy="4795979"/>
          </a:xfrm>
        </p:grpSpPr>
        <p:pic>
          <p:nvPicPr>
            <p:cNvPr id="7" name="Рисунок 6"/>
            <p:cNvPicPr>
              <a:picLocks noChangeAspect="1"/>
            </p:cNvPicPr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295275" y="3163456"/>
              <a:ext cx="2913191" cy="4795979"/>
            </a:xfrm>
            <a:prstGeom prst="rect">
              <a:avLst/>
            </a:prstGeom>
            <a:ln w="9525">
              <a:solidFill>
                <a:schemeClr val="accent1">
                  <a:lumMod val="50000"/>
                </a:schemeClr>
              </a:solidFill>
            </a:ln>
          </p:spPr>
        </p:pic>
        <p:sp>
          <p:nvSpPr>
            <p:cNvPr id="51" name="Скругленный прямоугольник 50"/>
            <p:cNvSpPr/>
            <p:nvPr/>
          </p:nvSpPr>
          <p:spPr>
            <a:xfrm>
              <a:off x="674557" y="6350001"/>
              <a:ext cx="2318904" cy="158224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marL="0" marR="0" lvl="0" indent="0" algn="l" defTabSz="30763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96" b="1" i="0" u="none" strike="noStrike" kern="1200" cap="none" spc="0" normalizeH="0" baseline="0" noProof="0" dirty="0">
                  <a:ln>
                    <a:noFill/>
                  </a:ln>
                  <a:solidFill>
                    <a:srgbClr val="E7E6E6">
                      <a:lumMod val="10000"/>
                    </a:srgbClr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 договора   с   5</a:t>
              </a:r>
              <a:r>
                <a:rPr kumimoji="0" lang="en-US" sz="496" b="1" i="0" u="none" strike="noStrike" kern="1200" cap="none" spc="0" normalizeH="0" baseline="0" noProof="0" dirty="0">
                  <a:ln>
                    <a:noFill/>
                  </a:ln>
                  <a:solidFill>
                    <a:srgbClr val="E7E6E6">
                      <a:lumMod val="10000"/>
                    </a:srgbClr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6</a:t>
              </a:r>
              <a:r>
                <a:rPr kumimoji="0" lang="ru-RU" sz="496" b="1" i="0" u="none" strike="noStrike" kern="1200" cap="none" spc="0" normalizeH="0" baseline="0" noProof="0" dirty="0">
                  <a:ln>
                    <a:noFill/>
                  </a:ln>
                  <a:solidFill>
                    <a:srgbClr val="E7E6E6">
                      <a:lumMod val="10000"/>
                    </a:srgbClr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 </a:t>
              </a:r>
              <a:r>
                <a:rPr kumimoji="0" lang="en-US" sz="496" b="1" i="0" u="none" strike="noStrike" kern="1200" cap="none" spc="0" normalizeH="0" baseline="0" noProof="0" dirty="0">
                  <a:ln>
                    <a:noFill/>
                  </a:ln>
                  <a:solidFill>
                    <a:srgbClr val="E7E6E6">
                      <a:lumMod val="10000"/>
                    </a:srgbClr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640</a:t>
              </a:r>
              <a:r>
                <a:rPr kumimoji="0" lang="ru-RU" sz="496" b="1" i="0" u="none" strike="noStrike" kern="1200" cap="none" spc="0" normalizeH="0" baseline="0" noProof="0" dirty="0">
                  <a:ln>
                    <a:noFill/>
                  </a:ln>
                  <a:solidFill>
                    <a:srgbClr val="E7E6E6">
                      <a:lumMod val="10000"/>
                    </a:srgbClr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   поставщиками   на   общую  сумму  </a:t>
              </a:r>
              <a:r>
                <a:rPr kumimoji="0" lang="en-US" sz="496" b="1" i="0" u="none" strike="noStrike" kern="1200" cap="none" spc="0" normalizeH="0" baseline="0" noProof="0" dirty="0">
                  <a:ln>
                    <a:noFill/>
                  </a:ln>
                  <a:solidFill>
                    <a:srgbClr val="E7E6E6">
                      <a:lumMod val="10000"/>
                    </a:srgbClr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10</a:t>
              </a:r>
              <a:r>
                <a:rPr kumimoji="0" lang="ru-RU" sz="496" b="1" i="0" u="none" strike="noStrike" kern="1200" cap="none" spc="0" normalizeH="0" baseline="0" noProof="0" dirty="0">
                  <a:ln>
                    <a:noFill/>
                  </a:ln>
                  <a:solidFill>
                    <a:srgbClr val="E7E6E6">
                      <a:lumMod val="10000"/>
                    </a:srgbClr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 </a:t>
              </a:r>
              <a:r>
                <a:rPr kumimoji="0" lang="en-US" sz="496" b="1" i="0" u="none" strike="noStrike" kern="1200" cap="none" spc="0" normalizeH="0" baseline="0" noProof="0" dirty="0">
                  <a:ln>
                    <a:noFill/>
                  </a:ln>
                  <a:solidFill>
                    <a:srgbClr val="E7E6E6">
                      <a:lumMod val="10000"/>
                    </a:srgbClr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483</a:t>
              </a:r>
              <a:r>
                <a:rPr kumimoji="0" lang="ru-RU" sz="496" b="1" i="0" u="none" strike="noStrike" kern="1200" cap="none" spc="0" normalizeH="0" baseline="0" noProof="0" dirty="0">
                  <a:ln>
                    <a:noFill/>
                  </a:ln>
                  <a:solidFill>
                    <a:srgbClr val="E7E6E6">
                      <a:lumMod val="10000"/>
                    </a:srgbClr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 </a:t>
              </a:r>
              <a:r>
                <a:rPr kumimoji="0" lang="en-US" sz="496" b="1" i="0" u="none" strike="noStrike" kern="1200" cap="none" spc="0" normalizeH="0" baseline="0" noProof="0" dirty="0">
                  <a:ln>
                    <a:noFill/>
                  </a:ln>
                  <a:solidFill>
                    <a:srgbClr val="E7E6E6">
                      <a:lumMod val="10000"/>
                    </a:srgbClr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721</a:t>
              </a:r>
              <a:r>
                <a:rPr kumimoji="0" lang="ru-RU" sz="496" b="1" i="0" u="none" strike="noStrike" kern="1200" cap="none" spc="0" normalizeH="0" baseline="0" noProof="0" dirty="0">
                  <a:ln>
                    <a:noFill/>
                  </a:ln>
                  <a:solidFill>
                    <a:srgbClr val="E7E6E6">
                      <a:lumMod val="10000"/>
                    </a:srgbClr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 </a:t>
              </a:r>
              <a:r>
                <a:rPr kumimoji="0" lang="en-US" sz="496" b="1" i="0" u="none" strike="noStrike" kern="1200" cap="none" spc="0" normalizeH="0" baseline="0" noProof="0" dirty="0">
                  <a:ln>
                    <a:noFill/>
                  </a:ln>
                  <a:solidFill>
                    <a:srgbClr val="E7E6E6">
                      <a:lumMod val="10000"/>
                    </a:srgbClr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814</a:t>
              </a:r>
              <a:r>
                <a:rPr kumimoji="0" lang="ru-RU" sz="496" b="1" i="0" u="none" strike="noStrike" kern="1200" cap="none" spc="0" normalizeH="0" baseline="0" noProof="0" dirty="0">
                  <a:ln>
                    <a:noFill/>
                  </a:ln>
                  <a:solidFill>
                    <a:srgbClr val="E7E6E6">
                      <a:lumMod val="10000"/>
                    </a:srgbClr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 </a:t>
              </a:r>
              <a:r>
                <a:rPr kumimoji="0" lang="en-US" sz="496" b="1" i="0" u="none" strike="noStrike" kern="1200" cap="none" spc="0" normalizeH="0" baseline="0" noProof="0" dirty="0">
                  <a:ln>
                    <a:noFill/>
                  </a:ln>
                  <a:solidFill>
                    <a:srgbClr val="E7E6E6">
                      <a:lumMod val="10000"/>
                    </a:srgbClr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201</a:t>
              </a:r>
              <a:r>
                <a:rPr kumimoji="0" lang="ru-RU" sz="496" b="1" i="0" u="none" strike="noStrike" kern="1200" cap="none" spc="0" normalizeH="0" baseline="0" noProof="0" dirty="0">
                  <a:ln>
                    <a:noFill/>
                  </a:ln>
                  <a:solidFill>
                    <a:srgbClr val="E7E6E6">
                      <a:lumMod val="10000"/>
                    </a:srgbClr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 </a:t>
              </a:r>
            </a:p>
          </p:txBody>
        </p:sp>
        <p:sp>
          <p:nvSpPr>
            <p:cNvPr id="34" name="Скругленный прямоугольник 33"/>
            <p:cNvSpPr/>
            <p:nvPr/>
          </p:nvSpPr>
          <p:spPr>
            <a:xfrm>
              <a:off x="674556" y="6495524"/>
              <a:ext cx="227416" cy="104631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marL="0" marR="0" lvl="0" indent="0" algn="l" defTabSz="30763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96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 </a:t>
              </a:r>
              <a:r>
                <a:rPr kumimoji="0" lang="ru-RU" sz="496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рубль.</a:t>
              </a:r>
            </a:p>
          </p:txBody>
        </p:sp>
        <p:sp>
          <p:nvSpPr>
            <p:cNvPr id="47" name="Скругленный прямоугольник 46"/>
            <p:cNvSpPr/>
            <p:nvPr/>
          </p:nvSpPr>
          <p:spPr>
            <a:xfrm>
              <a:off x="2682096" y="6202508"/>
              <a:ext cx="302404" cy="147492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marL="0" marR="0" lvl="0" indent="0" algn="l" defTabSz="30763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96" b="1" i="0" u="none" strike="noStrike" kern="1200" cap="none" spc="0" normalizeH="0" baseline="0" noProof="0" dirty="0">
                  <a:ln>
                    <a:noFill/>
                  </a:ln>
                  <a:solidFill>
                    <a:srgbClr val="E7E6E6">
                      <a:lumMod val="25000"/>
                    </a:srgbClr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  2</a:t>
              </a:r>
              <a:r>
                <a:rPr kumimoji="0" lang="en-US" sz="496" b="1" i="0" u="none" strike="noStrike" kern="1200" cap="none" spc="0" normalizeH="0" baseline="0" noProof="0" dirty="0">
                  <a:ln>
                    <a:noFill/>
                  </a:ln>
                  <a:solidFill>
                    <a:srgbClr val="E7E6E6">
                      <a:lumMod val="25000"/>
                    </a:srgbClr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19</a:t>
              </a:r>
              <a:r>
                <a:rPr kumimoji="0" lang="ru-RU" sz="496" b="1" i="0" u="none" strike="noStrike" kern="1200" cap="none" spc="0" normalizeH="0" baseline="0" noProof="0" dirty="0">
                  <a:ln>
                    <a:noFill/>
                  </a:ln>
                  <a:solidFill>
                    <a:srgbClr val="E7E6E6">
                      <a:lumMod val="25000"/>
                    </a:srgbClr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 </a:t>
              </a:r>
              <a:r>
                <a:rPr kumimoji="0" lang="en-US" sz="496" b="1" i="0" u="none" strike="noStrike" kern="1200" cap="none" spc="0" normalizeH="0" baseline="0" noProof="0" dirty="0">
                  <a:ln>
                    <a:noFill/>
                  </a:ln>
                  <a:solidFill>
                    <a:srgbClr val="E7E6E6">
                      <a:lumMod val="25000"/>
                    </a:srgbClr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892</a:t>
              </a:r>
              <a:endParaRPr kumimoji="0" lang="ru-RU" sz="496" b="1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endParaRPr>
            </a:p>
          </p:txBody>
        </p:sp>
      </p:grpSp>
      <p:grpSp>
        <p:nvGrpSpPr>
          <p:cNvPr id="2" name="Группа 1"/>
          <p:cNvGrpSpPr/>
          <p:nvPr/>
        </p:nvGrpSpPr>
        <p:grpSpPr>
          <a:xfrm>
            <a:off x="9447816" y="3163131"/>
            <a:ext cx="2863490" cy="4796304"/>
            <a:chOff x="9447816" y="3163131"/>
            <a:chExt cx="2863490" cy="4796304"/>
          </a:xfrm>
        </p:grpSpPr>
        <p:pic>
          <p:nvPicPr>
            <p:cNvPr id="31" name="Рисунок 30"/>
            <p:cNvPicPr>
              <a:picLocks noChangeAspect="1"/>
            </p:cNvPicPr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9447816" y="3163131"/>
              <a:ext cx="2863490" cy="4796304"/>
            </a:xfrm>
            <a:prstGeom prst="rect">
              <a:avLst/>
            </a:prstGeom>
            <a:ln w="9525">
              <a:solidFill>
                <a:schemeClr val="accent1">
                  <a:lumMod val="50000"/>
                </a:schemeClr>
              </a:solidFill>
            </a:ln>
          </p:spPr>
        </p:pic>
        <p:sp>
          <p:nvSpPr>
            <p:cNvPr id="32" name="Скругленный прямоугольник 31"/>
            <p:cNvSpPr/>
            <p:nvPr/>
          </p:nvSpPr>
          <p:spPr>
            <a:xfrm>
              <a:off x="9814938" y="6011329"/>
              <a:ext cx="1035941" cy="122771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marL="0" marR="0" lvl="0" indent="0" algn="l" defTabSz="30763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E7E6E6">
                      <a:lumMod val="25000"/>
                    </a:srgbClr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  2</a:t>
              </a:r>
              <a:r>
                <a:rPr kumimoji="0" lang="en-US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E7E6E6">
                      <a:lumMod val="25000"/>
                    </a:srgbClr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 098 </a:t>
              </a:r>
              <a:r>
                <a:rPr kumimoji="0" lang="ru-RU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E7E6E6">
                      <a:lumMod val="25000"/>
                    </a:srgbClr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9</a:t>
              </a:r>
              <a:r>
                <a:rPr kumimoji="0" lang="en-US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E7E6E6">
                      <a:lumMod val="25000"/>
                    </a:srgbClr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06 532 </a:t>
              </a:r>
              <a:r>
                <a:rPr kumimoji="0" lang="ru-RU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E7E6E6">
                      <a:lumMod val="25000"/>
                    </a:srgbClr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тыс. рублей</a:t>
              </a:r>
            </a:p>
          </p:txBody>
        </p:sp>
      </p:grpSp>
      <p:sp>
        <p:nvSpPr>
          <p:cNvPr id="46" name="Скругленный прямоугольник 45"/>
          <p:cNvSpPr/>
          <p:nvPr/>
        </p:nvSpPr>
        <p:spPr>
          <a:xfrm>
            <a:off x="9448800" y="1870363"/>
            <a:ext cx="2862505" cy="1194955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750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77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нформация Федерального казначейства</a:t>
            </a:r>
          </a:p>
          <a:p>
            <a:pPr marL="0" marR="0" lvl="0" indent="0" algn="ctr" defTabSz="3750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77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б объеме закупок у субъектов МСП </a:t>
            </a:r>
            <a:r>
              <a:rPr kumimoji="0" lang="ru-RU" sz="1477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по данным годовых отчетов)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3745431" y="110971"/>
            <a:ext cx="737976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дтверждение сведений об объемах закупок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рупнейшими заказчиками у субъектов МСП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pic>
        <p:nvPicPr>
          <p:cNvPr id="36" name="Рисунок 35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10779279" y="50340"/>
            <a:ext cx="1525280" cy="790590"/>
          </a:xfrm>
          <a:prstGeom prst="rect">
            <a:avLst/>
          </a:prstGeom>
        </p:spPr>
      </p:pic>
      <p:sp>
        <p:nvSpPr>
          <p:cNvPr id="37" name="Прямоугольник 36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200" dirty="0">
                <a:latin typeface="Arial Narrow" panose="020B0606020202030204" pitchFamily="34" charset="0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35169506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Рисунок 2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sp>
        <p:nvSpPr>
          <p:cNvPr id="11" name="Прямоугольник 10"/>
          <p:cNvSpPr/>
          <p:nvPr/>
        </p:nvSpPr>
        <p:spPr>
          <a:xfrm>
            <a:off x="6615384" y="3253655"/>
            <a:ext cx="2873005" cy="35123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076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11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18" name="Прямая соединительная линия 17"/>
          <p:cNvCxnSpPr/>
          <p:nvPr/>
        </p:nvCxnSpPr>
        <p:spPr>
          <a:xfrm>
            <a:off x="1311476" y="1530913"/>
            <a:ext cx="9956254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Прямоугольник 23"/>
          <p:cNvSpPr/>
          <p:nvPr/>
        </p:nvSpPr>
        <p:spPr>
          <a:xfrm>
            <a:off x="290977" y="1014692"/>
            <a:ext cx="12021673" cy="762809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2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За 2018 год со 104 837 субъектами МСП заключено</a:t>
            </a:r>
            <a:b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</a:b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402 103 договора на общую сумму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3,264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трлн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ублей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41" name="Скругленный прямоугольник 40"/>
          <p:cNvSpPr/>
          <p:nvPr/>
        </p:nvSpPr>
        <p:spPr>
          <a:xfrm>
            <a:off x="6286500" y="1866867"/>
            <a:ext cx="3057210" cy="1210540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750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77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нформация Федерального казначейства</a:t>
            </a:r>
          </a:p>
          <a:p>
            <a:pPr marL="0" marR="0" lvl="0" indent="0" algn="ctr" defTabSz="3750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77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б объеме закупок у субъектов МСП</a:t>
            </a:r>
          </a:p>
          <a:p>
            <a:pPr marL="0" marR="0" lvl="0" indent="0" algn="ctr" defTabSz="3750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77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по данным Реестра договоров)</a:t>
            </a:r>
          </a:p>
        </p:txBody>
      </p:sp>
      <p:sp>
        <p:nvSpPr>
          <p:cNvPr id="42" name="Скругленный прямоугольник 41"/>
          <p:cNvSpPr/>
          <p:nvPr/>
        </p:nvSpPr>
        <p:spPr>
          <a:xfrm>
            <a:off x="295276" y="1866900"/>
            <a:ext cx="2917884" cy="1210832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750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77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нформация Федерального казначейства об общем </a:t>
            </a:r>
            <a:r>
              <a:rPr kumimoji="0" lang="ru-RU" sz="1477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бъеме закупок  и общем количестве поставщиков </a:t>
            </a:r>
          </a:p>
        </p:txBody>
      </p:sp>
      <p:sp>
        <p:nvSpPr>
          <p:cNvPr id="43" name="Скругленный прямоугольник 42"/>
          <p:cNvSpPr/>
          <p:nvPr/>
        </p:nvSpPr>
        <p:spPr>
          <a:xfrm>
            <a:off x="3320010" y="1866900"/>
            <a:ext cx="2846276" cy="1210832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750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77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нформация ФНС России                                    </a:t>
            </a:r>
            <a:r>
              <a:rPr kumimoji="0" lang="ru-RU" sz="1477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 количестве поставщиков, являющихся субъектами МСП</a:t>
            </a:r>
          </a:p>
        </p:txBody>
      </p:sp>
      <p:sp>
        <p:nvSpPr>
          <p:cNvPr id="46" name="Скругленный прямоугольник 45"/>
          <p:cNvSpPr/>
          <p:nvPr/>
        </p:nvSpPr>
        <p:spPr>
          <a:xfrm>
            <a:off x="9448800" y="1870363"/>
            <a:ext cx="2862505" cy="1194955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750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77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нформация Федерального казначейства</a:t>
            </a:r>
          </a:p>
          <a:p>
            <a:pPr marL="0" marR="0" lvl="0" indent="0" algn="ctr" defTabSz="3750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77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б объеме закупок у субъектов МСП </a:t>
            </a:r>
            <a:r>
              <a:rPr kumimoji="0" lang="ru-RU" sz="1477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по данным годовых отчетов)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3745431" y="110971"/>
            <a:ext cx="737976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дтверждение сведений об объемах закупок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рупнейшими заказчиками у субъектов МСП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pic>
        <p:nvPicPr>
          <p:cNvPr id="36" name="Рисунок 35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10779279" y="50340"/>
            <a:ext cx="1525280" cy="790590"/>
          </a:xfrm>
          <a:prstGeom prst="rect">
            <a:avLst/>
          </a:prstGeom>
        </p:spPr>
      </p:pic>
      <p:sp>
        <p:nvSpPr>
          <p:cNvPr id="37" name="Прямоугольник 36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6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pic>
        <p:nvPicPr>
          <p:cNvPr id="49" name="Рисунок 48"/>
          <p:cNvPicPr>
            <a:picLocks noChangeAspect="1"/>
          </p:cNvPicPr>
          <p:nvPr/>
        </p:nvPicPr>
        <p:blipFill rotWithShape="1">
          <a:blip r:embed="rId5"/>
          <a:srcRect l="12904" t="4238" r="10505" b="16988"/>
          <a:stretch/>
        </p:blipFill>
        <p:spPr>
          <a:xfrm>
            <a:off x="292160" y="3163131"/>
            <a:ext cx="2921000" cy="4419601"/>
          </a:xfrm>
          <a:prstGeom prst="rect">
            <a:avLst/>
          </a:prstGeom>
          <a:ln w="9525">
            <a:noFill/>
          </a:ln>
        </p:spPr>
      </p:pic>
      <p:sp>
        <p:nvSpPr>
          <p:cNvPr id="50" name="Скругленный прямоугольник 49"/>
          <p:cNvSpPr/>
          <p:nvPr/>
        </p:nvSpPr>
        <p:spPr>
          <a:xfrm>
            <a:off x="375692" y="5933541"/>
            <a:ext cx="1495971" cy="129122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l" defTabSz="3076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ru-RU" sz="7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569  739     договоров     с       124 459</a:t>
            </a:r>
            <a:endParaRPr kumimoji="0" lang="ru-RU" sz="7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53" name="Скругленный прямоугольник 52"/>
          <p:cNvSpPr/>
          <p:nvPr/>
        </p:nvSpPr>
        <p:spPr>
          <a:xfrm>
            <a:off x="1635187" y="6148062"/>
            <a:ext cx="1093726" cy="129122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l" defTabSz="3076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ru-RU" sz="7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14 136 339 696 337 рублей.</a:t>
            </a:r>
            <a:endParaRPr kumimoji="0" lang="ru-RU" sz="7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pic>
        <p:nvPicPr>
          <p:cNvPr id="54" name="Рисунок 53"/>
          <p:cNvPicPr>
            <a:picLocks noChangeAspect="1"/>
          </p:cNvPicPr>
          <p:nvPr/>
        </p:nvPicPr>
        <p:blipFill rotWithShape="1">
          <a:blip r:embed="rId6"/>
          <a:srcRect l="11316" t="8358" r="2120" b="16934"/>
          <a:stretch/>
        </p:blipFill>
        <p:spPr>
          <a:xfrm>
            <a:off x="3320011" y="3163131"/>
            <a:ext cx="2846276" cy="4191000"/>
          </a:xfrm>
          <a:prstGeom prst="rect">
            <a:avLst/>
          </a:prstGeom>
          <a:ln w="9525">
            <a:noFill/>
          </a:ln>
        </p:spPr>
      </p:pic>
      <p:sp>
        <p:nvSpPr>
          <p:cNvPr id="55" name="Скругленный прямоугольник 54"/>
          <p:cNvSpPr/>
          <p:nvPr/>
        </p:nvSpPr>
        <p:spPr>
          <a:xfrm>
            <a:off x="5185818" y="5528729"/>
            <a:ext cx="257720" cy="129122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l" defTabSz="3076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ru-RU" sz="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88 773</a:t>
            </a:r>
            <a:endParaRPr kumimoji="0" lang="ru-RU" sz="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56" name="Скругленный прямоугольник 55"/>
          <p:cNvSpPr/>
          <p:nvPr/>
        </p:nvSpPr>
        <p:spPr>
          <a:xfrm>
            <a:off x="3923755" y="6441430"/>
            <a:ext cx="2200820" cy="145108"/>
          </a:xfrm>
          <a:prstGeom prst="roundRect">
            <a:avLst/>
          </a:prstGeom>
          <a:solidFill>
            <a:schemeClr val="accent2">
              <a:lumMod val="40000"/>
              <a:lumOff val="60000"/>
              <a:alpha val="4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l" defTabSz="3076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57" name="Скругленный прямоугольник 56"/>
          <p:cNvSpPr/>
          <p:nvPr/>
        </p:nvSpPr>
        <p:spPr>
          <a:xfrm>
            <a:off x="3366542" y="6604094"/>
            <a:ext cx="1357858" cy="145108"/>
          </a:xfrm>
          <a:prstGeom prst="roundRect">
            <a:avLst/>
          </a:prstGeom>
          <a:solidFill>
            <a:schemeClr val="accent2">
              <a:lumMod val="40000"/>
              <a:lumOff val="60000"/>
              <a:alpha val="4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l" defTabSz="3076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pic>
        <p:nvPicPr>
          <p:cNvPr id="58" name="Рисунок 57"/>
          <p:cNvPicPr>
            <a:picLocks noChangeAspect="1"/>
          </p:cNvPicPr>
          <p:nvPr/>
        </p:nvPicPr>
        <p:blipFill rotWithShape="1">
          <a:blip r:embed="rId7"/>
          <a:srcRect l="14093" t="4821" r="9905" b="9265"/>
          <a:stretch/>
        </p:blipFill>
        <p:spPr>
          <a:xfrm>
            <a:off x="6286500" y="3158180"/>
            <a:ext cx="3068127" cy="4499920"/>
          </a:xfrm>
          <a:prstGeom prst="rect">
            <a:avLst/>
          </a:prstGeom>
        </p:spPr>
      </p:pic>
      <p:sp>
        <p:nvSpPr>
          <p:cNvPr id="59" name="Скругленный прямоугольник 58"/>
          <p:cNvSpPr/>
          <p:nvPr/>
        </p:nvSpPr>
        <p:spPr>
          <a:xfrm>
            <a:off x="6338612" y="6346384"/>
            <a:ext cx="370656" cy="129122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l" defTabSz="3076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8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104 837</a:t>
            </a:r>
            <a:endParaRPr kumimoji="0" lang="ru-RU" sz="68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60" name="Скругленный прямоугольник 59"/>
          <p:cNvSpPr/>
          <p:nvPr/>
        </p:nvSpPr>
        <p:spPr>
          <a:xfrm>
            <a:off x="8934174" y="6346384"/>
            <a:ext cx="370656" cy="129122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l" defTabSz="3076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8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 402 103</a:t>
            </a:r>
            <a:endParaRPr kumimoji="0" lang="ru-RU" sz="68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62" name="Скругленный прямоугольник 61"/>
          <p:cNvSpPr/>
          <p:nvPr/>
        </p:nvSpPr>
        <p:spPr>
          <a:xfrm>
            <a:off x="6342163" y="6449423"/>
            <a:ext cx="2962668" cy="129122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l" defTabSz="3076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8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договора на общую сумму 3 058 072 035 063 рубля, из них с 58 субъектами</a:t>
            </a:r>
            <a:endParaRPr kumimoji="0" lang="ru-RU" sz="68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63" name="Скругленный прямоугольник 62"/>
          <p:cNvSpPr/>
          <p:nvPr/>
        </p:nvSpPr>
        <p:spPr>
          <a:xfrm>
            <a:off x="6338612" y="6556279"/>
            <a:ext cx="2962668" cy="129122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l" defTabSz="3076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8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МСП  заключено  60  договоров  с  ценой  договора  свыше 1,5 млрд рублей</a:t>
            </a:r>
            <a:endParaRPr kumimoji="0" lang="ru-RU" sz="68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66" name="Скругленный прямоугольник 65"/>
          <p:cNvSpPr/>
          <p:nvPr/>
        </p:nvSpPr>
        <p:spPr>
          <a:xfrm>
            <a:off x="6342163" y="6659318"/>
            <a:ext cx="1573520" cy="102884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l" defTabSz="3076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8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на общую сумму 200 239 909 353 рубля.</a:t>
            </a:r>
            <a:endParaRPr kumimoji="0" lang="ru-RU" sz="68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337002" y="3092292"/>
            <a:ext cx="2969001" cy="3722872"/>
          </a:xfrm>
          <a:prstGeom prst="rect">
            <a:avLst/>
          </a:prstGeom>
        </p:spPr>
      </p:pic>
      <p:sp>
        <p:nvSpPr>
          <p:cNvPr id="67" name="Скругленный прямоугольник 66"/>
          <p:cNvSpPr/>
          <p:nvPr/>
        </p:nvSpPr>
        <p:spPr>
          <a:xfrm>
            <a:off x="11636534" y="5923397"/>
            <a:ext cx="668025" cy="99454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l" defTabSz="3076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8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 объем закупок</a:t>
            </a:r>
            <a:endParaRPr kumimoji="0" lang="ru-RU" sz="68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68" name="Скругленный прямоугольник 67"/>
          <p:cNvSpPr/>
          <p:nvPr/>
        </p:nvSpPr>
        <p:spPr>
          <a:xfrm>
            <a:off x="9441740" y="6022685"/>
            <a:ext cx="2668411" cy="129122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l" defTabSz="3076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8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 у субъектов МСП в 2018 году составил 3 264 315 998 тыс. рублей.</a:t>
            </a:r>
            <a:endParaRPr kumimoji="0" lang="ru-RU" sz="68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53210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" name="Рисунок 5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sp>
        <p:nvSpPr>
          <p:cNvPr id="11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177757" y="7826269"/>
            <a:ext cx="11939198" cy="442103"/>
          </a:xfrm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1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* - проведена совместно с международной информационной группой «Интерфакс», </a:t>
            </a:r>
            <a:r>
              <a:rPr kumimoji="0" lang="ru-RU" sz="1000" b="1" i="1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по итогам 2017 </a:t>
            </a:r>
            <a:r>
              <a:rPr kumimoji="0" lang="ru-RU" sz="1000" b="1" i="1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г. 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lvl="0" algn="l" defTabSz="1244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lang="ru-RU" sz="1000" b="1" i="1" dirty="0">
                <a:solidFill>
                  <a:srgbClr val="E7E6E6">
                    <a:lumMod val="50000"/>
                  </a:srgbClr>
                </a:solidFill>
                <a:latin typeface="Arial Narrow" panose="020B0606020202030204" pitchFamily="34" charset="0"/>
              </a:rPr>
              <a:t>** -  среднее количество заявок, поданных </a:t>
            </a:r>
            <a:r>
              <a:rPr lang="ru-RU" sz="1000" b="1" i="1" dirty="0" smtClean="0">
                <a:solidFill>
                  <a:srgbClr val="E7E6E6">
                    <a:lumMod val="50000"/>
                  </a:srgbClr>
                </a:solidFill>
                <a:latin typeface="Arial Narrow" panose="020B0606020202030204" pitchFamily="34" charset="0"/>
              </a:rPr>
              <a:t>на </a:t>
            </a:r>
            <a:r>
              <a:rPr lang="ru-RU" sz="1000" b="1" i="1" dirty="0">
                <a:solidFill>
                  <a:srgbClr val="E7E6E6">
                    <a:lumMod val="50000"/>
                  </a:srgbClr>
                </a:solidFill>
                <a:latin typeface="Arial Narrow" panose="020B0606020202030204" pitchFamily="34" charset="0"/>
              </a:rPr>
              <a:t>участие в </a:t>
            </a:r>
            <a:r>
              <a:rPr lang="ru-RU" sz="1000" b="1" i="1" dirty="0" smtClean="0">
                <a:solidFill>
                  <a:srgbClr val="E7E6E6">
                    <a:lumMod val="50000"/>
                  </a:srgbClr>
                </a:solidFill>
                <a:latin typeface="Arial Narrow" panose="020B0606020202030204" pitchFamily="34" charset="0"/>
              </a:rPr>
              <a:t>закупках (уровень конкуренции), рассчитывается как отношение общего количества допущенных участников закупок, осуществленных только среди субъектов МСП, к общему количеству проведенных процедур закупок, осуществленных только среди субъектов МСП (исключая закупки у единственного поставщика, закупки без допущенных участников, отмененные закупки)</a:t>
            </a:r>
            <a:endParaRPr kumimoji="0" lang="ru-RU" sz="1000" b="1" i="1" u="none" strike="noStrike" kern="1200" cap="none" spc="0" normalizeH="0" baseline="0" noProof="0" dirty="0" smtClean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000" b="1" i="1" dirty="0" smtClean="0">
                <a:solidFill>
                  <a:srgbClr val="E7E6E6">
                    <a:lumMod val="50000"/>
                  </a:srgbClr>
                </a:solidFill>
                <a:latin typeface="Arial Narrow" panose="020B0606020202030204" pitchFamily="34" charset="0"/>
              </a:rPr>
              <a:t>*** - </a:t>
            </a:r>
            <a:r>
              <a:rPr kumimoji="0" lang="ru-RU" sz="1000" b="1" i="1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данные мониторинга применения Федерального закона № 223-ФЗ в 2017 году, подготовленного Минфином России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000" b="1" i="1" u="none" strike="noStrike" kern="1200" cap="none" spc="0" normalizeH="0" baseline="0" noProof="0" dirty="0" smtClean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Times New Roman" panose="02020603050405020304" pitchFamily="18" charset="0"/>
            </a:endParaRP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244570" y="7105543"/>
            <a:ext cx="12074430" cy="0"/>
          </a:xfrm>
          <a:prstGeom prst="line">
            <a:avLst/>
          </a:prstGeom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Прямоугольник 8"/>
          <p:cNvSpPr/>
          <p:nvPr/>
        </p:nvSpPr>
        <p:spPr>
          <a:xfrm>
            <a:off x="3751576" y="87596"/>
            <a:ext cx="7236718" cy="73409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Оценка качества закупок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крупнейших заказчиков у 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субъектов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МСП*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43" name="Скругленный прямоугольник 42"/>
          <p:cNvSpPr/>
          <p:nvPr/>
        </p:nvSpPr>
        <p:spPr>
          <a:xfrm>
            <a:off x="282575" y="4070989"/>
            <a:ext cx="3921823" cy="1465092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44" name="Скругленный прямоугольник 4"/>
          <p:cNvSpPr/>
          <p:nvPr/>
        </p:nvSpPr>
        <p:spPr>
          <a:xfrm>
            <a:off x="339775" y="3710952"/>
            <a:ext cx="3807423" cy="1891635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06680" tIns="106680" rIns="106680" bIns="106680" numCol="1" spcCol="1270" anchor="ctr" anchorCtr="0">
            <a:noAutofit/>
          </a:bodyPr>
          <a:lstStyle/>
          <a:p>
            <a:pPr marL="0" marR="0" lvl="0" indent="0" algn="ctr" defTabSz="12446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Уровень конкуренции**</a:t>
            </a:r>
          </a:p>
          <a:p>
            <a:pPr marL="0" marR="0" lvl="0" indent="0" algn="ctr" defTabSz="1244600" rtl="0" eaLnBrk="1" fontAlgn="auto" latinLnBrk="0" hangingPunct="1">
              <a:lnSpc>
                <a:spcPct val="90000"/>
              </a:lnSpc>
              <a:spcBef>
                <a:spcPct val="0"/>
              </a:spcBef>
              <a:buClrTx/>
              <a:buSzTx/>
              <a:buFontTx/>
              <a:buNone/>
              <a:tabLst/>
              <a:defRPr/>
            </a:pPr>
            <a:r>
              <a:rPr kumimoji="0" lang="ru-RU" sz="1400" b="1" i="1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среднее количество заявок, поданных </a:t>
            </a:r>
          </a:p>
          <a:p>
            <a:pPr marL="0" marR="0" lvl="0" indent="0" algn="ctr" defTabSz="1244600" rtl="0" eaLnBrk="1" fontAlgn="auto" latinLnBrk="0" hangingPunct="1">
              <a:lnSpc>
                <a:spcPct val="90000"/>
              </a:lnSpc>
              <a:spcBef>
                <a:spcPct val="0"/>
              </a:spcBef>
              <a:buClrTx/>
              <a:buSzTx/>
              <a:buFontTx/>
              <a:buNone/>
              <a:tabLst/>
              <a:defRPr/>
            </a:pPr>
            <a:r>
              <a:rPr kumimoji="0" lang="ru-RU" sz="1400" b="1" i="1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а участие в закупках)</a:t>
            </a:r>
            <a:endParaRPr kumimoji="0" lang="ru-RU" sz="1400" b="1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pSp>
        <p:nvGrpSpPr>
          <p:cNvPr id="16" name="Группа 15"/>
          <p:cNvGrpSpPr/>
          <p:nvPr/>
        </p:nvGrpSpPr>
        <p:grpSpPr>
          <a:xfrm>
            <a:off x="258416" y="5352115"/>
            <a:ext cx="2102900" cy="1597573"/>
            <a:chOff x="58484" y="1654390"/>
            <a:chExt cx="2382876" cy="3870552"/>
          </a:xfrm>
          <a:solidFill>
            <a:schemeClr val="accent1">
              <a:lumMod val="20000"/>
              <a:lumOff val="80000"/>
            </a:schemeClr>
          </a:solidFill>
        </p:grpSpPr>
        <p:sp>
          <p:nvSpPr>
            <p:cNvPr id="41" name="Скругленный прямоугольник 40"/>
            <p:cNvSpPr/>
            <p:nvPr/>
          </p:nvSpPr>
          <p:spPr>
            <a:xfrm>
              <a:off x="186513" y="1723665"/>
              <a:ext cx="2107045" cy="3801277"/>
            </a:xfrm>
            <a:prstGeom prst="roundRect">
              <a:avLst>
                <a:gd name="adj" fmla="val 0"/>
              </a:avLst>
            </a:prstGeom>
            <a:solidFill>
              <a:schemeClr val="accent1">
                <a:lumMod val="60000"/>
                <a:lumOff val="40000"/>
              </a:schemeClr>
            </a:solidFill>
          </p:spPr>
          <p:style>
            <a:lnRef idx="2">
              <a:schemeClr val="lt2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dk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2" name="Скругленный прямоугольник 6"/>
            <p:cNvSpPr/>
            <p:nvPr/>
          </p:nvSpPr>
          <p:spPr>
            <a:xfrm>
              <a:off x="58484" y="1654390"/>
              <a:ext cx="2382876" cy="3677852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8580" tIns="68580" rIns="68580" bIns="68580" numCol="1" spcCol="1270" anchor="ctr" anchorCtr="0">
              <a:noAutofit/>
            </a:bodyPr>
            <a:lstStyle/>
            <a:p>
              <a:pPr marL="0" marR="0" lvl="0" indent="0" algn="ctr" defTabSz="8001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Закупки </a:t>
              </a:r>
            </a:p>
            <a:p>
              <a:pPr marL="0" marR="0" lvl="0" indent="0" algn="ctr" defTabSz="8001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у субъектов МСП</a:t>
              </a:r>
            </a:p>
            <a:p>
              <a:pPr marL="0" marR="0" lvl="0" indent="0" algn="ctr" defTabSz="8001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  <a:p>
              <a:pPr marL="0" marR="0" lvl="0" indent="0" algn="ctr" defTabSz="8001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 </a:t>
              </a:r>
              <a:r>
                <a:rPr kumimoji="0" lang="ru-RU" sz="24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1,83</a:t>
              </a:r>
              <a:endPara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39" name="Скругленный прямоугольник 38"/>
          <p:cNvSpPr/>
          <p:nvPr/>
        </p:nvSpPr>
        <p:spPr>
          <a:xfrm>
            <a:off x="2209500" y="5535032"/>
            <a:ext cx="1858448" cy="1502244"/>
          </a:xfrm>
          <a:prstGeom prst="roundRect">
            <a:avLst>
              <a:gd name="adj" fmla="val 0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40" name="Скругленный прямоугольник 8"/>
          <p:cNvSpPr/>
          <p:nvPr/>
        </p:nvSpPr>
        <p:spPr>
          <a:xfrm>
            <a:off x="2305082" y="5837283"/>
            <a:ext cx="1749584" cy="1026991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8580" tIns="68580" rIns="68580" bIns="68580" numCol="1" spcCol="1270" anchor="ctr" anchorCtr="0">
            <a:noAutofit/>
          </a:bodyPr>
          <a:lstStyle/>
          <a:p>
            <a:pPr marL="0" marR="0" lvl="0" indent="0" algn="ctr" defTabSz="8001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бщая практика  </a:t>
            </a:r>
          </a:p>
          <a:p>
            <a:pPr marL="0" marR="0" lvl="0" indent="0" algn="ctr" defTabSz="8001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 Закону </a:t>
            </a:r>
          </a:p>
          <a:p>
            <a:pPr marL="0" marR="0" lvl="0" indent="0" algn="ctr" defTabSz="8001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№223-ФЗ***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</a:p>
          <a:p>
            <a:pPr marL="0" marR="0" lvl="0" indent="0" algn="ctr" defTabSz="8001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,7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37" name="Скругленный прямоугольник 36"/>
          <p:cNvSpPr/>
          <p:nvPr/>
        </p:nvSpPr>
        <p:spPr>
          <a:xfrm>
            <a:off x="4326644" y="4070989"/>
            <a:ext cx="3924203" cy="1460614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38" name="Скругленный прямоугольник 10"/>
          <p:cNvSpPr/>
          <p:nvPr/>
        </p:nvSpPr>
        <p:spPr>
          <a:xfrm>
            <a:off x="4648018" y="3774452"/>
            <a:ext cx="3355233" cy="1891635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06680" tIns="106680" rIns="106680" bIns="106680" numCol="1" spcCol="1270" anchor="ctr" anchorCtr="0">
            <a:noAutofit/>
          </a:bodyPr>
          <a:lstStyle/>
          <a:p>
            <a:pPr marL="0" marR="0" lvl="0" indent="0" algn="ctr" defTabSz="12446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Экономия</a:t>
            </a:r>
          </a:p>
          <a:p>
            <a:pPr algn="ctr" defTabSz="1244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lang="ru-RU" sz="1400" b="1" i="1" dirty="0">
                <a:solidFill>
                  <a:prstClr val="white"/>
                </a:solidFill>
                <a:latin typeface="Arial Narrow" panose="020B0606020202030204" pitchFamily="34" charset="0"/>
              </a:rPr>
              <a:t>(разница между начальной (максимальной) ценой и ценой заключенного договора) </a:t>
            </a:r>
          </a:p>
        </p:txBody>
      </p:sp>
      <p:sp>
        <p:nvSpPr>
          <p:cNvPr id="35" name="Скругленный прямоугольник 34"/>
          <p:cNvSpPr/>
          <p:nvPr/>
        </p:nvSpPr>
        <p:spPr>
          <a:xfrm>
            <a:off x="4437192" y="5395297"/>
            <a:ext cx="1843530" cy="1545021"/>
          </a:xfrm>
          <a:prstGeom prst="roundRect">
            <a:avLst>
              <a:gd name="adj" fmla="val 0"/>
            </a:avLst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36" name="Скругленный прямоугольник 12"/>
          <p:cNvSpPr/>
          <p:nvPr/>
        </p:nvSpPr>
        <p:spPr>
          <a:xfrm>
            <a:off x="4230878" y="5166525"/>
            <a:ext cx="2152368" cy="2018628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8580" tIns="68580" rIns="68580" bIns="68580" numCol="1" spcCol="1270" anchor="ctr" anchorCtr="0">
            <a:noAutofit/>
          </a:bodyPr>
          <a:lstStyle/>
          <a:p>
            <a:pPr marL="0" marR="0" lvl="0" indent="0" algn="ctr" defTabSz="8001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Закупки </a:t>
            </a:r>
          </a:p>
          <a:p>
            <a:pPr marL="0" marR="0" lvl="0" indent="0" algn="ctr" defTabSz="8001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у субъектов МСП</a:t>
            </a:r>
          </a:p>
          <a:p>
            <a:pPr marL="0" marR="0" lvl="0" indent="0" algn="ctr" defTabSz="8001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1,13%</a:t>
            </a:r>
          </a:p>
        </p:txBody>
      </p:sp>
      <p:sp>
        <p:nvSpPr>
          <p:cNvPr id="33" name="Скругленный прямоугольник 32"/>
          <p:cNvSpPr/>
          <p:nvPr/>
        </p:nvSpPr>
        <p:spPr>
          <a:xfrm>
            <a:off x="6244706" y="5540493"/>
            <a:ext cx="1839808" cy="1496740"/>
          </a:xfrm>
          <a:prstGeom prst="roundRect">
            <a:avLst>
              <a:gd name="adj" fmla="val 0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34" name="Скругленный прямоугольник 14"/>
          <p:cNvSpPr/>
          <p:nvPr/>
        </p:nvSpPr>
        <p:spPr>
          <a:xfrm>
            <a:off x="6425573" y="5829828"/>
            <a:ext cx="1697001" cy="1040912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8580" tIns="68580" rIns="68580" bIns="68580" numCol="1" spcCol="1270" anchor="ctr" anchorCtr="0">
            <a:noAutofit/>
          </a:bodyPr>
          <a:lstStyle/>
          <a:p>
            <a:pPr marL="0" marR="0" lvl="0" indent="0" algn="ctr" defTabSz="8001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бщая практика  </a:t>
            </a:r>
          </a:p>
          <a:p>
            <a:pPr marL="0" marR="0" lvl="0" indent="0" algn="ctr" defTabSz="8001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 Закону </a:t>
            </a:r>
          </a:p>
          <a:p>
            <a:pPr marL="0" marR="0" lvl="0" indent="0" algn="ctr" defTabSz="8001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№223-ФЗ***</a:t>
            </a:r>
          </a:p>
          <a:p>
            <a:pPr marL="0" marR="0" lvl="0" indent="0" algn="ctr" defTabSz="8001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5,3%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31" name="Скругленный прямоугольник 30"/>
          <p:cNvSpPr/>
          <p:nvPr/>
        </p:nvSpPr>
        <p:spPr>
          <a:xfrm>
            <a:off x="8393817" y="4070988"/>
            <a:ext cx="3924333" cy="1456169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32" name="Скругленный прямоугольник 16"/>
          <p:cNvSpPr/>
          <p:nvPr/>
        </p:nvSpPr>
        <p:spPr>
          <a:xfrm>
            <a:off x="8643647" y="3767997"/>
            <a:ext cx="3639302" cy="1891635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06680" tIns="106680" rIns="106680" bIns="106680" numCol="1" spcCol="1270" anchor="ctr" anchorCtr="0">
            <a:noAutofit/>
          </a:bodyPr>
          <a:lstStyle/>
          <a:p>
            <a:pPr algn="ctr" defTabSz="1244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lang="ru-RU" b="1" dirty="0">
                <a:solidFill>
                  <a:schemeClr val="bg1"/>
                </a:solidFill>
                <a:latin typeface="Arial Narrow" panose="020B0606020202030204" pitchFamily="34" charset="0"/>
              </a:rPr>
              <a:t>Закупки </a:t>
            </a:r>
          </a:p>
          <a:p>
            <a:pPr algn="ctr" defTabSz="1244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lang="ru-RU" b="1" dirty="0">
                <a:solidFill>
                  <a:schemeClr val="bg1"/>
                </a:solidFill>
                <a:latin typeface="Arial Narrow" panose="020B0606020202030204" pitchFamily="34" charset="0"/>
              </a:rPr>
              <a:t>у единственного поставщика</a:t>
            </a:r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8502958" y="5955843"/>
            <a:ext cx="1850199" cy="1518622"/>
          </a:xfrm>
          <a:prstGeom prst="roundRect">
            <a:avLst>
              <a:gd name="adj" fmla="val 10000"/>
            </a:avLst>
          </a:prstGeom>
          <a:noFill/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9" name="Скругленный прямоугольник 18"/>
          <p:cNvSpPr/>
          <p:nvPr/>
        </p:nvSpPr>
        <p:spPr>
          <a:xfrm>
            <a:off x="8483768" y="5394158"/>
            <a:ext cx="2087707" cy="1570287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8580" tIns="68580" rIns="68580" bIns="68580" numCol="1" spcCol="1270" anchor="ctr" anchorCtr="0">
            <a:noAutofit/>
          </a:bodyPr>
          <a:lstStyle/>
          <a:p>
            <a:pPr marL="0" marR="0" lvl="0" indent="0" algn="ctr" defTabSz="8001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Закупки </a:t>
            </a:r>
          </a:p>
          <a:p>
            <a:pPr marL="0" marR="0" lvl="0" indent="0" algn="ctr" defTabSz="8001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у субъектов МСП </a:t>
            </a:r>
          </a:p>
          <a:p>
            <a:pPr marL="0" marR="0" lvl="0" indent="0" algn="ctr" defTabSz="8001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5,68%</a:t>
            </a:r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10502900" y="5529384"/>
            <a:ext cx="1780049" cy="1496740"/>
          </a:xfrm>
          <a:prstGeom prst="roundRect">
            <a:avLst>
              <a:gd name="adj" fmla="val 0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7" name="Скругленный прямоугольник 20"/>
          <p:cNvSpPr/>
          <p:nvPr/>
        </p:nvSpPr>
        <p:spPr>
          <a:xfrm>
            <a:off x="10344506" y="5669557"/>
            <a:ext cx="2035703" cy="1332686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8580" tIns="68580" rIns="68580" bIns="68580" numCol="1" spcCol="1270" anchor="ctr" anchorCtr="0">
            <a:noAutofit/>
          </a:bodyPr>
          <a:lstStyle/>
          <a:p>
            <a:pPr marL="0" marR="0" lvl="0" indent="0" algn="ctr" defTabSz="8001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бщая практика  </a:t>
            </a:r>
          </a:p>
          <a:p>
            <a:pPr marL="0" marR="0" lvl="0" indent="0" algn="ctr" defTabSz="8001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 Закону </a:t>
            </a:r>
          </a:p>
          <a:p>
            <a:pPr marL="0" marR="0" lvl="0" indent="0" algn="ctr" defTabSz="8001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№223-ФЗ***                  </a:t>
            </a: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51,6% 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8454362" y="7313802"/>
            <a:ext cx="180369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8001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на 25,92%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иже) </a:t>
            </a:r>
          </a:p>
        </p:txBody>
      </p:sp>
      <p:cxnSp>
        <p:nvCxnSpPr>
          <p:cNvPr id="73" name="Прямая соединительная линия 72"/>
          <p:cNvCxnSpPr/>
          <p:nvPr/>
        </p:nvCxnSpPr>
        <p:spPr>
          <a:xfrm>
            <a:off x="371402" y="945413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Прямоугольник 4"/>
          <p:cNvSpPr/>
          <p:nvPr/>
        </p:nvSpPr>
        <p:spPr>
          <a:xfrm>
            <a:off x="4346586" y="7301350"/>
            <a:ext cx="187262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8001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в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,1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аза выше) 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358252" y="7290208"/>
            <a:ext cx="1872629" cy="369332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/>
          <a:p>
            <a:pPr marL="0" marR="0" lvl="0" indent="0" algn="ctr" defTabSz="8001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в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,1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аза выше) </a:t>
            </a:r>
          </a:p>
        </p:txBody>
      </p:sp>
      <p:cxnSp>
        <p:nvCxnSpPr>
          <p:cNvPr id="74" name="Прямая соединительная линия 73"/>
          <p:cNvCxnSpPr/>
          <p:nvPr/>
        </p:nvCxnSpPr>
        <p:spPr>
          <a:xfrm flipV="1">
            <a:off x="283442" y="7267478"/>
            <a:ext cx="3863756" cy="1479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Прямая соединительная линия 74"/>
          <p:cNvCxnSpPr/>
          <p:nvPr/>
        </p:nvCxnSpPr>
        <p:spPr>
          <a:xfrm flipV="1">
            <a:off x="4257479" y="7272439"/>
            <a:ext cx="3863756" cy="1479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Прямая соединительная линия 75"/>
          <p:cNvCxnSpPr/>
          <p:nvPr/>
        </p:nvCxnSpPr>
        <p:spPr>
          <a:xfrm flipV="1">
            <a:off x="8448894" y="7267478"/>
            <a:ext cx="3863756" cy="1479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L-Shape 10"/>
          <p:cNvSpPr/>
          <p:nvPr/>
        </p:nvSpPr>
        <p:spPr>
          <a:xfrm rot="18863415">
            <a:off x="1122317" y="6921266"/>
            <a:ext cx="209436" cy="197539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E558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54" name="L-Shape 10"/>
          <p:cNvSpPr/>
          <p:nvPr/>
        </p:nvSpPr>
        <p:spPr>
          <a:xfrm rot="18863415">
            <a:off x="5214157" y="6916625"/>
            <a:ext cx="209436" cy="197539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E558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58" name="L-Shape 10"/>
          <p:cNvSpPr/>
          <p:nvPr/>
        </p:nvSpPr>
        <p:spPr>
          <a:xfrm rot="18863415">
            <a:off x="9301423" y="6934663"/>
            <a:ext cx="209436" cy="197539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E558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pic>
        <p:nvPicPr>
          <p:cNvPr id="59" name="Рисунок 58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10779279" y="50340"/>
            <a:ext cx="1525280" cy="790590"/>
          </a:xfrm>
          <a:prstGeom prst="rect">
            <a:avLst/>
          </a:prstGeom>
        </p:spPr>
      </p:pic>
      <p:sp>
        <p:nvSpPr>
          <p:cNvPr id="62" name="Скругленный прямоугольник 6"/>
          <p:cNvSpPr/>
          <p:nvPr/>
        </p:nvSpPr>
        <p:spPr>
          <a:xfrm>
            <a:off x="3108124" y="2193101"/>
            <a:ext cx="825587" cy="290421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72390" tIns="36195" rIns="72390" bIns="36195" numCol="1" spcCol="1270" anchor="ctr" anchorCtr="0">
            <a:noAutofit/>
          </a:bodyPr>
          <a:lstStyle/>
          <a:p>
            <a:pPr marL="0" marR="0" lvl="0" indent="0" algn="ctr" defTabSz="8445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ru-RU" sz="1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63" name="Стрелка вправо 8"/>
          <p:cNvSpPr/>
          <p:nvPr/>
        </p:nvSpPr>
        <p:spPr>
          <a:xfrm>
            <a:off x="3816343" y="2222087"/>
            <a:ext cx="8498416" cy="876100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72000" tIns="72000" rIns="72000" bIns="72000" numCol="1" spcCol="1270" anchor="ctr" anchorCtr="0">
            <a:noAutofit/>
          </a:bodyPr>
          <a:lstStyle/>
          <a:p>
            <a:pPr marL="285750" lvl="1" indent="-285750" algn="just" defTabSz="7112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 typeface="Wingdings" panose="05000000000000000000" pitchFamily="2" charset="2"/>
              <a:buChar char="ü"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Arial Narrow" panose="020B0606020202030204" pitchFamily="34" charset="0"/>
              </a:rPr>
              <a:t>159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Arial Narrow" panose="020B0606020202030204" pitchFamily="34" charset="0"/>
              </a:rPr>
              <a:t>пар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Arial Narrow" panose="020B0606020202030204" pitchFamily="34" charset="0"/>
              </a:rPr>
              <a:t>(поставщик+заказчик) имеют косвенную аффилированность между собой через общие номера телефонов или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Arial Narrow" panose="020B0606020202030204" pitchFamily="34" charset="0"/>
              </a:rPr>
              <a:t>адреса.</a:t>
            </a:r>
            <a:r>
              <a:rPr kumimoji="0" lang="ru-RU" sz="1400" b="0" i="0" u="none" strike="noStrike" kern="1200" cap="none" spc="0" normalizeH="0" noProof="0" dirty="0" smtClean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Arial Narrow" panose="020B0606020202030204" pitchFamily="34" charset="0"/>
              </a:rPr>
              <a:t> </a:t>
            </a:r>
            <a:r>
              <a:rPr lang="ru-RU" sz="1400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Объем заключенных договоров - </a:t>
            </a:r>
            <a:r>
              <a:rPr lang="ru-RU" sz="1400" b="1" dirty="0" smtClean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12,5 млрд </a:t>
            </a:r>
            <a:r>
              <a:rPr lang="ru-RU" sz="14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рублей </a:t>
            </a:r>
            <a:r>
              <a:rPr lang="ru-RU" sz="1400" b="1" dirty="0" smtClean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(0,6 %</a:t>
            </a:r>
            <a:r>
              <a:rPr lang="ru-RU" sz="1400" dirty="0" smtClean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sz="1400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от общего объема закупок у субъектов МСП за 2017 год</a:t>
            </a:r>
            <a:r>
              <a:rPr lang="ru-RU" sz="1400" dirty="0" smtClean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)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67" name="Стрелка вправо 12"/>
          <p:cNvSpPr/>
          <p:nvPr/>
        </p:nvSpPr>
        <p:spPr>
          <a:xfrm>
            <a:off x="3805859" y="3049904"/>
            <a:ext cx="8551241" cy="966558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72000" tIns="72000" rIns="72000" bIns="72000" numCol="1" spcCol="1270" anchor="ctr" anchorCtr="0">
            <a:noAutofit/>
          </a:bodyPr>
          <a:lstStyle/>
          <a:p>
            <a:pPr marL="285750" lvl="1" indent="-285750" algn="just" defTabSz="7112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 typeface="Wingdings" panose="05000000000000000000" pitchFamily="2" charset="2"/>
              <a:buChar char="ü"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cs typeface="Arial" panose="020B0604020202020204" pitchFamily="34" charset="0"/>
              </a:rPr>
              <a:t>Наибольший объем закупок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cs typeface="Arial" panose="020B0604020202020204" pitchFamily="34" charset="0"/>
              </a:rPr>
              <a:t>(145,14 млрд руб.)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cs typeface="Arial" panose="020B0604020202020204" pitchFamily="34" charset="0"/>
              </a:rPr>
              <a:t>выявлен у субъектов МСП- поставщ</a:t>
            </a:r>
            <a:r>
              <a:rPr lang="ru-RU" sz="1400" noProof="0" dirty="0" smtClean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иков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cs typeface="Arial" panose="020B0604020202020204" pitchFamily="34" charset="0"/>
              </a:rPr>
              <a:t>, созданных в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cs typeface="Arial" panose="020B0604020202020204" pitchFamily="34" charset="0"/>
              </a:rPr>
              <a:t>2006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cs typeface="Arial" panose="020B0604020202020204" pitchFamily="34" charset="0"/>
              </a:rPr>
              <a:t>году,                     </a:t>
            </a:r>
            <a:r>
              <a:rPr lang="ru-RU" sz="1400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что составляет </a:t>
            </a:r>
            <a:r>
              <a:rPr lang="ru-RU" sz="1400" b="1" dirty="0" smtClean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6,9%</a:t>
            </a:r>
            <a:r>
              <a:rPr lang="ru-RU" sz="1400" dirty="0" smtClean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sz="1400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от общего объема закупок у субъектов МСП за 2017 </a:t>
            </a:r>
            <a:r>
              <a:rPr lang="ru-RU" sz="1400" dirty="0" smtClean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год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marL="285750" lvl="1" indent="-285750" algn="just" defTabSz="7112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 typeface="Wingdings" panose="05000000000000000000" pitchFamily="2" charset="2"/>
              <a:buChar char="ü"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cs typeface="Arial" panose="020B0604020202020204" pitchFamily="34" charset="0"/>
              </a:rPr>
              <a:t>Наибольший объем закупок у единственного поставщика- субъекта МСП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cs typeface="Arial" panose="020B0604020202020204" pitchFamily="34" charset="0"/>
              </a:rPr>
              <a:t>(53,3 млрд руб.)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cs typeface="Arial" panose="020B0604020202020204" pitchFamily="34" charset="0"/>
              </a:rPr>
              <a:t> выявлен у субъектов МСП, созданных в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cs typeface="Arial" panose="020B0604020202020204" pitchFamily="34" charset="0"/>
              </a:rPr>
              <a:t>2010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cs typeface="Arial" panose="020B0604020202020204" pitchFamily="34" charset="0"/>
              </a:rPr>
              <a:t> году, </a:t>
            </a:r>
            <a:r>
              <a:rPr lang="ru-RU" sz="1400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что составляет </a:t>
            </a:r>
            <a:r>
              <a:rPr lang="ru-RU" sz="1400" b="1" dirty="0" smtClean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2,5%</a:t>
            </a:r>
            <a:r>
              <a:rPr lang="ru-RU" sz="1400" dirty="0" smtClean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sz="1400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от общего объема закупок у субъектов МСП за 2017 </a:t>
            </a:r>
            <a:r>
              <a:rPr lang="ru-RU" sz="1400" dirty="0" smtClean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год</a:t>
            </a:r>
            <a:endParaRPr lang="ru-RU" sz="14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grpSp>
        <p:nvGrpSpPr>
          <p:cNvPr id="72" name="Группа 71"/>
          <p:cNvGrpSpPr/>
          <p:nvPr/>
        </p:nvGrpSpPr>
        <p:grpSpPr>
          <a:xfrm>
            <a:off x="292960" y="1017636"/>
            <a:ext cx="3459108" cy="1166764"/>
            <a:chOff x="704616" y="8937308"/>
            <a:chExt cx="1483863" cy="425360"/>
          </a:xfrm>
        </p:grpSpPr>
        <p:sp>
          <p:nvSpPr>
            <p:cNvPr id="77" name="Pentagon 35"/>
            <p:cNvSpPr/>
            <p:nvPr/>
          </p:nvSpPr>
          <p:spPr>
            <a:xfrm>
              <a:off x="785545" y="8937308"/>
              <a:ext cx="1402934" cy="425360"/>
            </a:xfrm>
            <a:prstGeom prst="homePlate">
              <a:avLst>
                <a:gd name="adj" fmla="val 17132"/>
              </a:avLst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78" name="Pentagon 37"/>
            <p:cNvSpPr/>
            <p:nvPr/>
          </p:nvSpPr>
          <p:spPr>
            <a:xfrm>
              <a:off x="704616" y="8937308"/>
              <a:ext cx="1434268" cy="425360"/>
            </a:xfrm>
            <a:prstGeom prst="homePlate">
              <a:avLst>
                <a:gd name="adj" fmla="val 18264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algn="ctr" defTabSz="6223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 panose="020B0604020202020204" pitchFamily="34" charset="0"/>
                </a:rPr>
                <a:t>Участие заказчика </a:t>
              </a:r>
            </a:p>
            <a:p>
              <a:pPr marL="0" marR="0" lvl="0" indent="0" algn="ctr" defTabSz="6223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 panose="020B0604020202020204" pitchFamily="34" charset="0"/>
                </a:rPr>
                <a:t>в уставном капитале субъекта </a:t>
              </a:r>
              <a:r>
                <a:rPr kumimoji="0" lang="ru-RU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 panose="020B0604020202020204" pitchFamily="34" charset="0"/>
                </a:rPr>
                <a:t>МСП</a:t>
              </a:r>
              <a:endPara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79" name="Прямоугольник 78"/>
          <p:cNvSpPr/>
          <p:nvPr/>
        </p:nvSpPr>
        <p:spPr>
          <a:xfrm>
            <a:off x="3782910" y="926268"/>
            <a:ext cx="8599590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cs typeface="Arial" panose="020B0604020202020204" pitchFamily="34" charset="0"/>
              </a:rPr>
              <a:t>138 поставщиков (0,29%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cs typeface="Arial" panose="020B0604020202020204" pitchFamily="34" charset="0"/>
              </a:rPr>
              <a:t>от общего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cs typeface="Arial" panose="020B0604020202020204" pitchFamily="34" charset="0"/>
              </a:rPr>
              <a:t>кол-ва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cs typeface="Arial" panose="020B0604020202020204" pitchFamily="34" charset="0"/>
              </a:rPr>
              <a:t>поставщиков) имеют прямую связь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cs typeface="Arial" panose="020B0604020202020204" pitchFamily="34" charset="0"/>
              </a:rPr>
              <a:t>с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cs typeface="Arial" panose="020B0604020202020204" pitchFamily="34" charset="0"/>
              </a:rPr>
              <a:t>заказчиками через владение долями в уставном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cs typeface="Arial" panose="020B0604020202020204" pitchFamily="34" charset="0"/>
              </a:rPr>
              <a:t>капитале. Объем заключенных договоров</a:t>
            </a:r>
            <a:r>
              <a:rPr kumimoji="0" lang="ru-RU" sz="1400" b="0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cs typeface="Arial" panose="020B0604020202020204" pitchFamily="34" charset="0"/>
              </a:rPr>
              <a:t> - </a:t>
            </a:r>
            <a:r>
              <a:rPr kumimoji="0" lang="ru-RU" sz="1400" b="1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cs typeface="Arial" panose="020B0604020202020204" pitchFamily="34" charset="0"/>
              </a:rPr>
              <a:t>36,9 млрд рублей </a:t>
            </a:r>
            <a:r>
              <a:rPr kumimoji="0" lang="ru-RU" sz="1400" b="0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cs typeface="Arial" panose="020B0604020202020204" pitchFamily="34" charset="0"/>
              </a:rPr>
              <a:t>(</a:t>
            </a:r>
            <a:r>
              <a:rPr kumimoji="0" lang="ru-RU" sz="1400" b="1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cs typeface="Arial" panose="020B0604020202020204" pitchFamily="34" charset="0"/>
              </a:rPr>
              <a:t>1,76%</a:t>
            </a:r>
            <a:r>
              <a:rPr kumimoji="0" lang="ru-RU" sz="1400" b="0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cs typeface="Arial" panose="020B0604020202020204" pitchFamily="34" charset="0"/>
              </a:rPr>
              <a:t> от общего объема закупок у субъектов МСП за 2017 год)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cs typeface="Arial" panose="020B0604020202020204" pitchFamily="34" charset="0"/>
              </a:rPr>
              <a:t>14 поставщиков (0,03%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cs typeface="Arial" panose="020B0604020202020204" pitchFamily="34" charset="0"/>
              </a:rPr>
              <a:t>от общего кол-ва поставщиков) имеют прямую связь с заказчиками через органы управления. Объем заключенных</a:t>
            </a:r>
            <a:r>
              <a:rPr kumimoji="0" lang="ru-RU" sz="1400" b="0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cs typeface="Arial" panose="020B0604020202020204" pitchFamily="34" charset="0"/>
              </a:rPr>
              <a:t> договоров - </a:t>
            </a:r>
            <a:r>
              <a:rPr lang="ru-RU" sz="1400" b="1" dirty="0" smtClean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2,9 млрд </a:t>
            </a:r>
            <a:r>
              <a:rPr lang="ru-RU" sz="14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рублей </a:t>
            </a:r>
            <a:r>
              <a:rPr lang="ru-RU" sz="1400" b="1" dirty="0" smtClean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(0,14%</a:t>
            </a:r>
            <a:r>
              <a:rPr lang="ru-RU" sz="1400" dirty="0" smtClean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sz="1400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от общего объема закупок у субъектов МСП за 2017 год</a:t>
            </a:r>
            <a:r>
              <a:rPr lang="ru-RU" sz="1400" dirty="0" smtClean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)</a:t>
            </a:r>
            <a:endParaRPr lang="ru-RU" sz="14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grpSp>
        <p:nvGrpSpPr>
          <p:cNvPr id="80" name="Группа 79"/>
          <p:cNvGrpSpPr/>
          <p:nvPr/>
        </p:nvGrpSpPr>
        <p:grpSpPr>
          <a:xfrm>
            <a:off x="292959" y="2260600"/>
            <a:ext cx="3469358" cy="760704"/>
            <a:chOff x="720984" y="9045108"/>
            <a:chExt cx="1488260" cy="425360"/>
          </a:xfrm>
        </p:grpSpPr>
        <p:sp>
          <p:nvSpPr>
            <p:cNvPr id="81" name="Pentagon 35"/>
            <p:cNvSpPr/>
            <p:nvPr/>
          </p:nvSpPr>
          <p:spPr>
            <a:xfrm>
              <a:off x="806310" y="9045821"/>
              <a:ext cx="1402934" cy="421495"/>
            </a:xfrm>
            <a:prstGeom prst="homePlate">
              <a:avLst>
                <a:gd name="adj" fmla="val 22714"/>
              </a:avLst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82" name="Pentagon 37"/>
            <p:cNvSpPr/>
            <p:nvPr/>
          </p:nvSpPr>
          <p:spPr>
            <a:xfrm>
              <a:off x="720984" y="9045108"/>
              <a:ext cx="1438863" cy="425360"/>
            </a:xfrm>
            <a:prstGeom prst="homePlate">
              <a:avLst>
                <a:gd name="adj" fmla="val 22714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algn="ctr" defTabSz="6223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 panose="020B0604020202020204" pitchFamily="34" charset="0"/>
                </a:rPr>
                <a:t>Совпадение юридических адресов </a:t>
              </a:r>
            </a:p>
            <a:p>
              <a:pPr marL="0" marR="0" lvl="0" indent="0" algn="ctr" defTabSz="6223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 panose="020B0604020202020204" pitchFamily="34" charset="0"/>
                </a:rPr>
                <a:t>и телефонов </a:t>
              </a:r>
              <a:r>
                <a:rPr kumimoji="0" lang="ru-RU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 panose="020B0604020202020204" pitchFamily="34" charset="0"/>
                </a:rPr>
                <a:t>поставщиков</a:t>
              </a:r>
              <a:endPara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83" name="Группа 82"/>
          <p:cNvGrpSpPr/>
          <p:nvPr/>
        </p:nvGrpSpPr>
        <p:grpSpPr>
          <a:xfrm>
            <a:off x="296232" y="3111500"/>
            <a:ext cx="3459108" cy="779275"/>
            <a:chOff x="704616" y="8937308"/>
            <a:chExt cx="1483863" cy="425360"/>
          </a:xfrm>
        </p:grpSpPr>
        <p:sp>
          <p:nvSpPr>
            <p:cNvPr id="84" name="Pentagon 35"/>
            <p:cNvSpPr/>
            <p:nvPr/>
          </p:nvSpPr>
          <p:spPr>
            <a:xfrm>
              <a:off x="785545" y="8937308"/>
              <a:ext cx="1402934" cy="425360"/>
            </a:xfrm>
            <a:prstGeom prst="homePlate">
              <a:avLst>
                <a:gd name="adj" fmla="val 22714"/>
              </a:avLst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85" name="Pentagon 37"/>
            <p:cNvSpPr/>
            <p:nvPr/>
          </p:nvSpPr>
          <p:spPr>
            <a:xfrm>
              <a:off x="704616" y="8937308"/>
              <a:ext cx="1429755" cy="425360"/>
            </a:xfrm>
            <a:prstGeom prst="homePlate">
              <a:avLst>
                <a:gd name="adj" fmla="val 22714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algn="ctr" defTabSz="6223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 panose="020B0604020202020204" pitchFamily="34" charset="0"/>
                </a:rPr>
                <a:t>Дата создания (регистрации) </a:t>
              </a:r>
            </a:p>
            <a:p>
              <a:pPr marL="0" marR="0" lvl="0" indent="0" algn="ctr" defTabSz="6223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 panose="020B0604020202020204" pitchFamily="34" charset="0"/>
                </a:rPr>
                <a:t>субъекта МСП </a:t>
              </a:r>
              <a:r>
                <a:rPr kumimoji="0" lang="ru-RU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 panose="020B0604020202020204" pitchFamily="34" charset="0"/>
                </a:rPr>
                <a:t>– поставщика</a:t>
              </a:r>
              <a:endPara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52" name="Прямоугольник 51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200" dirty="0" smtClean="0">
                <a:latin typeface="Arial Narrow" panose="020B0606020202030204" pitchFamily="34" charset="0"/>
              </a:rPr>
              <a:t>7</a:t>
            </a:r>
            <a:endParaRPr lang="ru-RU" sz="1200" dirty="0"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738035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4" name="Прямая соединительная линия 53"/>
          <p:cNvCxnSpPr/>
          <p:nvPr/>
        </p:nvCxnSpPr>
        <p:spPr>
          <a:xfrm flipV="1">
            <a:off x="6554240" y="2771811"/>
            <a:ext cx="0" cy="971364"/>
          </a:xfrm>
          <a:prstGeom prst="line">
            <a:avLst/>
          </a:prstGeom>
          <a:ln w="476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Полилиния 48"/>
          <p:cNvSpPr/>
          <p:nvPr/>
        </p:nvSpPr>
        <p:spPr>
          <a:xfrm>
            <a:off x="301308" y="1017140"/>
            <a:ext cx="3500129" cy="6133672"/>
          </a:xfrm>
          <a:custGeom>
            <a:avLst/>
            <a:gdLst>
              <a:gd name="connsiteX0" fmla="*/ 0 w 7800975"/>
              <a:gd name="connsiteY0" fmla="*/ 0 h 1311975"/>
              <a:gd name="connsiteX1" fmla="*/ 7800975 w 7800975"/>
              <a:gd name="connsiteY1" fmla="*/ 0 h 1311975"/>
              <a:gd name="connsiteX2" fmla="*/ 7800975 w 7800975"/>
              <a:gd name="connsiteY2" fmla="*/ 1311975 h 1311975"/>
              <a:gd name="connsiteX3" fmla="*/ 0 w 7800975"/>
              <a:gd name="connsiteY3" fmla="*/ 1311975 h 1311975"/>
              <a:gd name="connsiteX4" fmla="*/ 0 w 7800975"/>
              <a:gd name="connsiteY4" fmla="*/ 0 h 1311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0975" h="1311975">
                <a:moveTo>
                  <a:pt x="0" y="0"/>
                </a:moveTo>
                <a:lnTo>
                  <a:pt x="7800975" y="0"/>
                </a:lnTo>
                <a:lnTo>
                  <a:pt x="7800975" y="1311975"/>
                </a:lnTo>
                <a:lnTo>
                  <a:pt x="0" y="1311975"/>
                </a:lnTo>
                <a:lnTo>
                  <a:pt x="0" y="0"/>
                </a:lnTo>
                <a:close/>
              </a:path>
            </a:pathLst>
          </a:custGeom>
          <a:solidFill>
            <a:srgbClr val="A2C9F4">
              <a:alpha val="90000"/>
            </a:srgb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108000" rIns="108000" bIns="108000" numCol="1" spcCol="1270" anchor="t" anchorCtr="0">
            <a:noAutofit/>
          </a:bodyPr>
          <a:lstStyle/>
          <a:p>
            <a:pPr marL="171450" marR="0" lvl="0" indent="-17145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39" name="Полилиния 38"/>
          <p:cNvSpPr/>
          <p:nvPr/>
        </p:nvSpPr>
        <p:spPr>
          <a:xfrm>
            <a:off x="9065706" y="1017142"/>
            <a:ext cx="3231109" cy="6143946"/>
          </a:xfrm>
          <a:custGeom>
            <a:avLst/>
            <a:gdLst>
              <a:gd name="connsiteX0" fmla="*/ 0 w 7800975"/>
              <a:gd name="connsiteY0" fmla="*/ 0 h 1311975"/>
              <a:gd name="connsiteX1" fmla="*/ 7800975 w 7800975"/>
              <a:gd name="connsiteY1" fmla="*/ 0 h 1311975"/>
              <a:gd name="connsiteX2" fmla="*/ 7800975 w 7800975"/>
              <a:gd name="connsiteY2" fmla="*/ 1311975 h 1311975"/>
              <a:gd name="connsiteX3" fmla="*/ 0 w 7800975"/>
              <a:gd name="connsiteY3" fmla="*/ 1311975 h 1311975"/>
              <a:gd name="connsiteX4" fmla="*/ 0 w 7800975"/>
              <a:gd name="connsiteY4" fmla="*/ 0 h 1311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0975" h="1311975">
                <a:moveTo>
                  <a:pt x="0" y="0"/>
                </a:moveTo>
                <a:lnTo>
                  <a:pt x="7800975" y="0"/>
                </a:lnTo>
                <a:lnTo>
                  <a:pt x="7800975" y="1311975"/>
                </a:lnTo>
                <a:lnTo>
                  <a:pt x="0" y="1311975"/>
                </a:lnTo>
                <a:lnTo>
                  <a:pt x="0" y="0"/>
                </a:lnTo>
                <a:close/>
              </a:path>
            </a:pathLst>
          </a:custGeom>
          <a:solidFill>
            <a:srgbClr val="A2C9F4">
              <a:alpha val="90000"/>
            </a:srgb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108000" rIns="108000" bIns="108000" numCol="1" spcCol="1270" anchor="t" anchorCtr="0">
            <a:noAutofit/>
          </a:bodyPr>
          <a:lstStyle/>
          <a:p>
            <a:pPr marL="171450" marR="0" lvl="0" indent="-17145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759624" y="122048"/>
            <a:ext cx="8442156" cy="666162"/>
          </a:xfrm>
          <a:prstGeom prst="rect">
            <a:avLst/>
          </a:prstGeom>
          <a:noFill/>
        </p:spPr>
        <p:txBody>
          <a:bodyPr wrap="none" lIns="72000" tIns="36000" rIns="0" bIns="3600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Интеграция информационных систем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для оказания поддержки субъектам МСП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Times New Roman" panose="02020603050405020304" pitchFamily="18" charset="0"/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pic>
        <p:nvPicPr>
          <p:cNvPr id="32" name="Рисунок 31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9132551" y="1102045"/>
            <a:ext cx="3098910" cy="1318650"/>
          </a:xfrm>
          <a:prstGeom prst="rect">
            <a:avLst/>
          </a:prstGeom>
          <a:ln>
            <a:solidFill>
              <a:schemeClr val="bg2"/>
            </a:solidFill>
          </a:ln>
          <a:effectLst/>
        </p:spPr>
      </p:pic>
      <p:pic>
        <p:nvPicPr>
          <p:cNvPr id="33" name="Рисунок 3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sp>
        <p:nvSpPr>
          <p:cNvPr id="40" name="Прямоугольник 39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8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282575" y="900113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Рисунок 2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5133617" y="1292186"/>
            <a:ext cx="2827434" cy="1182842"/>
          </a:xfrm>
          <a:prstGeom prst="rect">
            <a:avLst/>
          </a:prstGeom>
          <a:ln>
            <a:solidFill>
              <a:srgbClr val="E7F5FE"/>
            </a:solidFill>
          </a:ln>
          <a:effectLst/>
        </p:spPr>
      </p:pic>
      <p:sp>
        <p:nvSpPr>
          <p:cNvPr id="36" name="Полилиния 35"/>
          <p:cNvSpPr/>
          <p:nvPr/>
        </p:nvSpPr>
        <p:spPr>
          <a:xfrm>
            <a:off x="9119706" y="2767256"/>
            <a:ext cx="3121027" cy="941713"/>
          </a:xfrm>
          <a:custGeom>
            <a:avLst/>
            <a:gdLst>
              <a:gd name="connsiteX0" fmla="*/ 0 w 7800975"/>
              <a:gd name="connsiteY0" fmla="*/ 0 h 1311975"/>
              <a:gd name="connsiteX1" fmla="*/ 7800975 w 7800975"/>
              <a:gd name="connsiteY1" fmla="*/ 0 h 1311975"/>
              <a:gd name="connsiteX2" fmla="*/ 7800975 w 7800975"/>
              <a:gd name="connsiteY2" fmla="*/ 1311975 h 1311975"/>
              <a:gd name="connsiteX3" fmla="*/ 0 w 7800975"/>
              <a:gd name="connsiteY3" fmla="*/ 1311975 h 1311975"/>
              <a:gd name="connsiteX4" fmla="*/ 0 w 7800975"/>
              <a:gd name="connsiteY4" fmla="*/ 0 h 1311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0975" h="1311975">
                <a:moveTo>
                  <a:pt x="0" y="0"/>
                </a:moveTo>
                <a:lnTo>
                  <a:pt x="7800975" y="0"/>
                </a:lnTo>
                <a:lnTo>
                  <a:pt x="7800975" y="1311975"/>
                </a:lnTo>
                <a:lnTo>
                  <a:pt x="0" y="131197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108000" rIns="108000" bIns="108000" numCol="1" spcCol="1270" anchor="b" anchorCtr="0">
            <a:noAutofit/>
          </a:bodyPr>
          <a:lstStyle/>
          <a:p>
            <a:pPr marL="171450" marR="0" lvl="1" indent="-171450" algn="just" defTabSz="711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ru-RU" sz="1100" b="1" i="0" u="none" strike="noStrike" kern="1200" cap="none" spc="0" normalizeH="0" baseline="0" noProof="0" dirty="0" smtClean="0">
              <a:ln>
                <a:noFill/>
              </a:ln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171450" marR="0" lvl="1" indent="-171450" algn="just" defTabSz="711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ru-RU" sz="11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171450" marR="0" lvl="1" indent="-171450" algn="just" defTabSz="711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ru-RU" sz="1100" b="1" i="0" u="none" strike="noStrike" kern="1200" cap="none" spc="0" normalizeH="0" baseline="0" noProof="0" dirty="0" smtClean="0">
              <a:ln>
                <a:noFill/>
              </a:ln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171450" marR="0" lvl="1" indent="-171450" algn="just" defTabSz="711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ru-RU" sz="11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171450" marR="0" lvl="1" indent="-171450" algn="just" defTabSz="711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ru-RU" sz="1100" b="1" i="0" u="none" strike="noStrike" kern="1200" cap="none" spc="0" normalizeH="0" baseline="0" noProof="0" dirty="0" smtClean="0">
              <a:ln>
                <a:noFill/>
              </a:ln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171450" marR="0" lvl="1" indent="-171450" algn="just" defTabSz="711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ru-RU" sz="11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171450" marR="0" lvl="1" indent="-171450" algn="just" defTabSz="711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ru-RU" sz="1100" b="1" i="0" u="none" strike="noStrike" kern="1200" cap="none" spc="0" normalizeH="0" baseline="0" noProof="0" dirty="0" smtClean="0">
              <a:ln>
                <a:noFill/>
              </a:ln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171450" marR="0" lvl="1" indent="-171450" algn="just" defTabSz="711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 категории </a:t>
            </a: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убъекта МСП (микропредприятие, малое предприятие или среднее предприятие);</a:t>
            </a: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171450" marR="0" lvl="1" indent="-171450" algn="just" defTabSz="711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 лицензиях</a:t>
            </a: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, полученных юридическим лицом, индивидуальным предпринимателем.</a:t>
            </a:r>
            <a:endParaRPr kumimoji="0" lang="ru-RU" sz="11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38" name="Полилиния 37"/>
          <p:cNvSpPr/>
          <p:nvPr/>
        </p:nvSpPr>
        <p:spPr>
          <a:xfrm>
            <a:off x="9132552" y="3940605"/>
            <a:ext cx="3098910" cy="2213618"/>
          </a:xfrm>
          <a:custGeom>
            <a:avLst/>
            <a:gdLst>
              <a:gd name="connsiteX0" fmla="*/ 0 w 7800975"/>
              <a:gd name="connsiteY0" fmla="*/ 0 h 1981350"/>
              <a:gd name="connsiteX1" fmla="*/ 7800975 w 7800975"/>
              <a:gd name="connsiteY1" fmla="*/ 0 h 1981350"/>
              <a:gd name="connsiteX2" fmla="*/ 7800975 w 7800975"/>
              <a:gd name="connsiteY2" fmla="*/ 1981350 h 1981350"/>
              <a:gd name="connsiteX3" fmla="*/ 0 w 7800975"/>
              <a:gd name="connsiteY3" fmla="*/ 1981350 h 1981350"/>
              <a:gd name="connsiteX4" fmla="*/ 0 w 7800975"/>
              <a:gd name="connsiteY4" fmla="*/ 0 h 1981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0975" h="1981350">
                <a:moveTo>
                  <a:pt x="0" y="0"/>
                </a:moveTo>
                <a:lnTo>
                  <a:pt x="7800975" y="0"/>
                </a:lnTo>
                <a:lnTo>
                  <a:pt x="7800975" y="1981350"/>
                </a:lnTo>
                <a:lnTo>
                  <a:pt x="0" y="198135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  <a:alpha val="90000"/>
            </a:schemeClr>
          </a:solidFill>
          <a:ln w="3175">
            <a:noFill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108000" rIns="108000" bIns="108000" numCol="1" spcCol="1270" anchor="b" anchorCtr="0">
            <a:noAutofit/>
          </a:bodyPr>
          <a:lstStyle/>
          <a:p>
            <a:pPr marL="171450" marR="0" lvl="1" indent="-171450" algn="just" defTabSz="711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 производимой </a:t>
            </a: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юридическим лицом, индивидуальным предпринимателем </a:t>
            </a:r>
            <a: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одукции</a:t>
            </a: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(в соответствии с ОКВЭД-2 и ОКПД-2) </a:t>
            </a:r>
            <a: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 указанием на соответствие такой продукции критериям отнесения к инновационной продукции, высокотехнологичной продукции;</a:t>
            </a:r>
            <a:endParaRPr kumimoji="0" lang="ru-RU" sz="11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171450" marR="0" lvl="1" indent="-171450" algn="just" defTabSz="711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б участии в</a:t>
            </a:r>
            <a: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программах партнерства;</a:t>
            </a:r>
            <a:endParaRPr kumimoji="0" lang="ru-RU" sz="11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171450" marR="0" lvl="1" indent="-171450" algn="just" defTabSz="711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 контрактах</a:t>
            </a: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, заключенных в соответствии </a:t>
            </a:r>
            <a: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 Законом №44-ФЗ, и (или) договорах</a:t>
            </a: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, заключенных в соответствии с </a:t>
            </a:r>
            <a: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Законом №223-ФЗ.</a:t>
            </a:r>
            <a:endParaRPr kumimoji="0" lang="ru-RU" sz="11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9119707" y="2473064"/>
            <a:ext cx="3125774" cy="424732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Общие сведения, получаемые из 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ЕГРЮЛ, ЕГРИП: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9119706" y="3666726"/>
            <a:ext cx="3125775" cy="424732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marL="0" marR="0" lvl="0" indent="-36000" algn="l" defTabSz="711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ведения, </a:t>
            </a: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едоставляемые 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убъектами МСП </a:t>
            </a:r>
            <a:endParaRPr kumimoji="0" lang="ru-RU" sz="1200" b="1" i="0" u="none" strike="noStrike" kern="120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-36000" algn="l" defTabSz="711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 заявительном порядке: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378349" y="1100020"/>
            <a:ext cx="3365894" cy="1328200"/>
          </a:xfrm>
          <a:prstGeom prst="rect">
            <a:avLst/>
          </a:prstGeom>
          <a:effectLst/>
        </p:spPr>
      </p:pic>
      <p:sp>
        <p:nvSpPr>
          <p:cNvPr id="31" name="Полилиния 30"/>
          <p:cNvSpPr/>
          <p:nvPr/>
        </p:nvSpPr>
        <p:spPr>
          <a:xfrm>
            <a:off x="361933" y="2642381"/>
            <a:ext cx="3366658" cy="1738526"/>
          </a:xfrm>
          <a:custGeom>
            <a:avLst/>
            <a:gdLst>
              <a:gd name="connsiteX0" fmla="*/ 0 w 7800975"/>
              <a:gd name="connsiteY0" fmla="*/ 0 h 1311975"/>
              <a:gd name="connsiteX1" fmla="*/ 7800975 w 7800975"/>
              <a:gd name="connsiteY1" fmla="*/ 0 h 1311975"/>
              <a:gd name="connsiteX2" fmla="*/ 7800975 w 7800975"/>
              <a:gd name="connsiteY2" fmla="*/ 1311975 h 1311975"/>
              <a:gd name="connsiteX3" fmla="*/ 0 w 7800975"/>
              <a:gd name="connsiteY3" fmla="*/ 1311975 h 1311975"/>
              <a:gd name="connsiteX4" fmla="*/ 0 w 7800975"/>
              <a:gd name="connsiteY4" fmla="*/ 0 h 1311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0975" h="1311975">
                <a:moveTo>
                  <a:pt x="0" y="0"/>
                </a:moveTo>
                <a:lnTo>
                  <a:pt x="7800975" y="0"/>
                </a:lnTo>
                <a:lnTo>
                  <a:pt x="7800975" y="1311975"/>
                </a:lnTo>
                <a:lnTo>
                  <a:pt x="0" y="131197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  <a:alpha val="90000"/>
            </a:schemeClr>
          </a:solidFill>
          <a:ln>
            <a:noFill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108000" rIns="108000" bIns="108000" numCol="1" spcCol="1270" anchor="b" anchorCtr="0">
            <a:noAutofit/>
          </a:bodyPr>
          <a:lstStyle/>
          <a:p>
            <a:pPr marL="171450" marR="0" lvl="1" indent="-171450" algn="just" defTabSz="711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ru-RU" sz="1100" b="1" i="0" u="none" strike="noStrike" kern="1200" cap="none" spc="0" normalizeH="0" baseline="0" noProof="0" dirty="0" smtClean="0">
              <a:ln>
                <a:noFill/>
              </a:ln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171450" marR="0" lvl="1" indent="-171450" algn="just" defTabSz="711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ru-RU" sz="11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171450" marR="0" lvl="1" indent="-171450" algn="just" defTabSz="711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ru-RU" sz="1100" b="1" i="0" u="none" strike="noStrike" kern="1200" cap="none" spc="0" normalizeH="0" baseline="0" noProof="0" dirty="0" smtClean="0">
              <a:ln>
                <a:noFill/>
              </a:ln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171450" marR="0" lvl="1" indent="-171450" algn="just" defTabSz="711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ru-RU" sz="11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171450" marR="0" lvl="1" indent="-171450" algn="just" defTabSz="711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ru-RU" sz="1100" b="1" i="0" u="none" strike="noStrike" kern="1200" cap="none" spc="0" normalizeH="0" baseline="0" noProof="0" dirty="0" smtClean="0">
              <a:ln>
                <a:noFill/>
              </a:ln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171450" marR="0" lvl="1" indent="-171450" algn="just" defTabSz="711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ru-RU" sz="11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171450" marR="0" lvl="1" indent="-171450" algn="just" defTabSz="711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ru-RU" sz="1100" b="1" i="0" u="none" strike="noStrike" kern="1200" cap="none" spc="0" normalizeH="0" baseline="0" noProof="0" dirty="0" smtClean="0">
              <a:ln>
                <a:noFill/>
              </a:ln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171450" marR="0" lvl="1" indent="-171450" algn="just" defTabSz="711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</a:t>
            </a: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фициальный 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айт единой информационной системы в сфере закупок в информационно-телекоммуникационной сети Интернет </a:t>
            </a: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едназначен </a:t>
            </a: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ля обеспечения свободного и безвозмездного доступа к полной и достоверной информации о контрактной системе в сфере закупок и закупках товаров, работ, услуг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, отдельными видами юридических лиц, а также </a:t>
            </a: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ля формирования, обработки и хранения такой информации</a:t>
            </a: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.</a:t>
            </a:r>
            <a:endParaRPr kumimoji="0" lang="ru-RU" sz="11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34" name="Полилиния 33"/>
          <p:cNvSpPr/>
          <p:nvPr/>
        </p:nvSpPr>
        <p:spPr>
          <a:xfrm>
            <a:off x="356931" y="4468688"/>
            <a:ext cx="3371659" cy="1675261"/>
          </a:xfrm>
          <a:custGeom>
            <a:avLst/>
            <a:gdLst>
              <a:gd name="connsiteX0" fmla="*/ 0 w 7800975"/>
              <a:gd name="connsiteY0" fmla="*/ 0 h 1981350"/>
              <a:gd name="connsiteX1" fmla="*/ 7800975 w 7800975"/>
              <a:gd name="connsiteY1" fmla="*/ 0 h 1981350"/>
              <a:gd name="connsiteX2" fmla="*/ 7800975 w 7800975"/>
              <a:gd name="connsiteY2" fmla="*/ 1981350 h 1981350"/>
              <a:gd name="connsiteX3" fmla="*/ 0 w 7800975"/>
              <a:gd name="connsiteY3" fmla="*/ 1981350 h 1981350"/>
              <a:gd name="connsiteX4" fmla="*/ 0 w 7800975"/>
              <a:gd name="connsiteY4" fmla="*/ 0 h 1981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0975" h="1981350">
                <a:moveTo>
                  <a:pt x="0" y="0"/>
                </a:moveTo>
                <a:lnTo>
                  <a:pt x="7800975" y="0"/>
                </a:lnTo>
                <a:lnTo>
                  <a:pt x="7800975" y="1981350"/>
                </a:lnTo>
                <a:lnTo>
                  <a:pt x="0" y="198135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  <a:alpha val="90000"/>
            </a:schemeClr>
          </a:solidFill>
          <a:ln w="3175">
            <a:noFill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108000" rIns="108000" bIns="108000" numCol="1" spcCol="1270" anchor="b" anchorCtr="0">
            <a:noAutofit/>
          </a:bodyPr>
          <a:lstStyle/>
          <a:p>
            <a:pPr marL="171450" marR="0" lvl="0" indent="-17145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егламентируется </a:t>
            </a: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Федеральным законом от 05.04.2013 </a:t>
            </a:r>
            <a: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№44-ФЗ 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«О контрактной системе в сфере закупок товаров, работ, услуг для обеспечения государственных и муниципальных нужд» и </a:t>
            </a: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Федеральным законом от 18.07.2011 </a:t>
            </a:r>
            <a: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№223-ФЗ 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«О закупках товаров, работ, услуг отдельными видами юридических лиц», а также соответствующими подзаконными актами.</a:t>
            </a:r>
          </a:p>
        </p:txBody>
      </p:sp>
      <p:sp>
        <p:nvSpPr>
          <p:cNvPr id="35" name="Прямоугольник 34"/>
          <p:cNvSpPr/>
          <p:nvPr/>
        </p:nvSpPr>
        <p:spPr>
          <a:xfrm>
            <a:off x="358353" y="2457905"/>
            <a:ext cx="3370238" cy="258532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Назначение: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41" name="Прямоугольник 40"/>
          <p:cNvSpPr/>
          <p:nvPr/>
        </p:nvSpPr>
        <p:spPr>
          <a:xfrm>
            <a:off x="358352" y="4381451"/>
            <a:ext cx="3370239" cy="258532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marL="0" marR="0" lvl="0" indent="-36000" algn="l" defTabSz="711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рядок размещения: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47" name="Прямоугольник 46"/>
          <p:cNvSpPr/>
          <p:nvPr/>
        </p:nvSpPr>
        <p:spPr>
          <a:xfrm>
            <a:off x="356931" y="6112132"/>
            <a:ext cx="3371659" cy="960997"/>
          </a:xfrm>
          <a:prstGeom prst="rect">
            <a:avLst/>
          </a:prstGeom>
          <a:solidFill>
            <a:schemeClr val="accent1">
              <a:lumMod val="50000"/>
            </a:schemeClr>
          </a:solidFill>
          <a:ln w="25400">
            <a:noFill/>
          </a:ln>
        </p:spPr>
        <p:txBody>
          <a:bodyPr wrap="square" tIns="36000" bIns="3600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анные о планах закупок </a:t>
            </a:r>
            <a:endParaRPr kumimoji="0" lang="ru-RU" sz="1300" b="1" i="0" u="none" strike="noStrike" kern="1200" cap="none" spc="0" normalizeH="0" baseline="0" noProof="0" dirty="0" smtClean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рупнейших </a:t>
            </a:r>
            <a:r>
              <a:rPr kumimoji="0" lang="ru-RU" sz="13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заказчиков </a:t>
            </a:r>
            <a:endParaRPr kumimoji="0" lang="ru-RU" sz="1300" b="1" i="0" u="none" strike="noStrike" kern="1200" cap="none" spc="0" normalizeH="0" baseline="0" noProof="0" dirty="0" smtClean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 </a:t>
            </a:r>
            <a:r>
              <a:rPr kumimoji="0" lang="ru-RU" sz="13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государственным участием доступны </a:t>
            </a:r>
            <a:endParaRPr kumimoji="0" lang="ru-RU" sz="1300" b="1" i="0" u="none" strike="noStrike" kern="1200" cap="none" spc="0" normalizeH="0" baseline="0" noProof="0" dirty="0" smtClean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а </a:t>
            </a:r>
            <a:r>
              <a:rPr kumimoji="0" lang="ru-RU" sz="13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ртале Бизнес-навигатора МСП</a:t>
            </a:r>
            <a:endParaRPr kumimoji="0" lang="ru-RU" sz="1300" b="0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9119706" y="6075548"/>
            <a:ext cx="3133535" cy="1007855"/>
          </a:xfrm>
          <a:prstGeom prst="rect">
            <a:avLst/>
          </a:prstGeom>
          <a:solidFill>
            <a:schemeClr val="accent1">
              <a:lumMod val="50000"/>
            </a:schemeClr>
          </a:solidFill>
          <a:ln w="25400">
            <a:noFill/>
          </a:ln>
        </p:spPr>
        <p:txBody>
          <a:bodyPr wrap="square" tIns="36000" bIns="36000" anchor="ctr" anchorCtr="0">
            <a:noAutofit/>
          </a:bodyPr>
          <a:lstStyle/>
          <a:p>
            <a:pPr marL="0" marR="0" lvl="0" indent="-36000" algn="ctr" defTabSz="711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 дальнейшем планируется </a:t>
            </a:r>
            <a:endParaRPr kumimoji="0" lang="ru-RU" sz="1300" b="1" i="0" u="none" strike="noStrike" kern="1200" cap="none" spc="0" normalizeH="0" baseline="0" noProof="0" dirty="0" smtClean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-36000" algn="ctr" defTabSz="711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ЭТАПНОЕ </a:t>
            </a:r>
            <a:r>
              <a:rPr kumimoji="0" lang="ru-RU" sz="13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АСШИРЕНИЕ </a:t>
            </a:r>
            <a:endParaRPr kumimoji="0" lang="ru-RU" sz="1300" b="1" i="0" u="none" strike="noStrike" kern="1200" cap="none" spc="0" normalizeH="0" baseline="0" noProof="0" dirty="0" smtClean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-36000" algn="ctr" defTabSz="711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остава </a:t>
            </a:r>
            <a:r>
              <a:rPr kumimoji="0" lang="ru-RU" sz="13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ведений Единого реестра субъектов МСП</a:t>
            </a: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11560835" y="26986"/>
            <a:ext cx="819150" cy="866775"/>
          </a:xfrm>
          <a:prstGeom prst="rect">
            <a:avLst/>
          </a:prstGeom>
        </p:spPr>
      </p:pic>
      <p:sp>
        <p:nvSpPr>
          <p:cNvPr id="8" name="Овал 7"/>
          <p:cNvSpPr/>
          <p:nvPr/>
        </p:nvSpPr>
        <p:spPr>
          <a:xfrm>
            <a:off x="4803352" y="1041623"/>
            <a:ext cx="3482726" cy="1724730"/>
          </a:xfrm>
          <a:prstGeom prst="ellipse">
            <a:avLst/>
          </a:prstGeom>
          <a:noFill/>
          <a:ln w="635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0" name="Прямоугольник 49"/>
          <p:cNvSpPr/>
          <p:nvPr/>
        </p:nvSpPr>
        <p:spPr>
          <a:xfrm>
            <a:off x="365165" y="2019300"/>
            <a:ext cx="3379078" cy="408536"/>
          </a:xfrm>
          <a:prstGeom prst="rect">
            <a:avLst/>
          </a:prstGeom>
          <a:solidFill>
            <a:schemeClr val="accent2"/>
          </a:solidFill>
        </p:spPr>
        <p:txBody>
          <a:bodyPr wrap="square" anchor="ctr" anchorCtr="0"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ЕИС в сфере закупок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51" name="Прямоугольник 50"/>
          <p:cNvSpPr/>
          <p:nvPr/>
        </p:nvSpPr>
        <p:spPr>
          <a:xfrm>
            <a:off x="9119706" y="2019300"/>
            <a:ext cx="3124940" cy="408536"/>
          </a:xfrm>
          <a:prstGeom prst="rect">
            <a:avLst/>
          </a:prstGeom>
          <a:solidFill>
            <a:schemeClr val="accent2"/>
          </a:solidFill>
        </p:spPr>
        <p:txBody>
          <a:bodyPr wrap="square" lIns="36000" rIns="36000" anchor="ctr" anchorCtr="0"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Единый реестр субъектов МСП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cxnSp>
        <p:nvCxnSpPr>
          <p:cNvPr id="10" name="Прямая соединительная линия 9"/>
          <p:cNvCxnSpPr>
            <a:stCxn id="50" idx="3"/>
            <a:endCxn id="8" idx="2"/>
          </p:cNvCxnSpPr>
          <p:nvPr/>
        </p:nvCxnSpPr>
        <p:spPr>
          <a:xfrm flipV="1">
            <a:off x="3744243" y="1903988"/>
            <a:ext cx="1059109" cy="319580"/>
          </a:xfrm>
          <a:prstGeom prst="line">
            <a:avLst/>
          </a:prstGeom>
          <a:ln w="476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Прямая соединительная линия 52"/>
          <p:cNvCxnSpPr>
            <a:endCxn id="51" idx="1"/>
          </p:cNvCxnSpPr>
          <p:nvPr/>
        </p:nvCxnSpPr>
        <p:spPr>
          <a:xfrm>
            <a:off x="8262901" y="1947454"/>
            <a:ext cx="856805" cy="276114"/>
          </a:xfrm>
          <a:prstGeom prst="line">
            <a:avLst/>
          </a:prstGeom>
          <a:ln w="476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Полилиния 54"/>
          <p:cNvSpPr/>
          <p:nvPr/>
        </p:nvSpPr>
        <p:spPr>
          <a:xfrm>
            <a:off x="4112082" y="3708971"/>
            <a:ext cx="4705564" cy="4800032"/>
          </a:xfrm>
          <a:custGeom>
            <a:avLst/>
            <a:gdLst>
              <a:gd name="connsiteX0" fmla="*/ 0 w 7800975"/>
              <a:gd name="connsiteY0" fmla="*/ 0 h 1311975"/>
              <a:gd name="connsiteX1" fmla="*/ 7800975 w 7800975"/>
              <a:gd name="connsiteY1" fmla="*/ 0 h 1311975"/>
              <a:gd name="connsiteX2" fmla="*/ 7800975 w 7800975"/>
              <a:gd name="connsiteY2" fmla="*/ 1311975 h 1311975"/>
              <a:gd name="connsiteX3" fmla="*/ 0 w 7800975"/>
              <a:gd name="connsiteY3" fmla="*/ 1311975 h 1311975"/>
              <a:gd name="connsiteX4" fmla="*/ 0 w 7800975"/>
              <a:gd name="connsiteY4" fmla="*/ 0 h 1311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0975" h="1311975">
                <a:moveTo>
                  <a:pt x="0" y="0"/>
                </a:moveTo>
                <a:lnTo>
                  <a:pt x="7800975" y="0"/>
                </a:lnTo>
                <a:lnTo>
                  <a:pt x="7800975" y="1311975"/>
                </a:lnTo>
                <a:lnTo>
                  <a:pt x="0" y="1311975"/>
                </a:lnTo>
                <a:lnTo>
                  <a:pt x="0" y="0"/>
                </a:lnTo>
                <a:close/>
              </a:path>
            </a:pathLst>
          </a:custGeom>
          <a:solidFill>
            <a:srgbClr val="A2C9F4">
              <a:alpha val="90000"/>
            </a:srgb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108000" rIns="108000" bIns="108000" numCol="1" spcCol="1270" anchor="t" anchorCtr="0">
            <a:noAutofit/>
          </a:bodyPr>
          <a:lstStyle/>
          <a:p>
            <a:pPr marL="171450" marR="0" lvl="0" indent="-17145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pic>
        <p:nvPicPr>
          <p:cNvPr id="56" name="Рисунок 5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65959" y="4020506"/>
            <a:ext cx="3376336" cy="1600328"/>
          </a:xfrm>
          <a:prstGeom prst="rect">
            <a:avLst/>
          </a:prstGeom>
        </p:spPr>
      </p:pic>
      <p:sp>
        <p:nvSpPr>
          <p:cNvPr id="57" name="Полилиния 56"/>
          <p:cNvSpPr/>
          <p:nvPr/>
        </p:nvSpPr>
        <p:spPr>
          <a:xfrm>
            <a:off x="4189602" y="5406176"/>
            <a:ext cx="2177090" cy="2407607"/>
          </a:xfrm>
          <a:custGeom>
            <a:avLst/>
            <a:gdLst>
              <a:gd name="connsiteX0" fmla="*/ 0 w 7800975"/>
              <a:gd name="connsiteY0" fmla="*/ 0 h 1311975"/>
              <a:gd name="connsiteX1" fmla="*/ 7800975 w 7800975"/>
              <a:gd name="connsiteY1" fmla="*/ 0 h 1311975"/>
              <a:gd name="connsiteX2" fmla="*/ 7800975 w 7800975"/>
              <a:gd name="connsiteY2" fmla="*/ 1311975 h 1311975"/>
              <a:gd name="connsiteX3" fmla="*/ 0 w 7800975"/>
              <a:gd name="connsiteY3" fmla="*/ 1311975 h 1311975"/>
              <a:gd name="connsiteX4" fmla="*/ 0 w 7800975"/>
              <a:gd name="connsiteY4" fmla="*/ 0 h 1311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0975" h="1311975">
                <a:moveTo>
                  <a:pt x="0" y="0"/>
                </a:moveTo>
                <a:lnTo>
                  <a:pt x="7800975" y="0"/>
                </a:lnTo>
                <a:lnTo>
                  <a:pt x="7800975" y="1311975"/>
                </a:lnTo>
                <a:lnTo>
                  <a:pt x="0" y="131197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72000" tIns="72000" rIns="72000" bIns="72000" numCol="1" spcCol="1270" anchor="t" anchorCtr="0">
            <a:noAutofit/>
          </a:bodyPr>
          <a:lstStyle/>
          <a:p>
            <a:pPr marL="171450" marR="0" lvl="0" indent="-17145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ЕПГУ 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Единый портал государственных и </a:t>
            </a: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муниципальных услуг, ЕПГУ) 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– федеральная государственная информационная </a:t>
            </a: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истема, </a:t>
            </a:r>
          </a:p>
          <a:p>
            <a:pPr marL="171450" marR="0" lvl="0" indent="-17145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беспечивает </a:t>
            </a: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оступ физических и юридических лиц к сведениям о государственных и муниципальных учреждениях и организациях 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 оказываемых ими услугах в </a:t>
            </a: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электронной форме. </a:t>
            </a: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58" name="Полилиния 57"/>
          <p:cNvSpPr/>
          <p:nvPr/>
        </p:nvSpPr>
        <p:spPr>
          <a:xfrm>
            <a:off x="6444317" y="5343383"/>
            <a:ext cx="2324530" cy="2453090"/>
          </a:xfrm>
          <a:custGeom>
            <a:avLst/>
            <a:gdLst>
              <a:gd name="connsiteX0" fmla="*/ 0 w 7800975"/>
              <a:gd name="connsiteY0" fmla="*/ 0 h 1981350"/>
              <a:gd name="connsiteX1" fmla="*/ 7800975 w 7800975"/>
              <a:gd name="connsiteY1" fmla="*/ 0 h 1981350"/>
              <a:gd name="connsiteX2" fmla="*/ 7800975 w 7800975"/>
              <a:gd name="connsiteY2" fmla="*/ 1981350 h 1981350"/>
              <a:gd name="connsiteX3" fmla="*/ 0 w 7800975"/>
              <a:gd name="connsiteY3" fmla="*/ 1981350 h 1981350"/>
              <a:gd name="connsiteX4" fmla="*/ 0 w 7800975"/>
              <a:gd name="connsiteY4" fmla="*/ 0 h 1981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0975" h="1981350">
                <a:moveTo>
                  <a:pt x="0" y="0"/>
                </a:moveTo>
                <a:lnTo>
                  <a:pt x="7800975" y="0"/>
                </a:lnTo>
                <a:lnTo>
                  <a:pt x="7800975" y="1981350"/>
                </a:lnTo>
                <a:lnTo>
                  <a:pt x="0" y="198135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  <a:alpha val="90000"/>
            </a:schemeClr>
          </a:solidFill>
          <a:ln w="3175">
            <a:noFill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72000" tIns="72000" rIns="72000" bIns="72000" numCol="1" spcCol="1270" anchor="t" anchorCtr="0">
            <a:noAutofit/>
          </a:bodyPr>
          <a:lstStyle/>
          <a:p>
            <a:pPr marL="171450" marR="0" lvl="0" indent="-17145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а </a:t>
            </a: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ЕПГУ 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 размещена </a:t>
            </a: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правочная информация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для физических и юридических лиц о </a:t>
            </a: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рядке оказания </a:t>
            </a:r>
            <a: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государственных и иных услуг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, в том числе — в </a:t>
            </a: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электронной форме,</a:t>
            </a:r>
          </a:p>
          <a:p>
            <a:pPr marL="171450" marR="0" lvl="0" indent="-17145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рганизован </a:t>
            </a: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иск 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 тематике, ведомству, жизненной ситуации, </a:t>
            </a:r>
            <a:endParaRPr kumimoji="0" lang="ru-RU" sz="1100" b="0" i="0" u="none" strike="noStrike" kern="1200" cap="none" spc="0" normalizeH="0" baseline="0" noProof="0" dirty="0" smtClean="0">
              <a:ln>
                <a:noFill/>
              </a:ln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171450" marR="0" lvl="0" indent="-17145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едставлены </a:t>
            </a: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бразцы документов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, </a:t>
            </a:r>
            <a:endParaRPr kumimoji="0" lang="ru-RU" sz="1100" b="0" i="0" u="none" strike="noStrike" kern="1200" cap="none" spc="0" normalizeH="0" baseline="0" noProof="0" dirty="0" smtClean="0">
              <a:ln>
                <a:noFill/>
              </a:ln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171450" marR="0" lvl="0" indent="-17145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</a:t>
            </a:r>
            <a: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едставлены ссылки </a:t>
            </a: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а сервисы 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госучреждений и ведомств.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4189601" y="7562626"/>
            <a:ext cx="4566400" cy="860612"/>
          </a:xfrm>
          <a:prstGeom prst="rect">
            <a:avLst/>
          </a:prstGeom>
          <a:solidFill>
            <a:schemeClr val="accent1">
              <a:lumMod val="50000"/>
            </a:schemeClr>
          </a:solidFill>
          <a:ln w="25400">
            <a:noFill/>
          </a:ln>
        </p:spPr>
        <p:txBody>
          <a:bodyPr wrap="square" lIns="36000" tIns="36000" rIns="36000" bIns="3600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а ЕПГУ размещена информация о Корпорации МСП.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 электронной форме доступны 7 услуг Корпорации МСП, включая доступ к Порталу Бизнес-навигатора МСП</a:t>
            </a:r>
            <a:endParaRPr kumimoji="0" lang="ru-RU" sz="1300" b="0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60" name="Прямоугольник 59"/>
          <p:cNvSpPr/>
          <p:nvPr/>
        </p:nvSpPr>
        <p:spPr>
          <a:xfrm>
            <a:off x="4112082" y="3416429"/>
            <a:ext cx="4705564" cy="599916"/>
          </a:xfrm>
          <a:prstGeom prst="rect">
            <a:avLst/>
          </a:prstGeom>
          <a:solidFill>
            <a:schemeClr val="accent2"/>
          </a:solidFill>
        </p:spPr>
        <p:txBody>
          <a:bodyPr wrap="square" lIns="36000" rIns="36000" anchor="ctr" anchorCtr="0"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ts val="2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Единый портал государственных </a:t>
            </a:r>
          </a:p>
          <a:p>
            <a:pPr marL="0" marR="0" lvl="0" indent="0" algn="ctr" defTabSz="711200" rtl="0" eaLnBrk="1" fontAlgn="auto" latinLnBrk="0" hangingPunct="1">
              <a:lnSpc>
                <a:spcPts val="2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и муниципальных услуг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61" name="Прямоугольник 60"/>
          <p:cNvSpPr/>
          <p:nvPr/>
        </p:nvSpPr>
        <p:spPr>
          <a:xfrm>
            <a:off x="4189603" y="5150757"/>
            <a:ext cx="2177089" cy="258532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Назначение: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62" name="Прямоугольник 61"/>
          <p:cNvSpPr/>
          <p:nvPr/>
        </p:nvSpPr>
        <p:spPr>
          <a:xfrm>
            <a:off x="6454590" y="5148589"/>
            <a:ext cx="2314257" cy="258532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marL="0" marR="0" lvl="0" indent="-36000" algn="l" defTabSz="711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Функционал: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809044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80341" y="1090021"/>
            <a:ext cx="5876925" cy="5743575"/>
          </a:xfrm>
          <a:prstGeom prst="rect">
            <a:avLst/>
          </a:prstGeom>
        </p:spPr>
      </p:pic>
      <p:pic>
        <p:nvPicPr>
          <p:cNvPr id="32" name="Рисунок 31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11560835" y="26986"/>
            <a:ext cx="819150" cy="866775"/>
          </a:xfrm>
          <a:prstGeom prst="rect">
            <a:avLst/>
          </a:prstGeom>
        </p:spPr>
      </p:pic>
      <p:sp>
        <p:nvSpPr>
          <p:cNvPr id="50" name="TextBox 49"/>
          <p:cNvSpPr txBox="1"/>
          <p:nvPr/>
        </p:nvSpPr>
        <p:spPr>
          <a:xfrm>
            <a:off x="3768069" y="61162"/>
            <a:ext cx="8891713" cy="699029"/>
          </a:xfrm>
          <a:prstGeom prst="rect">
            <a:avLst/>
          </a:prstGeom>
          <a:noFill/>
        </p:spPr>
        <p:txBody>
          <a:bodyPr wrap="square" lIns="72000" tIns="36000" rIns="0" bIns="3600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Бизнес-навигация для МСП</a:t>
            </a:r>
          </a:p>
        </p:txBody>
      </p:sp>
      <p:sp>
        <p:nvSpPr>
          <p:cNvPr id="30" name="TextBox 5"/>
          <p:cNvSpPr txBox="1">
            <a:spLocks noChangeArrowheads="1"/>
          </p:cNvSpPr>
          <p:nvPr/>
        </p:nvSpPr>
        <p:spPr bwMode="auto">
          <a:xfrm>
            <a:off x="299280" y="7023488"/>
            <a:ext cx="12019720" cy="1560287"/>
          </a:xfrm>
          <a:prstGeom prst="rect">
            <a:avLst/>
          </a:prstGeom>
          <a:solidFill>
            <a:schemeClr val="bg1"/>
          </a:solidFill>
          <a:ln w="3175">
            <a:noFill/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144000" tIns="72000" rIns="144000" bIns="72000" anchor="ctr" anchorCtr="0">
            <a:noAutofit/>
          </a:bodyPr>
          <a:lstStyle/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8771157" y="2040925"/>
            <a:ext cx="3544668" cy="455990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lIns="72000" tIns="72000" rIns="72000" bIns="72000" anchor="ctr" anchorCtr="0">
            <a:noAutofit/>
          </a:bodyPr>
          <a:lstStyle/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ассчитать бизнес-план для одного из 90 видов бизнеса в 172 городах с населением более 100 тысяч человек.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айти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банк, где можно взять кредит под 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гарантию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орпорации 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МСП.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добрать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 аренду помещение для 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бизнеса. 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Узнать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 доступности известных и надежных 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франшиз.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Узнать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 мерах поддержки малого и среднего 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бизнеса.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Быть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 курсе планов закупок и конкурсов крупных 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заказчиков.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айти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 проверить 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онтрагента.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азместить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бъявление о своем 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бизнесе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.</a:t>
            </a:r>
            <a:endParaRPr kumimoji="0" lang="ru-RU" sz="1500" b="1" i="0" u="none" strike="noStrike" kern="120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лучить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оступ к новостным, аналитическим и иным материалам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.</a:t>
            </a:r>
            <a:endParaRPr kumimoji="0" lang="ru-RU" sz="15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sp>
        <p:nvSpPr>
          <p:cNvPr id="13" name="Прямоугольник 12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9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pSp>
        <p:nvGrpSpPr>
          <p:cNvPr id="14" name="Группа 13"/>
          <p:cNvGrpSpPr/>
          <p:nvPr/>
        </p:nvGrpSpPr>
        <p:grpSpPr>
          <a:xfrm>
            <a:off x="558436" y="2097358"/>
            <a:ext cx="2983050" cy="1114618"/>
            <a:chOff x="-946714" y="6622048"/>
            <a:chExt cx="1589861" cy="630884"/>
          </a:xfrm>
        </p:grpSpPr>
        <p:sp>
          <p:nvSpPr>
            <p:cNvPr id="15" name="Pentagon 35"/>
            <p:cNvSpPr/>
            <p:nvPr/>
          </p:nvSpPr>
          <p:spPr>
            <a:xfrm>
              <a:off x="-759787" y="6622048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252000" tIns="35100" rIns="67500" bIns="3510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16" name="Pentagon 37"/>
            <p:cNvSpPr/>
            <p:nvPr/>
          </p:nvSpPr>
          <p:spPr>
            <a:xfrm>
              <a:off x="-946714" y="6622049"/>
              <a:ext cx="1522889" cy="630883"/>
            </a:xfrm>
            <a:prstGeom prst="homePlate">
              <a:avLst>
                <a:gd name="adj" fmla="val 22714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252000" tIns="35100" rIns="67500" bIns="3510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Зайти на Портал </a:t>
              </a:r>
              <a:endPara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Бизнес-навигатора </a:t>
              </a: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МСП </a:t>
              </a:r>
              <a:endPara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по </a:t>
              </a: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адресу: </a:t>
              </a:r>
              <a:r>
                <a:rPr kumimoji="0" lang="ru-RU" sz="1800" b="1" i="0" u="sng" strike="noStrike" kern="1200" cap="none" spc="0" normalizeH="0" baseline="0" noProof="0" dirty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https://</a:t>
              </a:r>
              <a:r>
                <a:rPr kumimoji="0" lang="ru-RU" sz="1800" b="1" i="0" u="sng" strike="noStrike" kern="1200" cap="none" spc="0" normalizeH="0" baseline="0" noProof="0" dirty="0" smtClean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smbn.ru</a:t>
              </a:r>
              <a:endParaRPr kumimoji="0" lang="ru-RU" sz="1800" b="1" i="0" u="sng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17" name="Группа 16"/>
          <p:cNvGrpSpPr/>
          <p:nvPr/>
        </p:nvGrpSpPr>
        <p:grpSpPr>
          <a:xfrm>
            <a:off x="558435" y="3294745"/>
            <a:ext cx="2983051" cy="1827534"/>
            <a:chOff x="-946714" y="6622048"/>
            <a:chExt cx="1589861" cy="630884"/>
          </a:xfrm>
        </p:grpSpPr>
        <p:sp>
          <p:nvSpPr>
            <p:cNvPr id="18" name="Pentagon 35"/>
            <p:cNvSpPr/>
            <p:nvPr/>
          </p:nvSpPr>
          <p:spPr>
            <a:xfrm>
              <a:off x="-759787" y="6622048"/>
              <a:ext cx="1402934" cy="630883"/>
            </a:xfrm>
            <a:prstGeom prst="homePlate">
              <a:avLst>
                <a:gd name="adj" fmla="val 12449"/>
              </a:avLst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252000" tIns="35100" rIns="67500" bIns="3510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19" name="Pentagon 37"/>
            <p:cNvSpPr/>
            <p:nvPr/>
          </p:nvSpPr>
          <p:spPr>
            <a:xfrm>
              <a:off x="-946714" y="6622049"/>
              <a:ext cx="1521023" cy="630883"/>
            </a:xfrm>
            <a:prstGeom prst="homePlate">
              <a:avLst>
                <a:gd name="adj" fmla="val 12449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252000" tIns="35100" rIns="67500" bIns="3510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Пройти авторизацию </a:t>
              </a:r>
              <a:endPara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с </a:t>
              </a: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использованием учетной записи портала </a:t>
              </a:r>
              <a:r>
                <a:rPr kumimoji="0" lang="ru-RU" sz="1800" b="1" i="0" u="none" strike="noStrike" kern="1200" cap="none" spc="0" normalizeH="0" baseline="0" noProof="0" dirty="0" err="1" smtClean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госуслуг</a:t>
              </a: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 или </a:t>
              </a: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заполнить форму регистрации </a:t>
              </a:r>
              <a:endPara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в </a:t>
              </a: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Личном </a:t>
              </a: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кабинете</a:t>
              </a:r>
              <a:endPara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20" name="Группа 19"/>
          <p:cNvGrpSpPr/>
          <p:nvPr/>
        </p:nvGrpSpPr>
        <p:grpSpPr>
          <a:xfrm>
            <a:off x="558435" y="5189699"/>
            <a:ext cx="2983051" cy="1331854"/>
            <a:chOff x="-946714" y="6622048"/>
            <a:chExt cx="1589861" cy="630884"/>
          </a:xfrm>
        </p:grpSpPr>
        <p:sp>
          <p:nvSpPr>
            <p:cNvPr id="21" name="Pentagon 35"/>
            <p:cNvSpPr/>
            <p:nvPr/>
          </p:nvSpPr>
          <p:spPr>
            <a:xfrm>
              <a:off x="-759787" y="6622048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252000" tIns="35100" rIns="67500" bIns="3510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22" name="Pentagon 37"/>
            <p:cNvSpPr/>
            <p:nvPr/>
          </p:nvSpPr>
          <p:spPr>
            <a:xfrm>
              <a:off x="-946714" y="6622049"/>
              <a:ext cx="1522889" cy="630883"/>
            </a:xfrm>
            <a:prstGeom prst="homePlate">
              <a:avLst>
                <a:gd name="adj" fmla="val 22714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252000" tIns="35100" rIns="67500" bIns="3510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Получить подтверждение </a:t>
              </a: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авторизации</a:t>
              </a:r>
              <a:endPara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3" name="Прямоугольник 2"/>
          <p:cNvSpPr/>
          <p:nvPr/>
        </p:nvSpPr>
        <p:spPr>
          <a:xfrm>
            <a:off x="333375" y="903688"/>
            <a:ext cx="316230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ля получения </a:t>
            </a:r>
            <a:endParaRPr kumimoji="0" lang="ru-RU" sz="1800" b="1" i="0" u="none" strike="noStrike" kern="120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бесплатного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оступа </a:t>
            </a:r>
            <a:endParaRPr kumimoji="0" lang="ru-RU" sz="1800" b="1" i="0" u="none" strike="noStrike" kern="1200" cap="none" spc="0" normalizeH="0" baseline="0" noProof="0" dirty="0" smtClean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ервисам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еобходимо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:</a:t>
            </a:r>
          </a:p>
        </p:txBody>
      </p:sp>
      <p:sp>
        <p:nvSpPr>
          <p:cNvPr id="24" name="Teardrop 46"/>
          <p:cNvSpPr/>
          <p:nvPr/>
        </p:nvSpPr>
        <p:spPr>
          <a:xfrm>
            <a:off x="252456" y="2080669"/>
            <a:ext cx="463092" cy="463092"/>
          </a:xfrm>
          <a:prstGeom prst="teardrop">
            <a:avLst/>
          </a:prstGeom>
          <a:solidFill>
            <a:srgbClr val="1F4E7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5" name="Teardrop 46"/>
          <p:cNvSpPr/>
          <p:nvPr/>
        </p:nvSpPr>
        <p:spPr>
          <a:xfrm>
            <a:off x="252456" y="3293841"/>
            <a:ext cx="463092" cy="451928"/>
          </a:xfrm>
          <a:prstGeom prst="teardrop">
            <a:avLst/>
          </a:prstGeom>
          <a:solidFill>
            <a:srgbClr val="1F4E7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" name="Teardrop 46"/>
          <p:cNvSpPr/>
          <p:nvPr/>
        </p:nvSpPr>
        <p:spPr>
          <a:xfrm>
            <a:off x="242205" y="5186519"/>
            <a:ext cx="463092" cy="463092"/>
          </a:xfrm>
          <a:prstGeom prst="teardrop">
            <a:avLst/>
          </a:prstGeom>
          <a:solidFill>
            <a:srgbClr val="1F4E7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8864076" y="701025"/>
            <a:ext cx="3328081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 помощью сервисов </a:t>
            </a:r>
            <a:endParaRPr kumimoji="0" lang="ru-RU" sz="1800" b="1" i="0" u="none" strike="noStrike" kern="120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ртала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Бизнес-навигатора МСП пользователь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может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b="1" dirty="0" smtClean="0">
                <a:solidFill>
                  <a:srgbClr val="ED7D31"/>
                </a:solidFill>
                <a:latin typeface="Arial Narrow" panose="020B0606020202030204" pitchFamily="34" charset="0"/>
              </a:rPr>
              <a:t>БЕСПЛАТНО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: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8" name="Равнобедренный треугольник 7"/>
          <p:cNvSpPr/>
          <p:nvPr/>
        </p:nvSpPr>
        <p:spPr>
          <a:xfrm rot="10800000">
            <a:off x="609235" y="1829488"/>
            <a:ext cx="2464165" cy="166427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1" name="Равнобедренный треугольник 30"/>
          <p:cNvSpPr/>
          <p:nvPr/>
        </p:nvSpPr>
        <p:spPr>
          <a:xfrm rot="10800000">
            <a:off x="9296035" y="1842188"/>
            <a:ext cx="2464165" cy="166427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9" name="Скругленный прямоугольник 38"/>
          <p:cNvSpPr/>
          <p:nvPr/>
        </p:nvSpPr>
        <p:spPr>
          <a:xfrm>
            <a:off x="558435" y="6600825"/>
            <a:ext cx="2937240" cy="1524884"/>
          </a:xfrm>
          <a:prstGeom prst="roundRect">
            <a:avLst>
              <a:gd name="adj" fmla="val 4144"/>
            </a:avLst>
          </a:prstGeom>
          <a:solidFill>
            <a:schemeClr val="accent1">
              <a:lumMod val="60000"/>
              <a:lumOff val="4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lvl="0" algn="r">
              <a:spcBef>
                <a:spcPts val="1200"/>
              </a:spcBef>
              <a:defRPr/>
            </a:pPr>
            <a:r>
              <a:rPr lang="ru-RU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Наиболее востребованные сервисы Портала:</a:t>
            </a:r>
            <a:endParaRPr lang="ru-RU" b="1" dirty="0">
              <a:solidFill>
                <a:srgbClr val="002060"/>
              </a:solidFill>
              <a:latin typeface="Arial Narrow" panose="020B0606020202030204" pitchFamily="34" charset="0"/>
            </a:endParaRPr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46500" y="6660114"/>
            <a:ext cx="8589433" cy="1465595"/>
          </a:xfrm>
          <a:prstGeom prst="rect">
            <a:avLst/>
          </a:prstGeom>
        </p:spPr>
      </p:pic>
      <p:sp>
        <p:nvSpPr>
          <p:cNvPr id="29" name="TextBox 28"/>
          <p:cNvSpPr txBox="1"/>
          <p:nvPr/>
        </p:nvSpPr>
        <p:spPr>
          <a:xfrm>
            <a:off x="177390" y="8107686"/>
            <a:ext cx="1054792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i="1" dirty="0" smtClean="0">
                <a:solidFill>
                  <a:schemeClr val="bg1">
                    <a:lumMod val="50000"/>
                  </a:schemeClr>
                </a:solidFill>
                <a:latin typeface="Arial Narrow" panose="020B0606020202030204" pitchFamily="34" charset="0"/>
              </a:rPr>
              <a:t>*сумма долей превышает 100%, поскольку субъект МСП может воспользоваться одним или несколькими сервисами Портала </a:t>
            </a:r>
            <a:r>
              <a:rPr lang="ru-RU" sz="1000" i="1" dirty="0">
                <a:solidFill>
                  <a:schemeClr val="bg1">
                    <a:lumMod val="50000"/>
                  </a:schemeClr>
                </a:solidFill>
                <a:latin typeface="Arial Narrow" panose="020B0606020202030204" pitchFamily="34" charset="0"/>
              </a:rPr>
              <a:t>Бизнес-навигатора МСП</a:t>
            </a:r>
          </a:p>
          <a:p>
            <a:r>
              <a:rPr lang="ru-RU" sz="1000" i="1" dirty="0" smtClean="0">
                <a:solidFill>
                  <a:schemeClr val="bg1">
                    <a:lumMod val="50000"/>
                  </a:schemeClr>
                </a:solidFill>
                <a:latin typeface="Arial Narrow" panose="020B0606020202030204" pitchFamily="34" charset="0"/>
              </a:rPr>
              <a:t> </a:t>
            </a:r>
            <a:endParaRPr lang="ru-RU" sz="1000" i="1" dirty="0">
              <a:solidFill>
                <a:schemeClr val="bg1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7472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isoyhZEK5nO2yHOw89A"/>
</p:tagLst>
</file>

<file path=ppt/theme/theme1.xml><?xml version="1.0" encoding="utf-8"?>
<a:theme xmlns:a="http://schemas.openxmlformats.org/drawingml/2006/main" name="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53223</TotalTime>
  <Words>7250</Words>
  <Application>Microsoft Office PowerPoint</Application>
  <PresentationFormat>Произвольный</PresentationFormat>
  <Paragraphs>1426</Paragraphs>
  <Slides>27</Slides>
  <Notes>14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11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27</vt:i4>
      </vt:variant>
    </vt:vector>
  </HeadingPairs>
  <TitlesOfParts>
    <vt:vector size="39" baseType="lpstr">
      <vt:lpstr>Arial</vt:lpstr>
      <vt:lpstr>Arial Black</vt:lpstr>
      <vt:lpstr>Arial Narrow</vt:lpstr>
      <vt:lpstr>Calibri</vt:lpstr>
      <vt:lpstr>Calibri Light</vt:lpstr>
      <vt:lpstr>Helvetica Light</vt:lpstr>
      <vt:lpstr>Raavi</vt:lpstr>
      <vt:lpstr>Tahoma</vt:lpstr>
      <vt:lpstr>Times New Roman</vt:lpstr>
      <vt:lpstr>Trebuchet MS</vt:lpstr>
      <vt:lpstr>Wingdings</vt:lpstr>
      <vt:lpstr>Тема Office</vt:lpstr>
      <vt:lpstr>Презентация PowerPoint</vt:lpstr>
      <vt:lpstr>О Корпорации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EDubinchuk@corpmsp.ru</dc:creator>
  <cp:lastModifiedBy>Приемная Бравермана</cp:lastModifiedBy>
  <cp:revision>1711</cp:revision>
  <cp:lastPrinted>2019-04-08T09:18:03Z</cp:lastPrinted>
  <dcterms:created xsi:type="dcterms:W3CDTF">2015-12-16T13:43:54Z</dcterms:created>
  <dcterms:modified xsi:type="dcterms:W3CDTF">2019-05-14T13:10:58Z</dcterms:modified>
</cp:coreProperties>
</file>